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5.xml" ContentType="application/vnd.openxmlformats-officedocument.presentationml.tags+xml"/>
  <Override PartName="/ppt/notesSlides/notesSlide14.xml" ContentType="application/vnd.openxmlformats-officedocument.presentationml.notesSlide+xml"/>
  <Override PartName="/ppt/tags/tag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7.xml" ContentType="application/vnd.openxmlformats-officedocument.presentationml.tags+xml"/>
  <Override PartName="/ppt/notesSlides/notesSlide17.xml" ContentType="application/vnd.openxmlformats-officedocument.presentationml.notesSlide+xml"/>
  <Override PartName="/ppt/tags/tag8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9"/>
  </p:notesMasterIdLst>
  <p:sldIdLst>
    <p:sldId id="258" r:id="rId2"/>
    <p:sldId id="272" r:id="rId3"/>
    <p:sldId id="2147375704" r:id="rId4"/>
    <p:sldId id="2147379803" r:id="rId5"/>
    <p:sldId id="2147379802" r:id="rId6"/>
    <p:sldId id="2147376058" r:id="rId7"/>
    <p:sldId id="2147378127" r:id="rId8"/>
    <p:sldId id="2147378128" r:id="rId9"/>
    <p:sldId id="2147376037" r:id="rId10"/>
    <p:sldId id="275" r:id="rId11"/>
    <p:sldId id="2147375903" r:id="rId12"/>
    <p:sldId id="2147375860" r:id="rId13"/>
    <p:sldId id="7448" r:id="rId14"/>
    <p:sldId id="288" r:id="rId15"/>
    <p:sldId id="7449" r:id="rId16"/>
    <p:sldId id="2147379863" r:id="rId17"/>
    <p:sldId id="7412" r:id="rId18"/>
    <p:sldId id="2147375693" r:id="rId19"/>
    <p:sldId id="7453" r:id="rId20"/>
    <p:sldId id="7454" r:id="rId21"/>
    <p:sldId id="2147375811" r:id="rId22"/>
    <p:sldId id="2147379800" r:id="rId23"/>
    <p:sldId id="2147379799" r:id="rId24"/>
    <p:sldId id="2147375705" r:id="rId25"/>
    <p:sldId id="395" r:id="rId26"/>
    <p:sldId id="7402" r:id="rId27"/>
    <p:sldId id="294" r:id="rId28"/>
    <p:sldId id="375" r:id="rId29"/>
    <p:sldId id="388" r:id="rId30"/>
    <p:sldId id="2147375902" r:id="rId31"/>
    <p:sldId id="7341" r:id="rId32"/>
    <p:sldId id="16673212" r:id="rId33"/>
    <p:sldId id="4442" r:id="rId34"/>
    <p:sldId id="2147375630" r:id="rId35"/>
    <p:sldId id="2147375862" r:id="rId36"/>
    <p:sldId id="2147375863" r:id="rId37"/>
    <p:sldId id="2147375700" r:id="rId38"/>
    <p:sldId id="2147375702" r:id="rId39"/>
    <p:sldId id="2147379795" r:id="rId40"/>
    <p:sldId id="2147376025" r:id="rId41"/>
    <p:sldId id="2147379861" r:id="rId42"/>
    <p:sldId id="2147376024" r:id="rId43"/>
    <p:sldId id="2147379862" r:id="rId44"/>
    <p:sldId id="2147379796" r:id="rId45"/>
    <p:sldId id="2147379858" r:id="rId46"/>
    <p:sldId id="2147379864" r:id="rId47"/>
    <p:sldId id="4697" r:id="rId4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EF07C4-9FD6-4EEF-98F4-FFFEC309D168}" v="80" dt="2025-06-18T13:11:23.7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629" autoAdjust="0"/>
    <p:restoredTop sz="89014" autoAdjust="0"/>
  </p:normalViewPr>
  <p:slideViewPr>
    <p:cSldViewPr snapToGrid="0">
      <p:cViewPr varScale="1">
        <p:scale>
          <a:sx n="93" d="100"/>
          <a:sy n="93" d="100"/>
        </p:scale>
        <p:origin x="90" y="444"/>
      </p:cViewPr>
      <p:guideLst/>
    </p:cSldViewPr>
  </p:slideViewPr>
  <p:notesTextViewPr>
    <p:cViewPr>
      <p:scale>
        <a:sx n="66" d="100"/>
        <a:sy n="66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55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ik Noer Nawarni" userId="1f05a52b-258c-4876-bdb6-a198a4fe0a47" providerId="ADAL" clId="{A7EF07C4-9FD6-4EEF-98F4-FFFEC309D168}"/>
    <pc:docChg chg="undo custSel addSld delSld modSld sldOrd">
      <pc:chgData name="Annik Noer Nawarni" userId="1f05a52b-258c-4876-bdb6-a198a4fe0a47" providerId="ADAL" clId="{A7EF07C4-9FD6-4EEF-98F4-FFFEC309D168}" dt="2025-06-18T13:16:15.155" v="1169" actId="14100"/>
      <pc:docMkLst>
        <pc:docMk/>
      </pc:docMkLst>
      <pc:sldChg chg="addSp delSp modSp mod">
        <pc:chgData name="Annik Noer Nawarni" userId="1f05a52b-258c-4876-bdb6-a198a4fe0a47" providerId="ADAL" clId="{A7EF07C4-9FD6-4EEF-98F4-FFFEC309D168}" dt="2025-06-18T12:49:05.608" v="444" actId="1076"/>
        <pc:sldMkLst>
          <pc:docMk/>
          <pc:sldMk cId="970557161" sldId="258"/>
        </pc:sldMkLst>
        <pc:spChg chg="mod">
          <ac:chgData name="Annik Noer Nawarni" userId="1f05a52b-258c-4876-bdb6-a198a4fe0a47" providerId="ADAL" clId="{A7EF07C4-9FD6-4EEF-98F4-FFFEC309D168}" dt="2025-06-18T12:48:18.681" v="438" actId="6549"/>
          <ac:spMkLst>
            <pc:docMk/>
            <pc:sldMk cId="970557161" sldId="258"/>
            <ac:spMk id="7" creationId="{00000000-0000-0000-0000-000000000000}"/>
          </ac:spMkLst>
        </pc:spChg>
        <pc:spChg chg="mod">
          <ac:chgData name="Annik Noer Nawarni" userId="1f05a52b-258c-4876-bdb6-a198a4fe0a47" providerId="ADAL" clId="{A7EF07C4-9FD6-4EEF-98F4-FFFEC309D168}" dt="2025-06-18T06:45:31.762" v="40" actId="20577"/>
          <ac:spMkLst>
            <pc:docMk/>
            <pc:sldMk cId="970557161" sldId="258"/>
            <ac:spMk id="19" creationId="{C740B79D-F5FF-43C3-BFDD-FD2AF8C3F17A}"/>
          </ac:spMkLst>
        </pc:spChg>
        <pc:grpChg chg="mod">
          <ac:chgData name="Annik Noer Nawarni" userId="1f05a52b-258c-4876-bdb6-a198a4fe0a47" providerId="ADAL" clId="{A7EF07C4-9FD6-4EEF-98F4-FFFEC309D168}" dt="2025-06-18T12:48:44.735" v="443" actId="1076"/>
          <ac:grpSpMkLst>
            <pc:docMk/>
            <pc:sldMk cId="970557161" sldId="258"/>
            <ac:grpSpMk id="2" creationId="{00000000-0000-0000-0000-000000000000}"/>
          </ac:grpSpMkLst>
        </pc:grpChg>
        <pc:picChg chg="del">
          <ac:chgData name="Annik Noer Nawarni" userId="1f05a52b-258c-4876-bdb6-a198a4fe0a47" providerId="ADAL" clId="{A7EF07C4-9FD6-4EEF-98F4-FFFEC309D168}" dt="2025-06-18T06:45:16.811" v="25" actId="478"/>
          <ac:picMkLst>
            <pc:docMk/>
            <pc:sldMk cId="970557161" sldId="258"/>
            <ac:picMk id="18" creationId="{00000000-0000-0000-0000-000000000000}"/>
          </ac:picMkLst>
        </pc:picChg>
        <pc:picChg chg="add mod">
          <ac:chgData name="Annik Noer Nawarni" userId="1f05a52b-258c-4876-bdb6-a198a4fe0a47" providerId="ADAL" clId="{A7EF07C4-9FD6-4EEF-98F4-FFFEC309D168}" dt="2025-06-18T12:49:05.608" v="444" actId="1076"/>
          <ac:picMkLst>
            <pc:docMk/>
            <pc:sldMk cId="970557161" sldId="258"/>
            <ac:picMk id="20" creationId="{68AC8835-17BC-A453-03C4-D026B2C5EFA8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3:00:08.949" v="768" actId="20577"/>
        <pc:sldMkLst>
          <pc:docMk/>
          <pc:sldMk cId="1424195223" sldId="272"/>
        </pc:sldMkLst>
        <pc:spChg chg="mod">
          <ac:chgData name="Annik Noer Nawarni" userId="1f05a52b-258c-4876-bdb6-a198a4fe0a47" providerId="ADAL" clId="{A7EF07C4-9FD6-4EEF-98F4-FFFEC309D168}" dt="2025-06-18T12:59:47.675" v="730"/>
          <ac:spMkLst>
            <pc:docMk/>
            <pc:sldMk cId="1424195223" sldId="272"/>
            <ac:spMk id="4" creationId="{0322AB15-F32A-B6C4-7F78-B3FC237DF599}"/>
          </ac:spMkLst>
        </pc:spChg>
        <pc:spChg chg="mod">
          <ac:chgData name="Annik Noer Nawarni" userId="1f05a52b-258c-4876-bdb6-a198a4fe0a47" providerId="ADAL" clId="{A7EF07C4-9FD6-4EEF-98F4-FFFEC309D168}" dt="2025-06-18T12:59:55.521" v="733" actId="20577"/>
          <ac:spMkLst>
            <pc:docMk/>
            <pc:sldMk cId="1424195223" sldId="272"/>
            <ac:spMk id="5" creationId="{50045408-7B3A-DCB6-0F3F-B54EBD26486C}"/>
          </ac:spMkLst>
        </pc:spChg>
        <pc:spChg chg="add mod">
          <ac:chgData name="Annik Noer Nawarni" userId="1f05a52b-258c-4876-bdb6-a198a4fe0a47" providerId="ADAL" clId="{A7EF07C4-9FD6-4EEF-98F4-FFFEC309D168}" dt="2025-06-18T13:00:08.949" v="768" actId="20577"/>
          <ac:spMkLst>
            <pc:docMk/>
            <pc:sldMk cId="1424195223" sldId="272"/>
            <ac:spMk id="6" creationId="{8F4568DD-2D4B-5874-9993-31CF3170D034}"/>
          </ac:spMkLst>
        </pc:spChg>
        <pc:spChg chg="mod">
          <ac:chgData name="Annik Noer Nawarni" userId="1f05a52b-258c-4876-bdb6-a198a4fe0a47" providerId="ADAL" clId="{A7EF07C4-9FD6-4EEF-98F4-FFFEC309D168}" dt="2025-06-18T12:48:05.229" v="437" actId="1076"/>
          <ac:spMkLst>
            <pc:docMk/>
            <pc:sldMk cId="1424195223" sldId="272"/>
            <ac:spMk id="7" creationId="{D7291401-FDD4-AC63-BDBF-5150E7A6CDBF}"/>
          </ac:spMkLst>
        </pc:spChg>
        <pc:spChg chg="mod">
          <ac:chgData name="Annik Noer Nawarni" userId="1f05a52b-258c-4876-bdb6-a198a4fe0a47" providerId="ADAL" clId="{A7EF07C4-9FD6-4EEF-98F4-FFFEC309D168}" dt="2025-06-18T12:48:05.229" v="437" actId="1076"/>
          <ac:spMkLst>
            <pc:docMk/>
            <pc:sldMk cId="1424195223" sldId="272"/>
            <ac:spMk id="21" creationId="{C388E7C1-97CD-0940-B65C-9EB01292DEC2}"/>
          </ac:spMkLst>
        </pc:spChg>
        <pc:spChg chg="del">
          <ac:chgData name="Annik Noer Nawarni" userId="1f05a52b-258c-4876-bdb6-a198a4fe0a47" providerId="ADAL" clId="{A7EF07C4-9FD6-4EEF-98F4-FFFEC309D168}" dt="2025-06-18T12:47:41.223" v="434" actId="478"/>
          <ac:spMkLst>
            <pc:docMk/>
            <pc:sldMk cId="1424195223" sldId="272"/>
            <ac:spMk id="25" creationId="{6AFF4820-9EEA-B349-9F3B-A5E337755567}"/>
          </ac:spMkLst>
        </pc:spChg>
        <pc:spChg chg="mod">
          <ac:chgData name="Annik Noer Nawarni" userId="1f05a52b-258c-4876-bdb6-a198a4fe0a47" providerId="ADAL" clId="{A7EF07C4-9FD6-4EEF-98F4-FFFEC309D168}" dt="2025-06-18T12:48:05.229" v="437" actId="1076"/>
          <ac:spMkLst>
            <pc:docMk/>
            <pc:sldMk cId="1424195223" sldId="272"/>
            <ac:spMk id="100" creationId="{A051DCD3-8D06-4621-98BE-B55DC1389643}"/>
          </ac:spMkLst>
        </pc:spChg>
        <pc:grpChg chg="add mod">
          <ac:chgData name="Annik Noer Nawarni" userId="1f05a52b-258c-4876-bdb6-a198a4fe0a47" providerId="ADAL" clId="{A7EF07C4-9FD6-4EEF-98F4-FFFEC309D168}" dt="2025-06-18T12:59:51.264" v="731" actId="1076"/>
          <ac:grpSpMkLst>
            <pc:docMk/>
            <pc:sldMk cId="1424195223" sldId="272"/>
            <ac:grpSpMk id="3" creationId="{5AF4AE4C-F80B-6072-926B-69FDBA0E92BD}"/>
          </ac:grpSpMkLst>
        </pc:grpChg>
        <pc:grpChg chg="mod">
          <ac:chgData name="Annik Noer Nawarni" userId="1f05a52b-258c-4876-bdb6-a198a4fe0a47" providerId="ADAL" clId="{A7EF07C4-9FD6-4EEF-98F4-FFFEC309D168}" dt="2025-06-18T12:48:05.229" v="437" actId="1076"/>
          <ac:grpSpMkLst>
            <pc:docMk/>
            <pc:sldMk cId="1424195223" sldId="272"/>
            <ac:grpSpMk id="15" creationId="{F28BE8F5-6C3D-4ECC-6FBB-9C7AB9E868ED}"/>
          </ac:grpSpMkLst>
        </pc:grpChg>
        <pc:grpChg chg="mod">
          <ac:chgData name="Annik Noer Nawarni" userId="1f05a52b-258c-4876-bdb6-a198a4fe0a47" providerId="ADAL" clId="{A7EF07C4-9FD6-4EEF-98F4-FFFEC309D168}" dt="2025-06-18T12:48:05.229" v="437" actId="1076"/>
          <ac:grpSpMkLst>
            <pc:docMk/>
            <pc:sldMk cId="1424195223" sldId="272"/>
            <ac:grpSpMk id="18" creationId="{5D93EECD-CEA6-11A9-AD39-B0FF60202C0E}"/>
          </ac:grpSpMkLst>
        </pc:grpChg>
        <pc:grpChg chg="del">
          <ac:chgData name="Annik Noer Nawarni" userId="1f05a52b-258c-4876-bdb6-a198a4fe0a47" providerId="ADAL" clId="{A7EF07C4-9FD6-4EEF-98F4-FFFEC309D168}" dt="2025-06-18T12:47:41.223" v="434" actId="478"/>
          <ac:grpSpMkLst>
            <pc:docMk/>
            <pc:sldMk cId="1424195223" sldId="272"/>
            <ac:grpSpMk id="22" creationId="{4B379DB2-BDE8-0945-AEFF-2366BD9938EB}"/>
          </ac:grpSpMkLst>
        </pc:grpChg>
        <pc:grpChg chg="mod">
          <ac:chgData name="Annik Noer Nawarni" userId="1f05a52b-258c-4876-bdb6-a198a4fe0a47" providerId="ADAL" clId="{A7EF07C4-9FD6-4EEF-98F4-FFFEC309D168}" dt="2025-06-18T12:48:05.229" v="437" actId="1076"/>
          <ac:grpSpMkLst>
            <pc:docMk/>
            <pc:sldMk cId="1424195223" sldId="272"/>
            <ac:grpSpMk id="96" creationId="{86ACED2E-21CC-4289-A68C-38EEBF36915C}"/>
          </ac:grpSpMkLst>
        </pc:grpChg>
        <pc:picChg chg="add mod">
          <ac:chgData name="Annik Noer Nawarni" userId="1f05a52b-258c-4876-bdb6-a198a4fe0a47" providerId="ADAL" clId="{A7EF07C4-9FD6-4EEF-98F4-FFFEC309D168}" dt="2025-06-18T12:47:14.409" v="422"/>
          <ac:picMkLst>
            <pc:docMk/>
            <pc:sldMk cId="1424195223" sldId="272"/>
            <ac:picMk id="2" creationId="{63CE0A2D-6DCC-450D-C5E8-65C1E0A9CCD3}"/>
          </ac:picMkLst>
        </pc:picChg>
        <pc:picChg chg="del">
          <ac:chgData name="Annik Noer Nawarni" userId="1f05a52b-258c-4876-bdb6-a198a4fe0a47" providerId="ADAL" clId="{A7EF07C4-9FD6-4EEF-98F4-FFFEC309D168}" dt="2025-06-18T12:47:01.054" v="417" actId="478"/>
          <ac:picMkLst>
            <pc:docMk/>
            <pc:sldMk cId="1424195223" sldId="272"/>
            <ac:picMk id="123" creationId="{5861A488-6D53-4580-8589-BF1484CFB25E}"/>
          </ac:picMkLst>
        </pc:picChg>
      </pc:sldChg>
      <pc:sldChg chg="modSp add mod">
        <pc:chgData name="Annik Noer Nawarni" userId="1f05a52b-258c-4876-bdb6-a198a4fe0a47" providerId="ADAL" clId="{A7EF07C4-9FD6-4EEF-98F4-FFFEC309D168}" dt="2025-06-18T12:29:15.276" v="253" actId="14100"/>
        <pc:sldMkLst>
          <pc:docMk/>
          <pc:sldMk cId="403639198" sldId="275"/>
        </pc:sldMkLst>
        <pc:picChg chg="mod">
          <ac:chgData name="Annik Noer Nawarni" userId="1f05a52b-258c-4876-bdb6-a198a4fe0a47" providerId="ADAL" clId="{A7EF07C4-9FD6-4EEF-98F4-FFFEC309D168}" dt="2025-06-18T12:29:15.276" v="253" actId="14100"/>
          <ac:picMkLst>
            <pc:docMk/>
            <pc:sldMk cId="403639198" sldId="275"/>
            <ac:picMk id="6" creationId="{63DB572A-9D87-BB4E-1EE1-2D8D97327A5D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2:42:33.550" v="383"/>
        <pc:sldMkLst>
          <pc:docMk/>
          <pc:sldMk cId="3051685620" sldId="288"/>
        </pc:sldMkLst>
        <pc:picChg chg="del">
          <ac:chgData name="Annik Noer Nawarni" userId="1f05a52b-258c-4876-bdb6-a198a4fe0a47" providerId="ADAL" clId="{A7EF07C4-9FD6-4EEF-98F4-FFFEC309D168}" dt="2025-06-18T12:42:33.050" v="382" actId="478"/>
          <ac:picMkLst>
            <pc:docMk/>
            <pc:sldMk cId="3051685620" sldId="288"/>
            <ac:picMk id="8" creationId="{62E1C41F-2FB6-3795-4534-B0A492C61A4C}"/>
          </ac:picMkLst>
        </pc:picChg>
        <pc:picChg chg="add mod">
          <ac:chgData name="Annik Noer Nawarni" userId="1f05a52b-258c-4876-bdb6-a198a4fe0a47" providerId="ADAL" clId="{A7EF07C4-9FD6-4EEF-98F4-FFFEC309D168}" dt="2025-06-18T12:42:33.550" v="383"/>
          <ac:picMkLst>
            <pc:docMk/>
            <pc:sldMk cId="3051685620" sldId="288"/>
            <ac:picMk id="28" creationId="{3152F5EA-5E3C-BCB9-3F5B-5E488865E99A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31:53.089" v="287"/>
        <pc:sldMkLst>
          <pc:docMk/>
          <pc:sldMk cId="1618617775" sldId="294"/>
        </pc:sldMkLst>
        <pc:spChg chg="del">
          <ac:chgData name="Annik Noer Nawarni" userId="1f05a52b-258c-4876-bdb6-a198a4fe0a47" providerId="ADAL" clId="{A7EF07C4-9FD6-4EEF-98F4-FFFEC309D168}" dt="2025-06-18T12:31:52.561" v="286" actId="478"/>
          <ac:spMkLst>
            <pc:docMk/>
            <pc:sldMk cId="1618617775" sldId="294"/>
            <ac:spMk id="21" creationId="{ED3E5413-BCDA-4F5D-95C1-CA0B03452661}"/>
          </ac:spMkLst>
        </pc:spChg>
        <pc:picChg chg="add mod">
          <ac:chgData name="Annik Noer Nawarni" userId="1f05a52b-258c-4876-bdb6-a198a4fe0a47" providerId="ADAL" clId="{A7EF07C4-9FD6-4EEF-98F4-FFFEC309D168}" dt="2025-06-18T12:31:53.089" v="287"/>
          <ac:picMkLst>
            <pc:docMk/>
            <pc:sldMk cId="1618617775" sldId="294"/>
            <ac:picMk id="4" creationId="{423C902F-0270-D3C3-FEC0-B9FBAEC35AD2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31:59.968" v="290"/>
        <pc:sldMkLst>
          <pc:docMk/>
          <pc:sldMk cId="130836692" sldId="375"/>
        </pc:sldMkLst>
        <pc:spChg chg="del">
          <ac:chgData name="Annik Noer Nawarni" userId="1f05a52b-258c-4876-bdb6-a198a4fe0a47" providerId="ADAL" clId="{A7EF07C4-9FD6-4EEF-98F4-FFFEC309D168}" dt="2025-06-18T12:31:59.156" v="289" actId="478"/>
          <ac:spMkLst>
            <pc:docMk/>
            <pc:sldMk cId="130836692" sldId="375"/>
            <ac:spMk id="21" creationId="{ED3E5413-BCDA-4F5D-95C1-CA0B03452661}"/>
          </ac:spMkLst>
        </pc:spChg>
        <pc:picChg chg="del">
          <ac:chgData name="Annik Noer Nawarni" userId="1f05a52b-258c-4876-bdb6-a198a4fe0a47" providerId="ADAL" clId="{A7EF07C4-9FD6-4EEF-98F4-FFFEC309D168}" dt="2025-06-18T12:31:57.223" v="288" actId="478"/>
          <ac:picMkLst>
            <pc:docMk/>
            <pc:sldMk cId="130836692" sldId="375"/>
            <ac:picMk id="50" creationId="{CDC66426-02F6-4356-BEFE-7F6E1D6C59F8}"/>
          </ac:picMkLst>
        </pc:picChg>
        <pc:picChg chg="add mod">
          <ac:chgData name="Annik Noer Nawarni" userId="1f05a52b-258c-4876-bdb6-a198a4fe0a47" providerId="ADAL" clId="{A7EF07C4-9FD6-4EEF-98F4-FFFEC309D168}" dt="2025-06-18T12:31:59.968" v="290"/>
          <ac:picMkLst>
            <pc:docMk/>
            <pc:sldMk cId="130836692" sldId="375"/>
            <ac:picMk id="51" creationId="{EBE2B684-3C83-047B-3AA0-D98A11615D93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32:07.973" v="293"/>
        <pc:sldMkLst>
          <pc:docMk/>
          <pc:sldMk cId="1807723426" sldId="388"/>
        </pc:sldMkLst>
        <pc:spChg chg="del">
          <ac:chgData name="Annik Noer Nawarni" userId="1f05a52b-258c-4876-bdb6-a198a4fe0a47" providerId="ADAL" clId="{A7EF07C4-9FD6-4EEF-98F4-FFFEC309D168}" dt="2025-06-18T12:32:06.944" v="292" actId="478"/>
          <ac:spMkLst>
            <pc:docMk/>
            <pc:sldMk cId="1807723426" sldId="388"/>
            <ac:spMk id="21" creationId="{ED3E5413-BCDA-4F5D-95C1-CA0B03452661}"/>
          </ac:spMkLst>
        </pc:spChg>
        <pc:picChg chg="del">
          <ac:chgData name="Annik Noer Nawarni" userId="1f05a52b-258c-4876-bdb6-a198a4fe0a47" providerId="ADAL" clId="{A7EF07C4-9FD6-4EEF-98F4-FFFEC309D168}" dt="2025-06-18T12:32:04.734" v="291" actId="478"/>
          <ac:picMkLst>
            <pc:docMk/>
            <pc:sldMk cId="1807723426" sldId="388"/>
            <ac:picMk id="35" creationId="{CDC66426-02F6-4356-BEFE-7F6E1D6C59F8}"/>
          </ac:picMkLst>
        </pc:picChg>
        <pc:picChg chg="add mod">
          <ac:chgData name="Annik Noer Nawarni" userId="1f05a52b-258c-4876-bdb6-a198a4fe0a47" providerId="ADAL" clId="{A7EF07C4-9FD6-4EEF-98F4-FFFEC309D168}" dt="2025-06-18T12:32:07.973" v="293"/>
          <ac:picMkLst>
            <pc:docMk/>
            <pc:sldMk cId="1807723426" sldId="388"/>
            <ac:picMk id="36" creationId="{7C0E116D-85DB-DA53-9D08-80004738A523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31:42.471" v="283"/>
        <pc:sldMkLst>
          <pc:docMk/>
          <pc:sldMk cId="4287743283" sldId="395"/>
        </pc:sldMkLst>
        <pc:grpChg chg="del">
          <ac:chgData name="Annik Noer Nawarni" userId="1f05a52b-258c-4876-bdb6-a198a4fe0a47" providerId="ADAL" clId="{A7EF07C4-9FD6-4EEF-98F4-FFFEC309D168}" dt="2025-06-18T06:52:38.627" v="139" actId="478"/>
          <ac:grpSpMkLst>
            <pc:docMk/>
            <pc:sldMk cId="4287743283" sldId="395"/>
            <ac:grpSpMk id="50" creationId="{C816DAD3-FB5E-2879-896A-A3FA95878081}"/>
          </ac:grpSpMkLst>
        </pc:grpChg>
        <pc:picChg chg="add mod">
          <ac:chgData name="Annik Noer Nawarni" userId="1f05a52b-258c-4876-bdb6-a198a4fe0a47" providerId="ADAL" clId="{A7EF07C4-9FD6-4EEF-98F4-FFFEC309D168}" dt="2025-06-18T12:31:42.471" v="283"/>
          <ac:picMkLst>
            <pc:docMk/>
            <pc:sldMk cId="4287743283" sldId="395"/>
            <ac:picMk id="2" creationId="{A9185D0F-125F-6A83-0BF9-478B20D82F15}"/>
          </ac:picMkLst>
        </pc:picChg>
      </pc:sldChg>
      <pc:sldChg chg="del">
        <pc:chgData name="Annik Noer Nawarni" userId="1f05a52b-258c-4876-bdb6-a198a4fe0a47" providerId="ADAL" clId="{A7EF07C4-9FD6-4EEF-98F4-FFFEC309D168}" dt="2025-06-18T06:52:47.785" v="140" actId="47"/>
        <pc:sldMkLst>
          <pc:docMk/>
          <pc:sldMk cId="1379227818" sldId="2691"/>
        </pc:sldMkLst>
      </pc:sldChg>
      <pc:sldChg chg="del">
        <pc:chgData name="Annik Noer Nawarni" userId="1f05a52b-258c-4876-bdb6-a198a4fe0a47" providerId="ADAL" clId="{A7EF07C4-9FD6-4EEF-98F4-FFFEC309D168}" dt="2025-06-18T06:52:47.785" v="140" actId="47"/>
        <pc:sldMkLst>
          <pc:docMk/>
          <pc:sldMk cId="1552757643" sldId="3716"/>
        </pc:sldMkLst>
      </pc:sldChg>
      <pc:sldChg chg="addSp delSp modSp mod">
        <pc:chgData name="Annik Noer Nawarni" userId="1f05a52b-258c-4876-bdb6-a198a4fe0a47" providerId="ADAL" clId="{A7EF07C4-9FD6-4EEF-98F4-FFFEC309D168}" dt="2025-06-18T12:35:13.333" v="359" actId="20577"/>
        <pc:sldMkLst>
          <pc:docMk/>
          <pc:sldMk cId="3479105546" sldId="4442"/>
        </pc:sldMkLst>
        <pc:spChg chg="mod">
          <ac:chgData name="Annik Noer Nawarni" userId="1f05a52b-258c-4876-bdb6-a198a4fe0a47" providerId="ADAL" clId="{A7EF07C4-9FD6-4EEF-98F4-FFFEC309D168}" dt="2025-06-18T12:35:13.333" v="359" actId="20577"/>
          <ac:spMkLst>
            <pc:docMk/>
            <pc:sldMk cId="3479105546" sldId="4442"/>
            <ac:spMk id="6" creationId="{C6C4E3B8-CE3E-4F97-82E6-E38BD80CF313}"/>
          </ac:spMkLst>
        </pc:spChg>
        <pc:picChg chg="add mod">
          <ac:chgData name="Annik Noer Nawarni" userId="1f05a52b-258c-4876-bdb6-a198a4fe0a47" providerId="ADAL" clId="{A7EF07C4-9FD6-4EEF-98F4-FFFEC309D168}" dt="2025-06-18T12:32:31.646" v="301"/>
          <ac:picMkLst>
            <pc:docMk/>
            <pc:sldMk cId="3479105546" sldId="4442"/>
            <ac:picMk id="3" creationId="{80ABC4CA-8D0C-9FE4-DA74-CD341BA9E21E}"/>
          </ac:picMkLst>
        </pc:picChg>
        <pc:picChg chg="del">
          <ac:chgData name="Annik Noer Nawarni" userId="1f05a52b-258c-4876-bdb6-a198a4fe0a47" providerId="ADAL" clId="{A7EF07C4-9FD6-4EEF-98F4-FFFEC309D168}" dt="2025-06-18T12:32:30.892" v="300" actId="478"/>
          <ac:picMkLst>
            <pc:docMk/>
            <pc:sldMk cId="3479105546" sldId="4442"/>
            <ac:picMk id="65" creationId="{55BA8DB7-0411-4658-BCE7-D9B89F9D4240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3:11:00.892" v="1018"/>
        <pc:sldMkLst>
          <pc:docMk/>
          <pc:sldMk cId="2614694668" sldId="4697"/>
        </pc:sldMkLst>
        <pc:spChg chg="mod">
          <ac:chgData name="Annik Noer Nawarni" userId="1f05a52b-258c-4876-bdb6-a198a4fe0a47" providerId="ADAL" clId="{A7EF07C4-9FD6-4EEF-98F4-FFFEC309D168}" dt="2025-06-18T06:52:58.044" v="144" actId="20577"/>
          <ac:spMkLst>
            <pc:docMk/>
            <pc:sldMk cId="2614694668" sldId="4697"/>
            <ac:spMk id="24" creationId="{ECFD015C-4986-4699-B45C-58A13C8831A2}"/>
          </ac:spMkLst>
        </pc:spChg>
        <pc:spChg chg="mod">
          <ac:chgData name="Annik Noer Nawarni" userId="1f05a52b-258c-4876-bdb6-a198a4fe0a47" providerId="ADAL" clId="{A7EF07C4-9FD6-4EEF-98F4-FFFEC309D168}" dt="2025-06-18T06:52:54.553" v="142" actId="6549"/>
          <ac:spMkLst>
            <pc:docMk/>
            <pc:sldMk cId="2614694668" sldId="4697"/>
            <ac:spMk id="40" creationId="{64E84E86-6ACF-46F0-A428-425DB576048F}"/>
          </ac:spMkLst>
        </pc:spChg>
        <pc:picChg chg="add mod">
          <ac:chgData name="Annik Noer Nawarni" userId="1f05a52b-258c-4876-bdb6-a198a4fe0a47" providerId="ADAL" clId="{A7EF07C4-9FD6-4EEF-98F4-FFFEC309D168}" dt="2025-06-18T13:11:00.892" v="1018"/>
          <ac:picMkLst>
            <pc:docMk/>
            <pc:sldMk cId="2614694668" sldId="4697"/>
            <ac:picMk id="2" creationId="{BE8EB86C-9516-3FAE-EA55-52A8CEB07B1C}"/>
          </ac:picMkLst>
        </pc:picChg>
        <pc:picChg chg="del">
          <ac:chgData name="Annik Noer Nawarni" userId="1f05a52b-258c-4876-bdb6-a198a4fe0a47" providerId="ADAL" clId="{A7EF07C4-9FD6-4EEF-98F4-FFFEC309D168}" dt="2025-06-18T13:10:56.240" v="1017" actId="478"/>
          <ac:picMkLst>
            <pc:docMk/>
            <pc:sldMk cId="2614694668" sldId="4697"/>
            <ac:picMk id="46" creationId="{A70A94D1-2BB4-4B44-A968-23BACCB2EE8E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32:19.581" v="297"/>
        <pc:sldMkLst>
          <pc:docMk/>
          <pc:sldMk cId="55433518" sldId="7341"/>
        </pc:sldMkLst>
        <pc:picChg chg="add mod">
          <ac:chgData name="Annik Noer Nawarni" userId="1f05a52b-258c-4876-bdb6-a198a4fe0a47" providerId="ADAL" clId="{A7EF07C4-9FD6-4EEF-98F4-FFFEC309D168}" dt="2025-06-18T12:32:19.581" v="297"/>
          <ac:picMkLst>
            <pc:docMk/>
            <pc:sldMk cId="55433518" sldId="7341"/>
            <ac:picMk id="2" creationId="{3E305322-65C0-4123-D7AE-86804BD8FC3B}"/>
          </ac:picMkLst>
        </pc:picChg>
        <pc:picChg chg="del">
          <ac:chgData name="Annik Noer Nawarni" userId="1f05a52b-258c-4876-bdb6-a198a4fe0a47" providerId="ADAL" clId="{A7EF07C4-9FD6-4EEF-98F4-FFFEC309D168}" dt="2025-06-18T12:32:18.821" v="296" actId="478"/>
          <ac:picMkLst>
            <pc:docMk/>
            <pc:sldMk cId="55433518" sldId="7341"/>
            <ac:picMk id="3" creationId="{637329DE-009E-E710-0A3A-B8E4D71E5120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31:47.806" v="285"/>
        <pc:sldMkLst>
          <pc:docMk/>
          <pc:sldMk cId="2605488014" sldId="7402"/>
        </pc:sldMkLst>
        <pc:picChg chg="del">
          <ac:chgData name="Annik Noer Nawarni" userId="1f05a52b-258c-4876-bdb6-a198a4fe0a47" providerId="ADAL" clId="{A7EF07C4-9FD6-4EEF-98F4-FFFEC309D168}" dt="2025-06-18T12:31:47.180" v="284" actId="478"/>
          <ac:picMkLst>
            <pc:docMk/>
            <pc:sldMk cId="2605488014" sldId="7402"/>
            <ac:picMk id="2" creationId="{E480D93A-254F-4AE8-9ADA-15D90E001CA4}"/>
          </ac:picMkLst>
        </pc:picChg>
        <pc:picChg chg="add mod">
          <ac:chgData name="Annik Noer Nawarni" userId="1f05a52b-258c-4876-bdb6-a198a4fe0a47" providerId="ADAL" clId="{A7EF07C4-9FD6-4EEF-98F4-FFFEC309D168}" dt="2025-06-18T12:31:47.806" v="285"/>
          <ac:picMkLst>
            <pc:docMk/>
            <pc:sldMk cId="2605488014" sldId="7402"/>
            <ac:picMk id="3" creationId="{FC3C087D-2280-67CF-C59A-B4684CBBBDAA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2:42:41.091" v="387"/>
        <pc:sldMkLst>
          <pc:docMk/>
          <pc:sldMk cId="3323902796" sldId="7412"/>
        </pc:sldMkLst>
        <pc:picChg chg="add del mod">
          <ac:chgData name="Annik Noer Nawarni" userId="1f05a52b-258c-4876-bdb6-a198a4fe0a47" providerId="ADAL" clId="{A7EF07C4-9FD6-4EEF-98F4-FFFEC309D168}" dt="2025-06-18T12:42:40.597" v="386" actId="478"/>
          <ac:picMkLst>
            <pc:docMk/>
            <pc:sldMk cId="3323902796" sldId="7412"/>
            <ac:picMk id="19" creationId="{8C66CBF1-98C7-3978-E40A-39A2134556AD}"/>
          </ac:picMkLst>
        </pc:picChg>
        <pc:picChg chg="add mod">
          <ac:chgData name="Annik Noer Nawarni" userId="1f05a52b-258c-4876-bdb6-a198a4fe0a47" providerId="ADAL" clId="{A7EF07C4-9FD6-4EEF-98F4-FFFEC309D168}" dt="2025-06-18T12:42:41.091" v="387"/>
          <ac:picMkLst>
            <pc:docMk/>
            <pc:sldMk cId="3323902796" sldId="7412"/>
            <ac:picMk id="21" creationId="{85C2010D-E526-0AB4-E160-6F0CF73CC3A5}"/>
          </ac:picMkLst>
        </pc:picChg>
        <pc:picChg chg="del">
          <ac:chgData name="Annik Noer Nawarni" userId="1f05a52b-258c-4876-bdb6-a198a4fe0a47" providerId="ADAL" clId="{A7EF07C4-9FD6-4EEF-98F4-FFFEC309D168}" dt="2025-06-18T12:31:28.940" v="277" actId="478"/>
          <ac:picMkLst>
            <pc:docMk/>
            <pc:sldMk cId="3323902796" sldId="7412"/>
            <ac:picMk id="49" creationId="{D695AFBD-2F4B-4FD5-B743-A9340F8E9A74}"/>
          </ac:picMkLst>
        </pc:picChg>
      </pc:sldChg>
      <pc:sldChg chg="del">
        <pc:chgData name="Annik Noer Nawarni" userId="1f05a52b-258c-4876-bdb6-a198a4fe0a47" providerId="ADAL" clId="{A7EF07C4-9FD6-4EEF-98F4-FFFEC309D168}" dt="2025-06-18T06:51:04.570" v="122" actId="2696"/>
        <pc:sldMkLst>
          <pc:docMk/>
          <pc:sldMk cId="3372790822" sldId="7412"/>
        </pc:sldMkLst>
      </pc:sldChg>
      <pc:sldChg chg="addSp delSp modSp add mod">
        <pc:chgData name="Annik Noer Nawarni" userId="1f05a52b-258c-4876-bdb6-a198a4fe0a47" providerId="ADAL" clId="{A7EF07C4-9FD6-4EEF-98F4-FFFEC309D168}" dt="2025-06-18T12:42:29.865" v="381"/>
        <pc:sldMkLst>
          <pc:docMk/>
          <pc:sldMk cId="3855991330" sldId="7448"/>
        </pc:sldMkLst>
        <pc:picChg chg="del">
          <ac:chgData name="Annik Noer Nawarni" userId="1f05a52b-258c-4876-bdb6-a198a4fe0a47" providerId="ADAL" clId="{A7EF07C4-9FD6-4EEF-98F4-FFFEC309D168}" dt="2025-06-18T12:42:29.345" v="380" actId="478"/>
          <ac:picMkLst>
            <pc:docMk/>
            <pc:sldMk cId="3855991330" sldId="7448"/>
            <ac:picMk id="7" creationId="{27234DD9-FB55-486D-7A1F-1650BAB6B48A}"/>
          </ac:picMkLst>
        </pc:picChg>
        <pc:picChg chg="add mod">
          <ac:chgData name="Annik Noer Nawarni" userId="1f05a52b-258c-4876-bdb6-a198a4fe0a47" providerId="ADAL" clId="{A7EF07C4-9FD6-4EEF-98F4-FFFEC309D168}" dt="2025-06-18T12:42:29.865" v="381"/>
          <ac:picMkLst>
            <pc:docMk/>
            <pc:sldMk cId="3855991330" sldId="7448"/>
            <ac:picMk id="9" creationId="{C86CF33B-C08D-DA78-1DC7-B0AC9A809E45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2:42:37.092" v="385"/>
        <pc:sldMkLst>
          <pc:docMk/>
          <pc:sldMk cId="283365075" sldId="7449"/>
        </pc:sldMkLst>
        <pc:picChg chg="add mod">
          <ac:chgData name="Annik Noer Nawarni" userId="1f05a52b-258c-4876-bdb6-a198a4fe0a47" providerId="ADAL" clId="{A7EF07C4-9FD6-4EEF-98F4-FFFEC309D168}" dt="2025-06-18T12:42:37.092" v="385"/>
          <ac:picMkLst>
            <pc:docMk/>
            <pc:sldMk cId="283365075" sldId="7449"/>
            <ac:picMk id="3" creationId="{29CC1D5B-9483-AD86-252F-1EBB847B09C3}"/>
          </ac:picMkLst>
        </pc:picChg>
        <pc:picChg chg="del">
          <ac:chgData name="Annik Noer Nawarni" userId="1f05a52b-258c-4876-bdb6-a198a4fe0a47" providerId="ADAL" clId="{A7EF07C4-9FD6-4EEF-98F4-FFFEC309D168}" dt="2025-06-18T12:42:36.562" v="384" actId="478"/>
          <ac:picMkLst>
            <pc:docMk/>
            <pc:sldMk cId="283365075" sldId="7449"/>
            <ac:picMk id="4" creationId="{50E3B017-39EA-DE24-F66C-6F506E652D63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2:42:48.490" v="391"/>
        <pc:sldMkLst>
          <pc:docMk/>
          <pc:sldMk cId="2636166177" sldId="7453"/>
        </pc:sldMkLst>
        <pc:picChg chg="del">
          <ac:chgData name="Annik Noer Nawarni" userId="1f05a52b-258c-4876-bdb6-a198a4fe0a47" providerId="ADAL" clId="{A7EF07C4-9FD6-4EEF-98F4-FFFEC309D168}" dt="2025-06-18T12:42:47.857" v="390" actId="478"/>
          <ac:picMkLst>
            <pc:docMk/>
            <pc:sldMk cId="2636166177" sldId="7453"/>
            <ac:picMk id="3" creationId="{C94C5871-9B95-30B7-B102-637BE4062F98}"/>
          </ac:picMkLst>
        </pc:picChg>
        <pc:picChg chg="add mod">
          <ac:chgData name="Annik Noer Nawarni" userId="1f05a52b-258c-4876-bdb6-a198a4fe0a47" providerId="ADAL" clId="{A7EF07C4-9FD6-4EEF-98F4-FFFEC309D168}" dt="2025-06-18T12:42:48.490" v="391"/>
          <ac:picMkLst>
            <pc:docMk/>
            <pc:sldMk cId="2636166177" sldId="7453"/>
            <ac:picMk id="10" creationId="{F3852AFC-D38C-D6E0-B40E-8DA077DC7A10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2:42:53.279" v="393"/>
        <pc:sldMkLst>
          <pc:docMk/>
          <pc:sldMk cId="3796999017" sldId="7454"/>
        </pc:sldMkLst>
        <pc:picChg chg="del">
          <ac:chgData name="Annik Noer Nawarni" userId="1f05a52b-258c-4876-bdb6-a198a4fe0a47" providerId="ADAL" clId="{A7EF07C4-9FD6-4EEF-98F4-FFFEC309D168}" dt="2025-06-18T12:42:52.752" v="392" actId="478"/>
          <ac:picMkLst>
            <pc:docMk/>
            <pc:sldMk cId="3796999017" sldId="7454"/>
            <ac:picMk id="2" creationId="{DCF44053-E40D-B82F-7410-2BA2879DFDF5}"/>
          </ac:picMkLst>
        </pc:picChg>
        <pc:picChg chg="add mod">
          <ac:chgData name="Annik Noer Nawarni" userId="1f05a52b-258c-4876-bdb6-a198a4fe0a47" providerId="ADAL" clId="{A7EF07C4-9FD6-4EEF-98F4-FFFEC309D168}" dt="2025-06-18T12:42:53.279" v="393"/>
          <ac:picMkLst>
            <pc:docMk/>
            <pc:sldMk cId="3796999017" sldId="7454"/>
            <ac:picMk id="6" creationId="{04FEF384-633F-D57E-52FC-8A2A8387AFCF}"/>
          </ac:picMkLst>
        </pc:picChg>
      </pc:sldChg>
      <pc:sldChg chg="modSp add mod ord">
        <pc:chgData name="Annik Noer Nawarni" userId="1f05a52b-258c-4876-bdb6-a198a4fe0a47" providerId="ADAL" clId="{A7EF07C4-9FD6-4EEF-98F4-FFFEC309D168}" dt="2025-06-18T12:35:02.884" v="345" actId="20577"/>
        <pc:sldMkLst>
          <pc:docMk/>
          <pc:sldMk cId="0" sldId="16673212"/>
        </pc:sldMkLst>
        <pc:spChg chg="mod">
          <ac:chgData name="Annik Noer Nawarni" userId="1f05a52b-258c-4876-bdb6-a198a4fe0a47" providerId="ADAL" clId="{A7EF07C4-9FD6-4EEF-98F4-FFFEC309D168}" dt="2025-06-18T12:35:02.884" v="345" actId="20577"/>
          <ac:spMkLst>
            <pc:docMk/>
            <pc:sldMk cId="0" sldId="16673212"/>
            <ac:spMk id="197" creationId="{00000000-0000-0000-0000-000000000000}"/>
          </ac:spMkLst>
        </pc:spChg>
      </pc:sldChg>
      <pc:sldChg chg="addSp delSp modSp mod">
        <pc:chgData name="Annik Noer Nawarni" userId="1f05a52b-258c-4876-bdb6-a198a4fe0a47" providerId="ADAL" clId="{A7EF07C4-9FD6-4EEF-98F4-FFFEC309D168}" dt="2025-06-18T12:35:32.975" v="361" actId="1076"/>
        <pc:sldMkLst>
          <pc:docMk/>
          <pc:sldMk cId="1002527055" sldId="2147375630"/>
        </pc:sldMkLst>
        <pc:spChg chg="del">
          <ac:chgData name="Annik Noer Nawarni" userId="1f05a52b-258c-4876-bdb6-a198a4fe0a47" providerId="ADAL" clId="{A7EF07C4-9FD6-4EEF-98F4-FFFEC309D168}" dt="2025-06-18T12:32:40.847" v="302" actId="478"/>
          <ac:spMkLst>
            <pc:docMk/>
            <pc:sldMk cId="1002527055" sldId="2147375630"/>
            <ac:spMk id="3" creationId="{00000000-0000-0000-0000-000000000000}"/>
          </ac:spMkLst>
        </pc:spChg>
        <pc:spChg chg="mod">
          <ac:chgData name="Annik Noer Nawarni" userId="1f05a52b-258c-4876-bdb6-a198a4fe0a47" providerId="ADAL" clId="{A7EF07C4-9FD6-4EEF-98F4-FFFEC309D168}" dt="2025-06-18T12:35:32.975" v="361" actId="1076"/>
          <ac:spMkLst>
            <pc:docMk/>
            <pc:sldMk cId="1002527055" sldId="2147375630"/>
            <ac:spMk id="7" creationId="{A5E13BE3-A7AE-B532-B78F-05E69E7DE216}"/>
          </ac:spMkLst>
        </pc:spChg>
        <pc:spChg chg="mod">
          <ac:chgData name="Annik Noer Nawarni" userId="1f05a52b-258c-4876-bdb6-a198a4fe0a47" providerId="ADAL" clId="{A7EF07C4-9FD6-4EEF-98F4-FFFEC309D168}" dt="2025-06-18T12:35:32.975" v="361" actId="1076"/>
          <ac:spMkLst>
            <pc:docMk/>
            <pc:sldMk cId="1002527055" sldId="2147375630"/>
            <ac:spMk id="11" creationId="{99AABD66-39FF-CC2D-F35F-5F7A3B336AAF}"/>
          </ac:spMkLst>
        </pc:spChg>
        <pc:grpChg chg="del">
          <ac:chgData name="Annik Noer Nawarni" userId="1f05a52b-258c-4876-bdb6-a198a4fe0a47" providerId="ADAL" clId="{A7EF07C4-9FD6-4EEF-98F4-FFFEC309D168}" dt="2025-06-18T12:32:40.847" v="302" actId="478"/>
          <ac:grpSpMkLst>
            <pc:docMk/>
            <pc:sldMk cId="1002527055" sldId="2147375630"/>
            <ac:grpSpMk id="10" creationId="{00000000-0000-0000-0000-000000000000}"/>
          </ac:grpSpMkLst>
        </pc:grpChg>
        <pc:grpChg chg="del">
          <ac:chgData name="Annik Noer Nawarni" userId="1f05a52b-258c-4876-bdb6-a198a4fe0a47" providerId="ADAL" clId="{A7EF07C4-9FD6-4EEF-98F4-FFFEC309D168}" dt="2025-06-18T12:32:43.019" v="303" actId="478"/>
          <ac:grpSpMkLst>
            <pc:docMk/>
            <pc:sldMk cId="1002527055" sldId="2147375630"/>
            <ac:grpSpMk id="26" creationId="{00000000-0000-0000-0000-000000000000}"/>
          </ac:grpSpMkLst>
        </pc:grpChg>
        <pc:grpChg chg="del">
          <ac:chgData name="Annik Noer Nawarni" userId="1f05a52b-258c-4876-bdb6-a198a4fe0a47" providerId="ADAL" clId="{A7EF07C4-9FD6-4EEF-98F4-FFFEC309D168}" dt="2025-06-18T12:32:40.847" v="302" actId="478"/>
          <ac:grpSpMkLst>
            <pc:docMk/>
            <pc:sldMk cId="1002527055" sldId="2147375630"/>
            <ac:grpSpMk id="27" creationId="{00000000-0000-0000-0000-000000000000}"/>
          </ac:grpSpMkLst>
        </pc:grpChg>
        <pc:picChg chg="del">
          <ac:chgData name="Annik Noer Nawarni" userId="1f05a52b-258c-4876-bdb6-a198a4fe0a47" providerId="ADAL" clId="{A7EF07C4-9FD6-4EEF-98F4-FFFEC309D168}" dt="2025-06-18T12:32:24.404" v="298" actId="478"/>
          <ac:picMkLst>
            <pc:docMk/>
            <pc:sldMk cId="1002527055" sldId="2147375630"/>
            <ac:picMk id="2" creationId="{E480D93A-254F-4AE8-9ADA-15D90E001CA4}"/>
          </ac:picMkLst>
        </pc:picChg>
        <pc:picChg chg="mod">
          <ac:chgData name="Annik Noer Nawarni" userId="1f05a52b-258c-4876-bdb6-a198a4fe0a47" providerId="ADAL" clId="{A7EF07C4-9FD6-4EEF-98F4-FFFEC309D168}" dt="2025-06-18T12:35:25.287" v="360" actId="1076"/>
          <ac:picMkLst>
            <pc:docMk/>
            <pc:sldMk cId="1002527055" sldId="2147375630"/>
            <ac:picMk id="4" creationId="{98F27504-C8FF-E7B3-C944-4B80D9C72764}"/>
          </ac:picMkLst>
        </pc:picChg>
        <pc:picChg chg="add mod">
          <ac:chgData name="Annik Noer Nawarni" userId="1f05a52b-258c-4876-bdb6-a198a4fe0a47" providerId="ADAL" clId="{A7EF07C4-9FD6-4EEF-98F4-FFFEC309D168}" dt="2025-06-18T12:32:25.362" v="299"/>
          <ac:picMkLst>
            <pc:docMk/>
            <pc:sldMk cId="1002527055" sldId="2147375630"/>
            <ac:picMk id="12" creationId="{FFF86987-DE31-F17F-7130-3AF5443E2F3B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2:42:44.929" v="389"/>
        <pc:sldMkLst>
          <pc:docMk/>
          <pc:sldMk cId="838291589" sldId="2147375693"/>
        </pc:sldMkLst>
        <pc:picChg chg="add del mod">
          <ac:chgData name="Annik Noer Nawarni" userId="1f05a52b-258c-4876-bdb6-a198a4fe0a47" providerId="ADAL" clId="{A7EF07C4-9FD6-4EEF-98F4-FFFEC309D168}" dt="2025-06-18T12:42:44.439" v="388" actId="478"/>
          <ac:picMkLst>
            <pc:docMk/>
            <pc:sldMk cId="838291589" sldId="2147375693"/>
            <ac:picMk id="17" creationId="{E484A943-ED2B-9E11-A24B-0653B37FA68F}"/>
          </ac:picMkLst>
        </pc:picChg>
        <pc:picChg chg="add mod">
          <ac:chgData name="Annik Noer Nawarni" userId="1f05a52b-258c-4876-bdb6-a198a4fe0a47" providerId="ADAL" clId="{A7EF07C4-9FD6-4EEF-98F4-FFFEC309D168}" dt="2025-06-18T12:42:44.929" v="389"/>
          <ac:picMkLst>
            <pc:docMk/>
            <pc:sldMk cId="838291589" sldId="2147375693"/>
            <ac:picMk id="26" creationId="{838EBA9A-07FB-3138-FE52-8105216434DA}"/>
          </ac:picMkLst>
        </pc:picChg>
        <pc:picChg chg="del">
          <ac:chgData name="Annik Noer Nawarni" userId="1f05a52b-258c-4876-bdb6-a198a4fe0a47" providerId="ADAL" clId="{A7EF07C4-9FD6-4EEF-98F4-FFFEC309D168}" dt="2025-06-18T12:31:33.743" v="279" actId="478"/>
          <ac:picMkLst>
            <pc:docMk/>
            <pc:sldMk cId="838291589" sldId="2147375693"/>
            <ac:picMk id="49" creationId="{D695AFBD-2F4B-4FD5-B743-A9340F8E9A74}"/>
          </ac:picMkLst>
        </pc:picChg>
      </pc:sldChg>
      <pc:sldChg chg="del">
        <pc:chgData name="Annik Noer Nawarni" userId="1f05a52b-258c-4876-bdb6-a198a4fe0a47" providerId="ADAL" clId="{A7EF07C4-9FD6-4EEF-98F4-FFFEC309D168}" dt="2025-06-18T06:51:04.570" v="122" actId="2696"/>
        <pc:sldMkLst>
          <pc:docMk/>
          <pc:sldMk cId="1297946793" sldId="2147375693"/>
        </pc:sldMkLst>
      </pc:sldChg>
      <pc:sldChg chg="addSp delSp modSp add mod">
        <pc:chgData name="Annik Noer Nawarni" userId="1f05a52b-258c-4876-bdb6-a198a4fe0a47" providerId="ADAL" clId="{A7EF07C4-9FD6-4EEF-98F4-FFFEC309D168}" dt="2025-06-18T12:36:55.072" v="364"/>
        <pc:sldMkLst>
          <pc:docMk/>
          <pc:sldMk cId="2014471202" sldId="2147375700"/>
        </pc:sldMkLst>
        <pc:spChg chg="del">
          <ac:chgData name="Annik Noer Nawarni" userId="1f05a52b-258c-4876-bdb6-a198a4fe0a47" providerId="ADAL" clId="{A7EF07C4-9FD6-4EEF-98F4-FFFEC309D168}" dt="2025-06-18T12:36:49.149" v="363" actId="478"/>
          <ac:spMkLst>
            <pc:docMk/>
            <pc:sldMk cId="2014471202" sldId="2147375700"/>
            <ac:spMk id="21" creationId="{ED3E5413-BCDA-4F5D-95C1-CA0B03452661}"/>
          </ac:spMkLst>
        </pc:spChg>
        <pc:picChg chg="add mod">
          <ac:chgData name="Annik Noer Nawarni" userId="1f05a52b-258c-4876-bdb6-a198a4fe0a47" providerId="ADAL" clId="{A7EF07C4-9FD6-4EEF-98F4-FFFEC309D168}" dt="2025-06-18T12:36:55.072" v="364"/>
          <ac:picMkLst>
            <pc:docMk/>
            <pc:sldMk cId="2014471202" sldId="2147375700"/>
            <ac:picMk id="3" creationId="{4EFE5E8F-41F2-5B90-4C83-CFB224FD6564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33:05.735" v="309"/>
        <pc:sldMkLst>
          <pc:docMk/>
          <pc:sldMk cId="997618678" sldId="2147375702"/>
        </pc:sldMkLst>
        <pc:spChg chg="add mod">
          <ac:chgData name="Annik Noer Nawarni" userId="1f05a52b-258c-4876-bdb6-a198a4fe0a47" providerId="ADAL" clId="{A7EF07C4-9FD6-4EEF-98F4-FFFEC309D168}" dt="2025-06-18T06:55:14.177" v="210" actId="14100"/>
          <ac:spMkLst>
            <pc:docMk/>
            <pc:sldMk cId="997618678" sldId="2147375702"/>
            <ac:spMk id="5" creationId="{8D4AE9BB-3298-AE91-E09A-AB89E54C5E8A}"/>
          </ac:spMkLst>
        </pc:spChg>
        <pc:spChg chg="add mod">
          <ac:chgData name="Annik Noer Nawarni" userId="1f05a52b-258c-4876-bdb6-a198a4fe0a47" providerId="ADAL" clId="{A7EF07C4-9FD6-4EEF-98F4-FFFEC309D168}" dt="2025-06-18T06:55:17.916" v="211" actId="1076"/>
          <ac:spMkLst>
            <pc:docMk/>
            <pc:sldMk cId="997618678" sldId="2147375702"/>
            <ac:spMk id="7" creationId="{034723B4-AD9C-0BF6-48A7-1126F4420BE0}"/>
          </ac:spMkLst>
        </pc:spChg>
        <pc:spChg chg="del">
          <ac:chgData name="Annik Noer Nawarni" userId="1f05a52b-258c-4876-bdb6-a198a4fe0a47" providerId="ADAL" clId="{A7EF07C4-9FD6-4EEF-98F4-FFFEC309D168}" dt="2025-06-18T12:33:04.938" v="308" actId="478"/>
          <ac:spMkLst>
            <pc:docMk/>
            <pc:sldMk cId="997618678" sldId="2147375702"/>
            <ac:spMk id="21" creationId="{ED3E5413-BCDA-4F5D-95C1-CA0B03452661}"/>
          </ac:spMkLst>
        </pc:spChg>
        <pc:picChg chg="add mod">
          <ac:chgData name="Annik Noer Nawarni" userId="1f05a52b-258c-4876-bdb6-a198a4fe0a47" providerId="ADAL" clId="{A7EF07C4-9FD6-4EEF-98F4-FFFEC309D168}" dt="2025-06-18T12:33:05.735" v="309"/>
          <ac:picMkLst>
            <pc:docMk/>
            <pc:sldMk cId="997618678" sldId="2147375702"/>
            <ac:picMk id="9" creationId="{CEA3D067-401B-81FA-DD04-1CA5A15274E1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47:12.483" v="421"/>
        <pc:sldMkLst>
          <pc:docMk/>
          <pc:sldMk cId="3717260152" sldId="2147375704"/>
        </pc:sldMkLst>
        <pc:spChg chg="mod">
          <ac:chgData name="Annik Noer Nawarni" userId="1f05a52b-258c-4876-bdb6-a198a4fe0a47" providerId="ADAL" clId="{A7EF07C4-9FD6-4EEF-98F4-FFFEC309D168}" dt="2025-06-18T06:46:55.506" v="73" actId="20577"/>
          <ac:spMkLst>
            <pc:docMk/>
            <pc:sldMk cId="3717260152" sldId="2147375704"/>
            <ac:spMk id="7" creationId="{AA4C02D2-1323-4473-9FA1-F843E5BAA1F0}"/>
          </ac:spMkLst>
        </pc:spChg>
        <pc:picChg chg="add mod">
          <ac:chgData name="Annik Noer Nawarni" userId="1f05a52b-258c-4876-bdb6-a198a4fe0a47" providerId="ADAL" clId="{A7EF07C4-9FD6-4EEF-98F4-FFFEC309D168}" dt="2025-06-18T12:47:12.483" v="421"/>
          <ac:picMkLst>
            <pc:docMk/>
            <pc:sldMk cId="3717260152" sldId="2147375704"/>
            <ac:picMk id="8" creationId="{3A7D1E4C-507D-6365-8B1A-B27B6E6032E7}"/>
          </ac:picMkLst>
        </pc:picChg>
        <pc:picChg chg="del">
          <ac:chgData name="Annik Noer Nawarni" userId="1f05a52b-258c-4876-bdb6-a198a4fe0a47" providerId="ADAL" clId="{A7EF07C4-9FD6-4EEF-98F4-FFFEC309D168}" dt="2025-06-18T12:47:12.004" v="420" actId="478"/>
          <ac:picMkLst>
            <pc:docMk/>
            <pc:sldMk cId="3717260152" sldId="2147375704"/>
            <ac:picMk id="29" creationId="{C6A4CC87-85D4-46A3-B9B1-57B9C51B5CB9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31:40.202" v="282"/>
        <pc:sldMkLst>
          <pc:docMk/>
          <pc:sldMk cId="2123702601" sldId="2147375705"/>
        </pc:sldMkLst>
        <pc:spChg chg="mod">
          <ac:chgData name="Annik Noer Nawarni" userId="1f05a52b-258c-4876-bdb6-a198a4fe0a47" providerId="ADAL" clId="{A7EF07C4-9FD6-4EEF-98F4-FFFEC309D168}" dt="2025-06-18T06:52:00.286" v="138" actId="20577"/>
          <ac:spMkLst>
            <pc:docMk/>
            <pc:sldMk cId="2123702601" sldId="2147375705"/>
            <ac:spMk id="7" creationId="{AA4C02D2-1323-4473-9FA1-F843E5BAA1F0}"/>
          </ac:spMkLst>
        </pc:spChg>
        <pc:spChg chg="mod">
          <ac:chgData name="Annik Noer Nawarni" userId="1f05a52b-258c-4876-bdb6-a198a4fe0a47" providerId="ADAL" clId="{A7EF07C4-9FD6-4EEF-98F4-FFFEC309D168}" dt="2025-06-18T06:51:37.451" v="126" actId="20577"/>
          <ac:spMkLst>
            <pc:docMk/>
            <pc:sldMk cId="2123702601" sldId="2147375705"/>
            <ac:spMk id="28" creationId="{3AF086F9-0820-4AF3-A6D2-5D889C0FA826}"/>
          </ac:spMkLst>
        </pc:spChg>
        <pc:picChg chg="add mod">
          <ac:chgData name="Annik Noer Nawarni" userId="1f05a52b-258c-4876-bdb6-a198a4fe0a47" providerId="ADAL" clId="{A7EF07C4-9FD6-4EEF-98F4-FFFEC309D168}" dt="2025-06-18T12:31:40.202" v="282"/>
          <ac:picMkLst>
            <pc:docMk/>
            <pc:sldMk cId="2123702601" sldId="2147375705"/>
            <ac:picMk id="8" creationId="{1B04AE3C-2E64-D9A8-4EF6-22123A95383D}"/>
          </ac:picMkLst>
        </pc:picChg>
        <pc:picChg chg="del">
          <ac:chgData name="Annik Noer Nawarni" userId="1f05a52b-258c-4876-bdb6-a198a4fe0a47" providerId="ADAL" clId="{A7EF07C4-9FD6-4EEF-98F4-FFFEC309D168}" dt="2025-06-18T12:31:39.519" v="281" actId="478"/>
          <ac:picMkLst>
            <pc:docMk/>
            <pc:sldMk cId="2123702601" sldId="2147375705"/>
            <ac:picMk id="29" creationId="{C6A4CC87-85D4-46A3-B9B1-57B9C51B5CB9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3:04:45.525" v="932" actId="20577"/>
        <pc:sldMkLst>
          <pc:docMk/>
          <pc:sldMk cId="322358794" sldId="2147375811"/>
        </pc:sldMkLst>
        <pc:spChg chg="add mod">
          <ac:chgData name="Annik Noer Nawarni" userId="1f05a52b-258c-4876-bdb6-a198a4fe0a47" providerId="ADAL" clId="{A7EF07C4-9FD6-4EEF-98F4-FFFEC309D168}" dt="2025-06-18T13:04:06.666" v="830" actId="14100"/>
          <ac:spMkLst>
            <pc:docMk/>
            <pc:sldMk cId="322358794" sldId="2147375811"/>
            <ac:spMk id="8" creationId="{7C818444-898C-2F22-83F5-ACC582D69A5B}"/>
          </ac:spMkLst>
        </pc:spChg>
        <pc:spChg chg="add mod">
          <ac:chgData name="Annik Noer Nawarni" userId="1f05a52b-258c-4876-bdb6-a198a4fe0a47" providerId="ADAL" clId="{A7EF07C4-9FD6-4EEF-98F4-FFFEC309D168}" dt="2025-06-18T13:04:45.525" v="932" actId="20577"/>
          <ac:spMkLst>
            <pc:docMk/>
            <pc:sldMk cId="322358794" sldId="2147375811"/>
            <ac:spMk id="11" creationId="{98CC4119-7937-0BB2-4F5E-FC41B4C5FC45}"/>
          </ac:spMkLst>
        </pc:spChg>
        <pc:picChg chg="add mod">
          <ac:chgData name="Annik Noer Nawarni" userId="1f05a52b-258c-4876-bdb6-a198a4fe0a47" providerId="ADAL" clId="{A7EF07C4-9FD6-4EEF-98F4-FFFEC309D168}" dt="2025-06-18T13:03:18.745" v="800"/>
          <ac:picMkLst>
            <pc:docMk/>
            <pc:sldMk cId="322358794" sldId="2147375811"/>
            <ac:picMk id="5" creationId="{0A5F78D3-7C5B-5C9A-8EFA-775BE7C23035}"/>
          </ac:picMkLst>
        </pc:picChg>
        <pc:picChg chg="del">
          <ac:chgData name="Annik Noer Nawarni" userId="1f05a52b-258c-4876-bdb6-a198a4fe0a47" providerId="ADAL" clId="{A7EF07C4-9FD6-4EEF-98F4-FFFEC309D168}" dt="2025-06-18T13:03:14.021" v="799" actId="478"/>
          <ac:picMkLst>
            <pc:docMk/>
            <pc:sldMk cId="322358794" sldId="2147375811"/>
            <ac:picMk id="123" creationId="{5861A488-6D53-4580-8589-BF1484CFB25E}"/>
          </ac:picMkLst>
        </pc:picChg>
      </pc:sldChg>
      <pc:sldChg chg="del">
        <pc:chgData name="Annik Noer Nawarni" userId="1f05a52b-258c-4876-bdb6-a198a4fe0a47" providerId="ADAL" clId="{A7EF07C4-9FD6-4EEF-98F4-FFFEC309D168}" dt="2025-06-18T06:51:04.570" v="122" actId="2696"/>
        <pc:sldMkLst>
          <pc:docMk/>
          <pc:sldMk cId="1392465706" sldId="2147375836"/>
        </pc:sldMkLst>
      </pc:sldChg>
      <pc:sldChg chg="add del">
        <pc:chgData name="Annik Noer Nawarni" userId="1f05a52b-258c-4876-bdb6-a198a4fe0a47" providerId="ADAL" clId="{A7EF07C4-9FD6-4EEF-98F4-FFFEC309D168}" dt="2025-06-18T12:41:07.732" v="376" actId="47"/>
        <pc:sldMkLst>
          <pc:docMk/>
          <pc:sldMk cId="2403855813" sldId="2147375836"/>
        </pc:sldMkLst>
      </pc:sldChg>
      <pc:sldChg chg="modSp del mod ord">
        <pc:chgData name="Annik Noer Nawarni" userId="1f05a52b-258c-4876-bdb6-a198a4fe0a47" providerId="ADAL" clId="{A7EF07C4-9FD6-4EEF-98F4-FFFEC309D168}" dt="2025-06-18T12:31:14.457" v="274" actId="47"/>
        <pc:sldMkLst>
          <pc:docMk/>
          <pc:sldMk cId="991456950" sldId="2147375837"/>
        </pc:sldMkLst>
        <pc:picChg chg="mod">
          <ac:chgData name="Annik Noer Nawarni" userId="1f05a52b-258c-4876-bdb6-a198a4fe0a47" providerId="ADAL" clId="{A7EF07C4-9FD6-4EEF-98F4-FFFEC309D168}" dt="2025-06-18T06:46:12.402" v="41" actId="14100"/>
          <ac:picMkLst>
            <pc:docMk/>
            <pc:sldMk cId="991456950" sldId="2147375837"/>
            <ac:picMk id="4" creationId="{428F7C84-36D6-31D4-ABF0-AD0150E14F02}"/>
          </ac:picMkLst>
        </pc:picChg>
      </pc:sldChg>
      <pc:sldChg chg="delSp del mod">
        <pc:chgData name="Annik Noer Nawarni" userId="1f05a52b-258c-4876-bdb6-a198a4fe0a47" providerId="ADAL" clId="{A7EF07C4-9FD6-4EEF-98F4-FFFEC309D168}" dt="2025-06-18T06:51:04.570" v="122" actId="2696"/>
        <pc:sldMkLst>
          <pc:docMk/>
          <pc:sldMk cId="1167123143" sldId="2147375860"/>
        </pc:sldMkLst>
        <pc:spChg chg="del">
          <ac:chgData name="Annik Noer Nawarni" userId="1f05a52b-258c-4876-bdb6-a198a4fe0a47" providerId="ADAL" clId="{A7EF07C4-9FD6-4EEF-98F4-FFFEC309D168}" dt="2025-06-18T06:47:51.583" v="74" actId="478"/>
          <ac:spMkLst>
            <pc:docMk/>
            <pc:sldMk cId="1167123143" sldId="2147375860"/>
            <ac:spMk id="28" creationId="{3AF086F9-0820-4AF3-A6D2-5D889C0FA826}"/>
          </ac:spMkLst>
        </pc:spChg>
      </pc:sldChg>
      <pc:sldChg chg="addSp delSp modSp add mod">
        <pc:chgData name="Annik Noer Nawarni" userId="1f05a52b-258c-4876-bdb6-a198a4fe0a47" providerId="ADAL" clId="{A7EF07C4-9FD6-4EEF-98F4-FFFEC309D168}" dt="2025-06-18T12:31:23.202" v="276"/>
        <pc:sldMkLst>
          <pc:docMk/>
          <pc:sldMk cId="2078492488" sldId="2147375860"/>
        </pc:sldMkLst>
        <pc:spChg chg="add mod">
          <ac:chgData name="Annik Noer Nawarni" userId="1f05a52b-258c-4876-bdb6-a198a4fe0a47" providerId="ADAL" clId="{A7EF07C4-9FD6-4EEF-98F4-FFFEC309D168}" dt="2025-06-18T06:51:22.075" v="125" actId="20577"/>
          <ac:spMkLst>
            <pc:docMk/>
            <pc:sldMk cId="2078492488" sldId="2147375860"/>
            <ac:spMk id="8" creationId="{1EA65468-62B4-61AE-8E10-75865C0662DB}"/>
          </ac:spMkLst>
        </pc:spChg>
        <pc:picChg chg="add mod">
          <ac:chgData name="Annik Noer Nawarni" userId="1f05a52b-258c-4876-bdb6-a198a4fe0a47" providerId="ADAL" clId="{A7EF07C4-9FD6-4EEF-98F4-FFFEC309D168}" dt="2025-06-18T12:31:23.202" v="276"/>
          <ac:picMkLst>
            <pc:docMk/>
            <pc:sldMk cId="2078492488" sldId="2147375860"/>
            <ac:picMk id="9" creationId="{C84B8931-321C-AF46-6093-6138167AD127}"/>
          </ac:picMkLst>
        </pc:picChg>
        <pc:picChg chg="del">
          <ac:chgData name="Annik Noer Nawarni" userId="1f05a52b-258c-4876-bdb6-a198a4fe0a47" providerId="ADAL" clId="{A7EF07C4-9FD6-4EEF-98F4-FFFEC309D168}" dt="2025-06-18T12:31:22.168" v="275" actId="478"/>
          <ac:picMkLst>
            <pc:docMk/>
            <pc:sldMk cId="2078492488" sldId="2147375860"/>
            <ac:picMk id="29" creationId="{C6A4CC87-85D4-46A3-B9B1-57B9C51B5CB9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2:32:53.204" v="305"/>
        <pc:sldMkLst>
          <pc:docMk/>
          <pc:sldMk cId="2499484889" sldId="2147375862"/>
        </pc:sldMkLst>
        <pc:spChg chg="del">
          <ac:chgData name="Annik Noer Nawarni" userId="1f05a52b-258c-4876-bdb6-a198a4fe0a47" providerId="ADAL" clId="{A7EF07C4-9FD6-4EEF-98F4-FFFEC309D168}" dt="2025-06-18T12:32:52.284" v="304" actId="478"/>
          <ac:spMkLst>
            <pc:docMk/>
            <pc:sldMk cId="2499484889" sldId="2147375862"/>
            <ac:spMk id="21" creationId="{ED3E5413-BCDA-4F5D-95C1-CA0B03452661}"/>
          </ac:spMkLst>
        </pc:spChg>
        <pc:picChg chg="add mod">
          <ac:chgData name="Annik Noer Nawarni" userId="1f05a52b-258c-4876-bdb6-a198a4fe0a47" providerId="ADAL" clId="{A7EF07C4-9FD6-4EEF-98F4-FFFEC309D168}" dt="2025-06-18T12:32:53.204" v="305"/>
          <ac:picMkLst>
            <pc:docMk/>
            <pc:sldMk cId="2499484889" sldId="2147375862"/>
            <ac:picMk id="3" creationId="{2B9C8A0B-7367-A595-AB8C-7CB364DA3715}"/>
          </ac:picMkLst>
        </pc:picChg>
      </pc:sldChg>
      <pc:sldChg chg="addSp delSp modSp mod">
        <pc:chgData name="Annik Noer Nawarni" userId="1f05a52b-258c-4876-bdb6-a198a4fe0a47" providerId="ADAL" clId="{A7EF07C4-9FD6-4EEF-98F4-FFFEC309D168}" dt="2025-06-18T13:16:15.155" v="1169" actId="14100"/>
        <pc:sldMkLst>
          <pc:docMk/>
          <pc:sldMk cId="255987533" sldId="2147375863"/>
        </pc:sldMkLst>
        <pc:spChg chg="del">
          <ac:chgData name="Annik Noer Nawarni" userId="1f05a52b-258c-4876-bdb6-a198a4fe0a47" providerId="ADAL" clId="{A7EF07C4-9FD6-4EEF-98F4-FFFEC309D168}" dt="2025-06-18T12:32:59.655" v="306" actId="478"/>
          <ac:spMkLst>
            <pc:docMk/>
            <pc:sldMk cId="255987533" sldId="2147375863"/>
            <ac:spMk id="21" creationId="{ED3E5413-BCDA-4F5D-95C1-CA0B03452661}"/>
          </ac:spMkLst>
        </pc:spChg>
        <pc:spChg chg="add mod">
          <ac:chgData name="Annik Noer Nawarni" userId="1f05a52b-258c-4876-bdb6-a198a4fe0a47" providerId="ADAL" clId="{A7EF07C4-9FD6-4EEF-98F4-FFFEC309D168}" dt="2025-06-18T13:16:15.155" v="1169" actId="14100"/>
          <ac:spMkLst>
            <pc:docMk/>
            <pc:sldMk cId="255987533" sldId="2147375863"/>
            <ac:spMk id="22" creationId="{4215E018-225B-536A-7F52-79A553DBC30D}"/>
          </ac:spMkLst>
        </pc:spChg>
        <pc:picChg chg="add mod">
          <ac:chgData name="Annik Noer Nawarni" userId="1f05a52b-258c-4876-bdb6-a198a4fe0a47" providerId="ADAL" clId="{A7EF07C4-9FD6-4EEF-98F4-FFFEC309D168}" dt="2025-06-18T12:33:02.011" v="307"/>
          <ac:picMkLst>
            <pc:docMk/>
            <pc:sldMk cId="255987533" sldId="2147375863"/>
            <ac:picMk id="6" creationId="{3FB7B363-7ADB-D8A7-40DA-3FC86D5EBB73}"/>
          </ac:picMkLst>
        </pc:picChg>
      </pc:sldChg>
      <pc:sldChg chg="del">
        <pc:chgData name="Annik Noer Nawarni" userId="1f05a52b-258c-4876-bdb6-a198a4fe0a47" providerId="ADAL" clId="{A7EF07C4-9FD6-4EEF-98F4-FFFEC309D168}" dt="2025-06-18T06:52:47.785" v="140" actId="47"/>
        <pc:sldMkLst>
          <pc:docMk/>
          <pc:sldMk cId="2051351074" sldId="2147375901"/>
        </pc:sldMkLst>
      </pc:sldChg>
      <pc:sldChg chg="addSp delSp modSp mod">
        <pc:chgData name="Annik Noer Nawarni" userId="1f05a52b-258c-4876-bdb6-a198a4fe0a47" providerId="ADAL" clId="{A7EF07C4-9FD6-4EEF-98F4-FFFEC309D168}" dt="2025-06-18T12:32:14.698" v="295"/>
        <pc:sldMkLst>
          <pc:docMk/>
          <pc:sldMk cId="3520599961" sldId="2147375902"/>
        </pc:sldMkLst>
        <pc:picChg chg="add mod">
          <ac:chgData name="Annik Noer Nawarni" userId="1f05a52b-258c-4876-bdb6-a198a4fe0a47" providerId="ADAL" clId="{A7EF07C4-9FD6-4EEF-98F4-FFFEC309D168}" dt="2025-06-18T12:32:14.698" v="295"/>
          <ac:picMkLst>
            <pc:docMk/>
            <pc:sldMk cId="3520599961" sldId="2147375902"/>
            <ac:picMk id="4" creationId="{B77409DA-B2DF-8E20-6CDB-7F6385D62CC9}"/>
          </ac:picMkLst>
        </pc:picChg>
        <pc:picChg chg="del">
          <ac:chgData name="Annik Noer Nawarni" userId="1f05a52b-258c-4876-bdb6-a198a4fe0a47" providerId="ADAL" clId="{A7EF07C4-9FD6-4EEF-98F4-FFFEC309D168}" dt="2025-06-18T12:32:13.963" v="294" actId="478"/>
          <ac:picMkLst>
            <pc:docMk/>
            <pc:sldMk cId="3520599961" sldId="2147375902"/>
            <ac:picMk id="7" creationId="{8AE23FBE-321A-A619-2D3A-8F1D6218FB3C}"/>
          </ac:picMkLst>
        </pc:picChg>
      </pc:sldChg>
      <pc:sldChg chg="addSp delSp modSp add mod setBg delAnim">
        <pc:chgData name="Annik Noer Nawarni" userId="1f05a52b-258c-4876-bdb6-a198a4fe0a47" providerId="ADAL" clId="{A7EF07C4-9FD6-4EEF-98F4-FFFEC309D168}" dt="2025-06-18T13:14:38.772" v="1046" actId="14100"/>
        <pc:sldMkLst>
          <pc:docMk/>
          <pc:sldMk cId="4124420364" sldId="2147375903"/>
        </pc:sldMkLst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7" creationId="{46C7BB63-1D72-1B2A-3CE0-DEB9DADE3DDD}"/>
          </ac:spMkLst>
        </pc:spChg>
        <pc:spChg chg="mod">
          <ac:chgData name="Annik Noer Nawarni" userId="1f05a52b-258c-4876-bdb6-a198a4fe0a47" providerId="ADAL" clId="{A7EF07C4-9FD6-4EEF-98F4-FFFEC309D168}" dt="2025-06-18T06:50:27.893" v="119" actId="14100"/>
          <ac:spMkLst>
            <pc:docMk/>
            <pc:sldMk cId="4124420364" sldId="2147375903"/>
            <ac:spMk id="31" creationId="{4094069E-0061-1474-A6BF-DD76B304EB32}"/>
          </ac:spMkLst>
        </pc:spChg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34" creationId="{310AC135-1D76-5A2A-60A9-C438BF7EC852}"/>
          </ac:spMkLst>
        </pc:spChg>
        <pc:spChg chg="del">
          <ac:chgData name="Annik Noer Nawarni" userId="1f05a52b-258c-4876-bdb6-a198a4fe0a47" providerId="ADAL" clId="{A7EF07C4-9FD6-4EEF-98F4-FFFEC309D168}" dt="2025-06-18T06:49:01.794" v="89" actId="478"/>
          <ac:spMkLst>
            <pc:docMk/>
            <pc:sldMk cId="4124420364" sldId="2147375903"/>
            <ac:spMk id="37" creationId="{2329AEDE-7946-880D-1E57-D812251C86B4}"/>
          </ac:spMkLst>
        </pc:spChg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40" creationId="{D3D61318-A937-F0F4-DDDB-AE5DAC6D69DD}"/>
          </ac:spMkLst>
        </pc:spChg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41" creationId="{ED358ADE-90AE-4CBE-1936-607EB3653727}"/>
          </ac:spMkLst>
        </pc:spChg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42" creationId="{7663CDF9-C205-E71D-82C5-7F976B0AB620}"/>
          </ac:spMkLst>
        </pc:spChg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43" creationId="{B7A77969-D356-2784-D7E4-1AB75D795E05}"/>
          </ac:spMkLst>
        </pc:spChg>
        <pc:spChg chg="add">
          <ac:chgData name="Annik Noer Nawarni" userId="1f05a52b-258c-4876-bdb6-a198a4fe0a47" providerId="ADAL" clId="{A7EF07C4-9FD6-4EEF-98F4-FFFEC309D168}" dt="2025-06-18T06:50:18.144" v="117" actId="26606"/>
          <ac:spMkLst>
            <pc:docMk/>
            <pc:sldMk cId="4124420364" sldId="2147375903"/>
            <ac:spMk id="46" creationId="{D4771268-CB57-404A-9271-370EB28F6090}"/>
          </ac:spMkLst>
        </pc:spChg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49" creationId="{964BABD5-B7BE-5FA7-1252-75D56367E220}"/>
          </ac:spMkLst>
        </pc:spChg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66" creationId="{0F6B101D-1DCC-1CCA-810C-4B1BFA3F3951}"/>
          </ac:spMkLst>
        </pc:spChg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80" creationId="{726601C4-B1D4-680E-A484-A41C05BC3789}"/>
          </ac:spMkLst>
        </pc:spChg>
        <pc:spChg chg="del">
          <ac:chgData name="Annik Noer Nawarni" userId="1f05a52b-258c-4876-bdb6-a198a4fe0a47" providerId="ADAL" clId="{A7EF07C4-9FD6-4EEF-98F4-FFFEC309D168}" dt="2025-06-18T06:48:59.585" v="88" actId="478"/>
          <ac:spMkLst>
            <pc:docMk/>
            <pc:sldMk cId="4124420364" sldId="2147375903"/>
            <ac:spMk id="103" creationId="{BA1BF8F9-233E-4AB4-E620-67FE86AB11E9}"/>
          </ac:spMkLst>
        </pc:spChg>
        <pc:picChg chg="del">
          <ac:chgData name="Annik Noer Nawarni" userId="1f05a52b-258c-4876-bdb6-a198a4fe0a47" providerId="ADAL" clId="{A7EF07C4-9FD6-4EEF-98F4-FFFEC309D168}" dt="2025-06-18T06:49:03.495" v="90" actId="478"/>
          <ac:picMkLst>
            <pc:docMk/>
            <pc:sldMk cId="4124420364" sldId="2147375903"/>
            <ac:picMk id="2" creationId="{6FB37501-5E43-136C-D83D-648A82F528A0}"/>
          </ac:picMkLst>
        </pc:picChg>
        <pc:picChg chg="ord">
          <ac:chgData name="Annik Noer Nawarni" userId="1f05a52b-258c-4876-bdb6-a198a4fe0a47" providerId="ADAL" clId="{A7EF07C4-9FD6-4EEF-98F4-FFFEC309D168}" dt="2025-06-18T06:50:18.144" v="117" actId="26606"/>
          <ac:picMkLst>
            <pc:docMk/>
            <pc:sldMk cId="4124420364" sldId="2147375903"/>
            <ac:picMk id="4" creationId="{22A4B9D6-44AE-FE74-6231-938BBFA53530}"/>
          </ac:picMkLst>
        </pc:picChg>
        <pc:picChg chg="add mod">
          <ac:chgData name="Annik Noer Nawarni" userId="1f05a52b-258c-4876-bdb6-a198a4fe0a47" providerId="ADAL" clId="{A7EF07C4-9FD6-4EEF-98F4-FFFEC309D168}" dt="2025-06-18T13:14:38.772" v="1046" actId="14100"/>
          <ac:picMkLst>
            <pc:docMk/>
            <pc:sldMk cId="4124420364" sldId="2147375903"/>
            <ac:picMk id="5" creationId="{0602976D-4A08-21F4-89B3-C4F63FDAD5B2}"/>
          </ac:picMkLst>
        </pc:picChg>
        <pc:picChg chg="add mod">
          <ac:chgData name="Annik Noer Nawarni" userId="1f05a52b-258c-4876-bdb6-a198a4fe0a47" providerId="ADAL" clId="{A7EF07C4-9FD6-4EEF-98F4-FFFEC309D168}" dt="2025-06-18T12:31:04.423" v="271"/>
          <ac:picMkLst>
            <pc:docMk/>
            <pc:sldMk cId="4124420364" sldId="2147375903"/>
            <ac:picMk id="6" creationId="{BED8B953-B861-F87B-2CE3-9CE67B81A838}"/>
          </ac:picMkLst>
        </pc:picChg>
      </pc:sldChg>
      <pc:sldChg chg="add">
        <pc:chgData name="Annik Noer Nawarni" userId="1f05a52b-258c-4876-bdb6-a198a4fe0a47" providerId="ADAL" clId="{A7EF07C4-9FD6-4EEF-98F4-FFFEC309D168}" dt="2025-06-18T12:39:40.819" v="372"/>
        <pc:sldMkLst>
          <pc:docMk/>
          <pc:sldMk cId="2678675466" sldId="2147376024"/>
        </pc:sldMkLst>
      </pc:sldChg>
      <pc:sldChg chg="add">
        <pc:chgData name="Annik Noer Nawarni" userId="1f05a52b-258c-4876-bdb6-a198a4fe0a47" providerId="ADAL" clId="{A7EF07C4-9FD6-4EEF-98F4-FFFEC309D168}" dt="2025-06-18T12:39:32.512" v="371"/>
        <pc:sldMkLst>
          <pc:docMk/>
          <pc:sldMk cId="1974553042" sldId="2147376025"/>
        </pc:sldMkLst>
      </pc:sldChg>
      <pc:sldChg chg="addSp delSp modSp add mod">
        <pc:chgData name="Annik Noer Nawarni" userId="1f05a52b-258c-4876-bdb6-a198a4fe0a47" providerId="ADAL" clId="{A7EF07C4-9FD6-4EEF-98F4-FFFEC309D168}" dt="2025-06-18T12:29:22.408" v="255"/>
        <pc:sldMkLst>
          <pc:docMk/>
          <pc:sldMk cId="500181064" sldId="2147376037"/>
        </pc:sldMkLst>
        <pc:picChg chg="add mod">
          <ac:chgData name="Annik Noer Nawarni" userId="1f05a52b-258c-4876-bdb6-a198a4fe0a47" providerId="ADAL" clId="{A7EF07C4-9FD6-4EEF-98F4-FFFEC309D168}" dt="2025-06-18T12:29:22.408" v="255"/>
          <ac:picMkLst>
            <pc:docMk/>
            <pc:sldMk cId="500181064" sldId="2147376037"/>
            <ac:picMk id="2" creationId="{C93CDBDB-04A9-EC49-0929-375F71D3C27E}"/>
          </ac:picMkLst>
        </pc:picChg>
        <pc:picChg chg="del">
          <ac:chgData name="Annik Noer Nawarni" userId="1f05a52b-258c-4876-bdb6-a198a4fe0a47" providerId="ADAL" clId="{A7EF07C4-9FD6-4EEF-98F4-FFFEC309D168}" dt="2025-06-18T12:29:21.962" v="254" actId="478"/>
          <ac:picMkLst>
            <pc:docMk/>
            <pc:sldMk cId="500181064" sldId="2147376037"/>
            <ac:picMk id="5" creationId="{80423D6A-62BB-7CB4-AA7E-50C5ECF67D11}"/>
          </ac:picMkLst>
        </pc:picChg>
      </pc:sldChg>
      <pc:sldChg chg="add del">
        <pc:chgData name="Annik Noer Nawarni" userId="1f05a52b-258c-4876-bdb6-a198a4fe0a47" providerId="ADAL" clId="{A7EF07C4-9FD6-4EEF-98F4-FFFEC309D168}" dt="2025-06-18T12:31:13.115" v="273" actId="47"/>
        <pc:sldMkLst>
          <pc:docMk/>
          <pc:sldMk cId="4204929321" sldId="2147376038"/>
        </pc:sldMkLst>
      </pc:sldChg>
      <pc:sldChg chg="delSp modSp add del mod ord">
        <pc:chgData name="Annik Noer Nawarni" userId="1f05a52b-258c-4876-bdb6-a198a4fe0a47" providerId="ADAL" clId="{A7EF07C4-9FD6-4EEF-98F4-FFFEC309D168}" dt="2025-06-18T12:31:10.459" v="272" actId="47"/>
        <pc:sldMkLst>
          <pc:docMk/>
          <pc:sldMk cId="771270102" sldId="2147376039"/>
        </pc:sldMkLst>
        <pc:spChg chg="del">
          <ac:chgData name="Annik Noer Nawarni" userId="1f05a52b-258c-4876-bdb6-a198a4fe0a47" providerId="ADAL" clId="{A7EF07C4-9FD6-4EEF-98F4-FFFEC309D168}" dt="2025-06-18T12:25:16.853" v="220" actId="478"/>
          <ac:spMkLst>
            <pc:docMk/>
            <pc:sldMk cId="771270102" sldId="2147376039"/>
            <ac:spMk id="2" creationId="{E0753E17-1498-31EB-FA76-6983E10F9655}"/>
          </ac:spMkLst>
        </pc:spChg>
        <pc:spChg chg="mod">
          <ac:chgData name="Annik Noer Nawarni" userId="1f05a52b-258c-4876-bdb6-a198a4fe0a47" providerId="ADAL" clId="{A7EF07C4-9FD6-4EEF-98F4-FFFEC309D168}" dt="2025-06-18T12:25:25.439" v="239" actId="20577"/>
          <ac:spMkLst>
            <pc:docMk/>
            <pc:sldMk cId="771270102" sldId="2147376039"/>
            <ac:spMk id="3" creationId="{9EA4F13A-823A-AC0F-8B6B-FF84D036C72C}"/>
          </ac:spMkLst>
        </pc:spChg>
      </pc:sldChg>
      <pc:sldChg chg="addSp delSp modSp add mod">
        <pc:chgData name="Annik Noer Nawarni" userId="1f05a52b-258c-4876-bdb6-a198a4fe0a47" providerId="ADAL" clId="{A7EF07C4-9FD6-4EEF-98F4-FFFEC309D168}" dt="2025-06-18T12:29:58.594" v="266" actId="478"/>
        <pc:sldMkLst>
          <pc:docMk/>
          <pc:sldMk cId="2149500980" sldId="2147376058"/>
        </pc:sldMkLst>
        <pc:spChg chg="del">
          <ac:chgData name="Annik Noer Nawarni" userId="1f05a52b-258c-4876-bdb6-a198a4fe0a47" providerId="ADAL" clId="{A7EF07C4-9FD6-4EEF-98F4-FFFEC309D168}" dt="2025-06-18T12:29:58.594" v="266" actId="478"/>
          <ac:spMkLst>
            <pc:docMk/>
            <pc:sldMk cId="2149500980" sldId="2147376058"/>
            <ac:spMk id="16" creationId="{EAC3502D-D491-4E43-7C6A-6634335F87A9}"/>
          </ac:spMkLst>
        </pc:spChg>
        <pc:spChg chg="del">
          <ac:chgData name="Annik Noer Nawarni" userId="1f05a52b-258c-4876-bdb6-a198a4fe0a47" providerId="ADAL" clId="{A7EF07C4-9FD6-4EEF-98F4-FFFEC309D168}" dt="2025-06-18T12:29:58.594" v="266" actId="478"/>
          <ac:spMkLst>
            <pc:docMk/>
            <pc:sldMk cId="2149500980" sldId="2147376058"/>
            <ac:spMk id="19" creationId="{5FF4E7FA-DEA5-A822-74CC-4A85B56CF1F5}"/>
          </ac:spMkLst>
        </pc:spChg>
        <pc:picChg chg="add mod">
          <ac:chgData name="Annik Noer Nawarni" userId="1f05a52b-258c-4876-bdb6-a198a4fe0a47" providerId="ADAL" clId="{A7EF07C4-9FD6-4EEF-98F4-FFFEC309D168}" dt="2025-06-18T12:29:36.584" v="261"/>
          <ac:picMkLst>
            <pc:docMk/>
            <pc:sldMk cId="2149500980" sldId="2147376058"/>
            <ac:picMk id="7" creationId="{6714D014-CD67-1F76-D41D-3946505A05B3}"/>
          </ac:picMkLst>
        </pc:picChg>
        <pc:picChg chg="del">
          <ac:chgData name="Annik Noer Nawarni" userId="1f05a52b-258c-4876-bdb6-a198a4fe0a47" providerId="ADAL" clId="{A7EF07C4-9FD6-4EEF-98F4-FFFEC309D168}" dt="2025-06-18T12:29:58.594" v="266" actId="478"/>
          <ac:picMkLst>
            <pc:docMk/>
            <pc:sldMk cId="2149500980" sldId="2147376058"/>
            <ac:picMk id="23" creationId="{7C250FA6-32EC-B32D-64C5-57DC0B4BD22F}"/>
          </ac:picMkLst>
        </pc:picChg>
        <pc:picChg chg="del">
          <ac:chgData name="Annik Noer Nawarni" userId="1f05a52b-258c-4876-bdb6-a198a4fe0a47" providerId="ADAL" clId="{A7EF07C4-9FD6-4EEF-98F4-FFFEC309D168}" dt="2025-06-18T12:29:35.861" v="260" actId="478"/>
          <ac:picMkLst>
            <pc:docMk/>
            <pc:sldMk cId="2149500980" sldId="2147376058"/>
            <ac:picMk id="192" creationId="{0AB4FB6F-F138-CBD7-37C8-080E29E58E98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2:30:08.028" v="267" actId="478"/>
        <pc:sldMkLst>
          <pc:docMk/>
          <pc:sldMk cId="210945240" sldId="2147378127"/>
        </pc:sldMkLst>
        <pc:spChg chg="del">
          <ac:chgData name="Annik Noer Nawarni" userId="1f05a52b-258c-4876-bdb6-a198a4fe0a47" providerId="ADAL" clId="{A7EF07C4-9FD6-4EEF-98F4-FFFEC309D168}" dt="2025-06-18T12:30:08.028" v="267" actId="478"/>
          <ac:spMkLst>
            <pc:docMk/>
            <pc:sldMk cId="210945240" sldId="2147378127"/>
            <ac:spMk id="16" creationId="{EAC3502D-D491-4E43-7C6A-6634335F87A9}"/>
          </ac:spMkLst>
        </pc:spChg>
        <pc:spChg chg="del">
          <ac:chgData name="Annik Noer Nawarni" userId="1f05a52b-258c-4876-bdb6-a198a4fe0a47" providerId="ADAL" clId="{A7EF07C4-9FD6-4EEF-98F4-FFFEC309D168}" dt="2025-06-18T12:30:08.028" v="267" actId="478"/>
          <ac:spMkLst>
            <pc:docMk/>
            <pc:sldMk cId="210945240" sldId="2147378127"/>
            <ac:spMk id="19" creationId="{5FF4E7FA-DEA5-A822-74CC-4A85B56CF1F5}"/>
          </ac:spMkLst>
        </pc:spChg>
        <pc:picChg chg="add mod">
          <ac:chgData name="Annik Noer Nawarni" userId="1f05a52b-258c-4876-bdb6-a198a4fe0a47" providerId="ADAL" clId="{A7EF07C4-9FD6-4EEF-98F4-FFFEC309D168}" dt="2025-06-18T12:29:31.939" v="259"/>
          <ac:picMkLst>
            <pc:docMk/>
            <pc:sldMk cId="210945240" sldId="2147378127"/>
            <ac:picMk id="3" creationId="{2BDF750F-C24D-1ED7-8B7E-14510B73705A}"/>
          </ac:picMkLst>
        </pc:picChg>
        <pc:picChg chg="del">
          <ac:chgData name="Annik Noer Nawarni" userId="1f05a52b-258c-4876-bdb6-a198a4fe0a47" providerId="ADAL" clId="{A7EF07C4-9FD6-4EEF-98F4-FFFEC309D168}" dt="2025-06-18T12:30:08.028" v="267" actId="478"/>
          <ac:picMkLst>
            <pc:docMk/>
            <pc:sldMk cId="210945240" sldId="2147378127"/>
            <ac:picMk id="23" creationId="{7C250FA6-32EC-B32D-64C5-57DC0B4BD22F}"/>
          </ac:picMkLst>
        </pc:picChg>
        <pc:picChg chg="del">
          <ac:chgData name="Annik Noer Nawarni" userId="1f05a52b-258c-4876-bdb6-a198a4fe0a47" providerId="ADAL" clId="{A7EF07C4-9FD6-4EEF-98F4-FFFEC309D168}" dt="2025-06-18T12:29:31.351" v="258" actId="478"/>
          <ac:picMkLst>
            <pc:docMk/>
            <pc:sldMk cId="210945240" sldId="2147378127"/>
            <ac:picMk id="192" creationId="{0AB4FB6F-F138-CBD7-37C8-080E29E58E98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2:30:28.606" v="270" actId="478"/>
        <pc:sldMkLst>
          <pc:docMk/>
          <pc:sldMk cId="3061100975" sldId="2147378128"/>
        </pc:sldMkLst>
        <pc:spChg chg="del">
          <ac:chgData name="Annik Noer Nawarni" userId="1f05a52b-258c-4876-bdb6-a198a4fe0a47" providerId="ADAL" clId="{A7EF07C4-9FD6-4EEF-98F4-FFFEC309D168}" dt="2025-06-18T12:30:28.606" v="270" actId="478"/>
          <ac:spMkLst>
            <pc:docMk/>
            <pc:sldMk cId="3061100975" sldId="2147378128"/>
            <ac:spMk id="16" creationId="{EAC3502D-D491-4E43-7C6A-6634335F87A9}"/>
          </ac:spMkLst>
        </pc:spChg>
        <pc:spChg chg="del">
          <ac:chgData name="Annik Noer Nawarni" userId="1f05a52b-258c-4876-bdb6-a198a4fe0a47" providerId="ADAL" clId="{A7EF07C4-9FD6-4EEF-98F4-FFFEC309D168}" dt="2025-06-18T12:30:28.606" v="270" actId="478"/>
          <ac:spMkLst>
            <pc:docMk/>
            <pc:sldMk cId="3061100975" sldId="2147378128"/>
            <ac:spMk id="19" creationId="{5FF4E7FA-DEA5-A822-74CC-4A85B56CF1F5}"/>
          </ac:spMkLst>
        </pc:spChg>
        <pc:picChg chg="del">
          <ac:chgData name="Annik Noer Nawarni" userId="1f05a52b-258c-4876-bdb6-a198a4fe0a47" providerId="ADAL" clId="{A7EF07C4-9FD6-4EEF-98F4-FFFEC309D168}" dt="2025-06-18T12:30:28.606" v="270" actId="478"/>
          <ac:picMkLst>
            <pc:docMk/>
            <pc:sldMk cId="3061100975" sldId="2147378128"/>
            <ac:picMk id="23" creationId="{7C250FA6-32EC-B32D-64C5-57DC0B4BD22F}"/>
          </ac:picMkLst>
        </pc:picChg>
        <pc:picChg chg="add del mod">
          <ac:chgData name="Annik Noer Nawarni" userId="1f05a52b-258c-4876-bdb6-a198a4fe0a47" providerId="ADAL" clId="{A7EF07C4-9FD6-4EEF-98F4-FFFEC309D168}" dt="2025-06-18T12:30:17.305" v="268" actId="478"/>
          <ac:picMkLst>
            <pc:docMk/>
            <pc:sldMk cId="3061100975" sldId="2147378128"/>
            <ac:picMk id="25" creationId="{2CB78436-54C9-D54D-B823-C7179479764D}"/>
          </ac:picMkLst>
        </pc:picChg>
        <pc:picChg chg="add mod">
          <ac:chgData name="Annik Noer Nawarni" userId="1f05a52b-258c-4876-bdb6-a198a4fe0a47" providerId="ADAL" clId="{A7EF07C4-9FD6-4EEF-98F4-FFFEC309D168}" dt="2025-06-18T12:30:18.065" v="269"/>
          <ac:picMkLst>
            <pc:docMk/>
            <pc:sldMk cId="3061100975" sldId="2147378128"/>
            <ac:picMk id="26" creationId="{74A420A3-B73F-DF2D-4DE0-EE71F2C41921}"/>
          </ac:picMkLst>
        </pc:picChg>
        <pc:picChg chg="del">
          <ac:chgData name="Annik Noer Nawarni" userId="1f05a52b-258c-4876-bdb6-a198a4fe0a47" providerId="ADAL" clId="{A7EF07C4-9FD6-4EEF-98F4-FFFEC309D168}" dt="2025-06-18T12:29:27.681" v="256" actId="478"/>
          <ac:picMkLst>
            <pc:docMk/>
            <pc:sldMk cId="3061100975" sldId="2147378128"/>
            <ac:picMk id="192" creationId="{0AB4FB6F-F138-CBD7-37C8-080E29E58E98}"/>
          </ac:picMkLst>
        </pc:picChg>
      </pc:sldChg>
      <pc:sldChg chg="delSp modSp add mod setBg delDesignElem">
        <pc:chgData name="Annik Noer Nawarni" userId="1f05a52b-258c-4876-bdb6-a198a4fe0a47" providerId="ADAL" clId="{A7EF07C4-9FD6-4EEF-98F4-FFFEC309D168}" dt="2025-06-18T12:39:03.954" v="369" actId="255"/>
        <pc:sldMkLst>
          <pc:docMk/>
          <pc:sldMk cId="1810859419" sldId="2147379795"/>
        </pc:sldMkLst>
        <pc:spChg chg="mod">
          <ac:chgData name="Annik Noer Nawarni" userId="1f05a52b-258c-4876-bdb6-a198a4fe0a47" providerId="ADAL" clId="{A7EF07C4-9FD6-4EEF-98F4-FFFEC309D168}" dt="2025-06-18T12:39:03.954" v="369" actId="255"/>
          <ac:spMkLst>
            <pc:docMk/>
            <pc:sldMk cId="1810859419" sldId="2147379795"/>
            <ac:spMk id="12" creationId="{307CEE90-D252-D6D8-E25A-7A3FEB570470}"/>
          </ac:spMkLst>
        </pc:spChg>
        <pc:spChg chg="del">
          <ac:chgData name="Annik Noer Nawarni" userId="1f05a52b-258c-4876-bdb6-a198a4fe0a47" providerId="ADAL" clId="{A7EF07C4-9FD6-4EEF-98F4-FFFEC309D168}" dt="2025-06-18T12:38:46.352" v="367"/>
          <ac:spMkLst>
            <pc:docMk/>
            <pc:sldMk cId="1810859419" sldId="2147379795"/>
            <ac:spMk id="24" creationId="{84A8DE83-DE75-4B41-9DB4-A7EC0B0DEC0B}"/>
          </ac:spMkLst>
        </pc:spChg>
        <pc:spChg chg="del">
          <ac:chgData name="Annik Noer Nawarni" userId="1f05a52b-258c-4876-bdb6-a198a4fe0a47" providerId="ADAL" clId="{A7EF07C4-9FD6-4EEF-98F4-FFFEC309D168}" dt="2025-06-18T12:38:46.352" v="367"/>
          <ac:spMkLst>
            <pc:docMk/>
            <pc:sldMk cId="1810859419" sldId="2147379795"/>
            <ac:spMk id="25" creationId="{A8384FB5-9ADC-4DDC-881B-597D56F5B15D}"/>
          </ac:spMkLst>
        </pc:spChg>
        <pc:spChg chg="del">
          <ac:chgData name="Annik Noer Nawarni" userId="1f05a52b-258c-4876-bdb6-a198a4fe0a47" providerId="ADAL" clId="{A7EF07C4-9FD6-4EEF-98F4-FFFEC309D168}" dt="2025-06-18T12:38:46.352" v="367"/>
          <ac:spMkLst>
            <pc:docMk/>
            <pc:sldMk cId="1810859419" sldId="2147379795"/>
            <ac:spMk id="26" creationId="{A7009A0A-BEF5-4EAC-AF15-E4F9F002E239}"/>
          </ac:spMkLst>
        </pc:spChg>
        <pc:spChg chg="del">
          <ac:chgData name="Annik Noer Nawarni" userId="1f05a52b-258c-4876-bdb6-a198a4fe0a47" providerId="ADAL" clId="{A7EF07C4-9FD6-4EEF-98F4-FFFEC309D168}" dt="2025-06-18T12:38:46.352" v="367"/>
          <ac:spMkLst>
            <pc:docMk/>
            <pc:sldMk cId="1810859419" sldId="2147379795"/>
            <ac:spMk id="27" creationId="{1199E1B1-A8C0-4FE8-A5A8-1CB41D69F857}"/>
          </ac:spMkLst>
        </pc:spChg>
      </pc:sldChg>
      <pc:sldChg chg="add">
        <pc:chgData name="Annik Noer Nawarni" userId="1f05a52b-258c-4876-bdb6-a198a4fe0a47" providerId="ADAL" clId="{A7EF07C4-9FD6-4EEF-98F4-FFFEC309D168}" dt="2025-06-18T12:38:27.094" v="365"/>
        <pc:sldMkLst>
          <pc:docMk/>
          <pc:sldMk cId="2817453286" sldId="2147379796"/>
        </pc:sldMkLst>
      </pc:sldChg>
      <pc:sldChg chg="addSp delSp modSp add mod">
        <pc:chgData name="Annik Noer Nawarni" userId="1f05a52b-258c-4876-bdb6-a198a4fe0a47" providerId="ADAL" clId="{A7EF07C4-9FD6-4EEF-98F4-FFFEC309D168}" dt="2025-06-18T13:07:35.811" v="973" actId="20577"/>
        <pc:sldMkLst>
          <pc:docMk/>
          <pc:sldMk cId="2542220989" sldId="2147379799"/>
        </pc:sldMkLst>
        <pc:spChg chg="mod">
          <ac:chgData name="Annik Noer Nawarni" userId="1f05a52b-258c-4876-bdb6-a198a4fe0a47" providerId="ADAL" clId="{A7EF07C4-9FD6-4EEF-98F4-FFFEC309D168}" dt="2025-06-18T13:07:35.811" v="973" actId="20577"/>
          <ac:spMkLst>
            <pc:docMk/>
            <pc:sldMk cId="2542220989" sldId="2147379799"/>
            <ac:spMk id="4" creationId="{78F86046-6939-9BA0-F0F8-4C554EE51C64}"/>
          </ac:spMkLst>
        </pc:spChg>
        <pc:spChg chg="del mod">
          <ac:chgData name="Annik Noer Nawarni" userId="1f05a52b-258c-4876-bdb6-a198a4fe0a47" providerId="ADAL" clId="{A7EF07C4-9FD6-4EEF-98F4-FFFEC309D168}" dt="2025-06-18T13:05:52.207" v="940" actId="478"/>
          <ac:spMkLst>
            <pc:docMk/>
            <pc:sldMk cId="2542220989" sldId="2147379799"/>
            <ac:spMk id="30" creationId="{66CC290E-7458-9CBC-D176-D646C9E506B1}"/>
          </ac:spMkLst>
        </pc:spChg>
        <pc:picChg chg="add mod">
          <ac:chgData name="Annik Noer Nawarni" userId="1f05a52b-258c-4876-bdb6-a198a4fe0a47" providerId="ADAL" clId="{A7EF07C4-9FD6-4EEF-98F4-FFFEC309D168}" dt="2025-06-18T13:07:21.556" v="950"/>
          <ac:picMkLst>
            <pc:docMk/>
            <pc:sldMk cId="2542220989" sldId="2147379799"/>
            <ac:picMk id="6" creationId="{FA3DC90D-99C2-8322-5201-985CB5B8F03E}"/>
          </ac:picMkLst>
        </pc:picChg>
        <pc:picChg chg="del">
          <ac:chgData name="Annik Noer Nawarni" userId="1f05a52b-258c-4876-bdb6-a198a4fe0a47" providerId="ADAL" clId="{A7EF07C4-9FD6-4EEF-98F4-FFFEC309D168}" dt="2025-06-18T13:05:35.538" v="937" actId="478"/>
          <ac:picMkLst>
            <pc:docMk/>
            <pc:sldMk cId="2542220989" sldId="2147379799"/>
            <ac:picMk id="72" creationId="{A11BCC4B-590C-D6C7-4A2B-87BA116CD679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3:09:59.094" v="1016" actId="1582"/>
        <pc:sldMkLst>
          <pc:docMk/>
          <pc:sldMk cId="4053867412" sldId="2147379800"/>
        </pc:sldMkLst>
        <pc:spChg chg="del">
          <ac:chgData name="Annik Noer Nawarni" userId="1f05a52b-258c-4876-bdb6-a198a4fe0a47" providerId="ADAL" clId="{A7EF07C4-9FD6-4EEF-98F4-FFFEC309D168}" dt="2025-06-18T13:05:27.085" v="935" actId="478"/>
          <ac:spMkLst>
            <pc:docMk/>
            <pc:sldMk cId="4053867412" sldId="2147379800"/>
            <ac:spMk id="8" creationId="{B83200C2-BF4E-482F-2BE6-1CFC53D5E982}"/>
          </ac:spMkLst>
        </pc:spChg>
        <pc:spChg chg="add mod">
          <ac:chgData name="Annik Noer Nawarni" userId="1f05a52b-258c-4876-bdb6-a198a4fe0a47" providerId="ADAL" clId="{A7EF07C4-9FD6-4EEF-98F4-FFFEC309D168}" dt="2025-06-18T13:08:14.361" v="979" actId="1076"/>
          <ac:spMkLst>
            <pc:docMk/>
            <pc:sldMk cId="4053867412" sldId="2147379800"/>
            <ac:spMk id="15" creationId="{CC1DB8BD-6FD0-2057-9EBC-4CDB085DD716}"/>
          </ac:spMkLst>
        </pc:spChg>
        <pc:spChg chg="del mod">
          <ac:chgData name="Annik Noer Nawarni" userId="1f05a52b-258c-4876-bdb6-a198a4fe0a47" providerId="ADAL" clId="{A7EF07C4-9FD6-4EEF-98F4-FFFEC309D168}" dt="2025-06-18T13:05:56.547" v="941" actId="478"/>
          <ac:spMkLst>
            <pc:docMk/>
            <pc:sldMk cId="4053867412" sldId="2147379800"/>
            <ac:spMk id="30" creationId="{66CC290E-7458-9CBC-D176-D646C9E506B1}"/>
          </ac:spMkLst>
        </pc:spChg>
        <pc:grpChg chg="del">
          <ac:chgData name="Annik Noer Nawarni" userId="1f05a52b-258c-4876-bdb6-a198a4fe0a47" providerId="ADAL" clId="{A7EF07C4-9FD6-4EEF-98F4-FFFEC309D168}" dt="2025-06-18T13:05:22.621" v="934" actId="478"/>
          <ac:grpSpMkLst>
            <pc:docMk/>
            <pc:sldMk cId="4053867412" sldId="2147379800"/>
            <ac:grpSpMk id="13" creationId="{06B8E5F7-9C6B-5316-CF3F-F80BE07D214C}"/>
          </ac:grpSpMkLst>
        </pc:grpChg>
        <pc:picChg chg="add mod">
          <ac:chgData name="Annik Noer Nawarni" userId="1f05a52b-258c-4876-bdb6-a198a4fe0a47" providerId="ADAL" clId="{A7EF07C4-9FD6-4EEF-98F4-FFFEC309D168}" dt="2025-06-18T13:06:51.488" v="945" actId="1076"/>
          <ac:picMkLst>
            <pc:docMk/>
            <pc:sldMk cId="4053867412" sldId="2147379800"/>
            <ac:picMk id="10" creationId="{F184092D-0B30-99B1-9392-28F3E88C7D10}"/>
          </ac:picMkLst>
        </pc:picChg>
        <pc:picChg chg="add mod">
          <ac:chgData name="Annik Noer Nawarni" userId="1f05a52b-258c-4876-bdb6-a198a4fe0a47" providerId="ADAL" clId="{A7EF07C4-9FD6-4EEF-98F4-FFFEC309D168}" dt="2025-06-18T13:07:19.702" v="949"/>
          <ac:picMkLst>
            <pc:docMk/>
            <pc:sldMk cId="4053867412" sldId="2147379800"/>
            <ac:picMk id="16" creationId="{47334A2D-CBD1-A310-9551-250161BAE681}"/>
          </ac:picMkLst>
        </pc:picChg>
        <pc:picChg chg="del">
          <ac:chgData name="Annik Noer Nawarni" userId="1f05a52b-258c-4876-bdb6-a198a4fe0a47" providerId="ADAL" clId="{A7EF07C4-9FD6-4EEF-98F4-FFFEC309D168}" dt="2025-06-18T13:05:32.020" v="936" actId="478"/>
          <ac:picMkLst>
            <pc:docMk/>
            <pc:sldMk cId="4053867412" sldId="2147379800"/>
            <ac:picMk id="72" creationId="{A11BCC4B-590C-D6C7-4A2B-87BA116CD679}"/>
          </ac:picMkLst>
        </pc:picChg>
        <pc:cxnChg chg="add del mod">
          <ac:chgData name="Annik Noer Nawarni" userId="1f05a52b-258c-4876-bdb6-a198a4fe0a47" providerId="ADAL" clId="{A7EF07C4-9FD6-4EEF-98F4-FFFEC309D168}" dt="2025-06-18T13:07:58.770" v="975" actId="478"/>
          <ac:cxnSpMkLst>
            <pc:docMk/>
            <pc:sldMk cId="4053867412" sldId="2147379800"/>
            <ac:cxnSpMk id="18" creationId="{D875F19D-3789-D7CB-B516-32BB92F898E4}"/>
          </ac:cxnSpMkLst>
        </pc:cxnChg>
        <pc:cxnChg chg="add mod">
          <ac:chgData name="Annik Noer Nawarni" userId="1f05a52b-258c-4876-bdb6-a198a4fe0a47" providerId="ADAL" clId="{A7EF07C4-9FD6-4EEF-98F4-FFFEC309D168}" dt="2025-06-18T13:09:59.094" v="1016" actId="1582"/>
          <ac:cxnSpMkLst>
            <pc:docMk/>
            <pc:sldMk cId="4053867412" sldId="2147379800"/>
            <ac:cxnSpMk id="20" creationId="{825BA2A2-18B5-4E8E-DF70-3F01E617B31F}"/>
          </ac:cxnSpMkLst>
        </pc:cxnChg>
      </pc:sldChg>
      <pc:sldChg chg="addSp delSp modSp add mod">
        <pc:chgData name="Annik Noer Nawarni" userId="1f05a52b-258c-4876-bdb6-a198a4fe0a47" providerId="ADAL" clId="{A7EF07C4-9FD6-4EEF-98F4-FFFEC309D168}" dt="2025-06-18T13:13:08.429" v="1040" actId="20577"/>
        <pc:sldMkLst>
          <pc:docMk/>
          <pc:sldMk cId="4005158875" sldId="2147379802"/>
        </pc:sldMkLst>
        <pc:spChg chg="mod">
          <ac:chgData name="Annik Noer Nawarni" userId="1f05a52b-258c-4876-bdb6-a198a4fe0a47" providerId="ADAL" clId="{A7EF07C4-9FD6-4EEF-98F4-FFFEC309D168}" dt="2025-06-18T13:13:08.429" v="1040" actId="20577"/>
          <ac:spMkLst>
            <pc:docMk/>
            <pc:sldMk cId="4005158875" sldId="2147379802"/>
            <ac:spMk id="5" creationId="{D37032EC-787F-376A-5916-CCB51D74E62F}"/>
          </ac:spMkLst>
        </pc:spChg>
        <pc:spChg chg="del">
          <ac:chgData name="Annik Noer Nawarni" userId="1f05a52b-258c-4876-bdb6-a198a4fe0a47" providerId="ADAL" clId="{A7EF07C4-9FD6-4EEF-98F4-FFFEC309D168}" dt="2025-06-18T12:29:52.583" v="265" actId="478"/>
          <ac:spMkLst>
            <pc:docMk/>
            <pc:sldMk cId="4005158875" sldId="2147379802"/>
            <ac:spMk id="16" creationId="{EAC3502D-D491-4E43-7C6A-6634335F87A9}"/>
          </ac:spMkLst>
        </pc:spChg>
        <pc:spChg chg="del">
          <ac:chgData name="Annik Noer Nawarni" userId="1f05a52b-258c-4876-bdb6-a198a4fe0a47" providerId="ADAL" clId="{A7EF07C4-9FD6-4EEF-98F4-FFFEC309D168}" dt="2025-06-18T12:29:52.583" v="265" actId="478"/>
          <ac:spMkLst>
            <pc:docMk/>
            <pc:sldMk cId="4005158875" sldId="2147379802"/>
            <ac:spMk id="19" creationId="{5FF4E7FA-DEA5-A822-74CC-4A85B56CF1F5}"/>
          </ac:spMkLst>
        </pc:spChg>
        <pc:picChg chg="add mod">
          <ac:chgData name="Annik Noer Nawarni" userId="1f05a52b-258c-4876-bdb6-a198a4fe0a47" providerId="ADAL" clId="{A7EF07C4-9FD6-4EEF-98F4-FFFEC309D168}" dt="2025-06-18T12:29:41.880" v="263"/>
          <ac:picMkLst>
            <pc:docMk/>
            <pc:sldMk cId="4005158875" sldId="2147379802"/>
            <ac:picMk id="7" creationId="{1253B9BC-5B76-A02A-F158-D4C8F3FA1F95}"/>
          </ac:picMkLst>
        </pc:picChg>
        <pc:picChg chg="del">
          <ac:chgData name="Annik Noer Nawarni" userId="1f05a52b-258c-4876-bdb6-a198a4fe0a47" providerId="ADAL" clId="{A7EF07C4-9FD6-4EEF-98F4-FFFEC309D168}" dt="2025-06-18T12:29:52.583" v="265" actId="478"/>
          <ac:picMkLst>
            <pc:docMk/>
            <pc:sldMk cId="4005158875" sldId="2147379802"/>
            <ac:picMk id="23" creationId="{7C250FA6-32EC-B32D-64C5-57DC0B4BD22F}"/>
          </ac:picMkLst>
        </pc:picChg>
        <pc:picChg chg="del">
          <ac:chgData name="Annik Noer Nawarni" userId="1f05a52b-258c-4876-bdb6-a198a4fe0a47" providerId="ADAL" clId="{A7EF07C4-9FD6-4EEF-98F4-FFFEC309D168}" dt="2025-06-18T12:29:41.158" v="262" actId="478"/>
          <ac:picMkLst>
            <pc:docMk/>
            <pc:sldMk cId="4005158875" sldId="2147379802"/>
            <ac:picMk id="192" creationId="{0AB4FB6F-F138-CBD7-37C8-080E29E58E98}"/>
          </ac:picMkLst>
        </pc:picChg>
      </pc:sldChg>
      <pc:sldChg chg="addSp delSp modSp add mod ord">
        <pc:chgData name="Annik Noer Nawarni" userId="1f05a52b-258c-4876-bdb6-a198a4fe0a47" providerId="ADAL" clId="{A7EF07C4-9FD6-4EEF-98F4-FFFEC309D168}" dt="2025-06-18T12:29:44.366" v="264"/>
        <pc:sldMkLst>
          <pc:docMk/>
          <pc:sldMk cId="14047765" sldId="2147379803"/>
        </pc:sldMkLst>
        <pc:spChg chg="del">
          <ac:chgData name="Annik Noer Nawarni" userId="1f05a52b-258c-4876-bdb6-a198a4fe0a47" providerId="ADAL" clId="{A7EF07C4-9FD6-4EEF-98F4-FFFEC309D168}" dt="2025-06-18T12:27:50.648" v="248" actId="478"/>
          <ac:spMkLst>
            <pc:docMk/>
            <pc:sldMk cId="14047765" sldId="2147379803"/>
            <ac:spMk id="16" creationId="{EAC3502D-D491-4E43-7C6A-6634335F87A9}"/>
          </ac:spMkLst>
        </pc:spChg>
        <pc:spChg chg="del">
          <ac:chgData name="Annik Noer Nawarni" userId="1f05a52b-258c-4876-bdb6-a198a4fe0a47" providerId="ADAL" clId="{A7EF07C4-9FD6-4EEF-98F4-FFFEC309D168}" dt="2025-06-18T12:27:50.648" v="248" actId="478"/>
          <ac:spMkLst>
            <pc:docMk/>
            <pc:sldMk cId="14047765" sldId="2147379803"/>
            <ac:spMk id="19" creationId="{5FF4E7FA-DEA5-A822-74CC-4A85B56CF1F5}"/>
          </ac:spMkLst>
        </pc:spChg>
        <pc:picChg chg="add mod">
          <ac:chgData name="Annik Noer Nawarni" userId="1f05a52b-258c-4876-bdb6-a198a4fe0a47" providerId="ADAL" clId="{A7EF07C4-9FD6-4EEF-98F4-FFFEC309D168}" dt="2025-06-18T12:29:44.366" v="264"/>
          <ac:picMkLst>
            <pc:docMk/>
            <pc:sldMk cId="14047765" sldId="2147379803"/>
            <ac:picMk id="3" creationId="{0DFD57AA-0C5D-BD7B-CA34-D35E7F4F0CA8}"/>
          </ac:picMkLst>
        </pc:picChg>
        <pc:picChg chg="del">
          <ac:chgData name="Annik Noer Nawarni" userId="1f05a52b-258c-4876-bdb6-a198a4fe0a47" providerId="ADAL" clId="{A7EF07C4-9FD6-4EEF-98F4-FFFEC309D168}" dt="2025-06-18T12:27:50.648" v="248" actId="478"/>
          <ac:picMkLst>
            <pc:docMk/>
            <pc:sldMk cId="14047765" sldId="2147379803"/>
            <ac:picMk id="23" creationId="{7C250FA6-32EC-B32D-64C5-57DC0B4BD22F}"/>
          </ac:picMkLst>
        </pc:picChg>
        <pc:picChg chg="del">
          <ac:chgData name="Annik Noer Nawarni" userId="1f05a52b-258c-4876-bdb6-a198a4fe0a47" providerId="ADAL" clId="{A7EF07C4-9FD6-4EEF-98F4-FFFEC309D168}" dt="2025-06-18T12:27:45.454" v="247" actId="478"/>
          <ac:picMkLst>
            <pc:docMk/>
            <pc:sldMk cId="14047765" sldId="2147379803"/>
            <ac:picMk id="192" creationId="{0AB4FB6F-F138-CBD7-37C8-080E29E58E98}"/>
          </ac:picMkLst>
        </pc:picChg>
      </pc:sldChg>
      <pc:sldChg chg="add">
        <pc:chgData name="Annik Noer Nawarni" userId="1f05a52b-258c-4876-bdb6-a198a4fe0a47" providerId="ADAL" clId="{A7EF07C4-9FD6-4EEF-98F4-FFFEC309D168}" dt="2025-06-18T12:40:08.317" v="373"/>
        <pc:sldMkLst>
          <pc:docMk/>
          <pc:sldMk cId="1001333025" sldId="2147379858"/>
        </pc:sldMkLst>
      </pc:sldChg>
      <pc:sldChg chg="add">
        <pc:chgData name="Annik Noer Nawarni" userId="1f05a52b-258c-4876-bdb6-a198a4fe0a47" providerId="ADAL" clId="{A7EF07C4-9FD6-4EEF-98F4-FFFEC309D168}" dt="2025-06-18T12:39:22.083" v="370"/>
        <pc:sldMkLst>
          <pc:docMk/>
          <pc:sldMk cId="2264966889" sldId="2147379861"/>
        </pc:sldMkLst>
      </pc:sldChg>
      <pc:sldChg chg="add">
        <pc:chgData name="Annik Noer Nawarni" userId="1f05a52b-258c-4876-bdb6-a198a4fe0a47" providerId="ADAL" clId="{A7EF07C4-9FD6-4EEF-98F4-FFFEC309D168}" dt="2025-06-18T12:39:40.819" v="372"/>
        <pc:sldMkLst>
          <pc:docMk/>
          <pc:sldMk cId="1535219858" sldId="2147379862"/>
        </pc:sldMkLst>
      </pc:sldChg>
      <pc:sldChg chg="add">
        <pc:chgData name="Annik Noer Nawarni" userId="1f05a52b-258c-4876-bdb6-a198a4fe0a47" providerId="ADAL" clId="{A7EF07C4-9FD6-4EEF-98F4-FFFEC309D168}" dt="2025-06-18T12:46:17.978" v="414"/>
        <pc:sldMkLst>
          <pc:docMk/>
          <pc:sldMk cId="2857804961" sldId="2147379863"/>
        </pc:sldMkLst>
      </pc:sldChg>
      <pc:sldChg chg="addSp delSp modSp add del mod">
        <pc:chgData name="Annik Noer Nawarni" userId="1f05a52b-258c-4876-bdb6-a198a4fe0a47" providerId="ADAL" clId="{A7EF07C4-9FD6-4EEF-98F4-FFFEC309D168}" dt="2025-06-18T12:46:09.578" v="413" actId="2696"/>
        <pc:sldMkLst>
          <pc:docMk/>
          <pc:sldMk cId="3376716494" sldId="2147379863"/>
        </pc:sldMkLst>
        <pc:spChg chg="add mod">
          <ac:chgData name="Annik Noer Nawarni" userId="1f05a52b-258c-4876-bdb6-a198a4fe0a47" providerId="ADAL" clId="{A7EF07C4-9FD6-4EEF-98F4-FFFEC309D168}" dt="2025-06-18T12:44:31.728" v="400" actId="1076"/>
          <ac:spMkLst>
            <pc:docMk/>
            <pc:sldMk cId="3376716494" sldId="2147379863"/>
            <ac:spMk id="2" creationId="{A58A8698-9E5A-3C97-6B45-D997751409FF}"/>
          </ac:spMkLst>
        </pc:spChg>
        <pc:spChg chg="add mod">
          <ac:chgData name="Annik Noer Nawarni" userId="1f05a52b-258c-4876-bdb6-a198a4fe0a47" providerId="ADAL" clId="{A7EF07C4-9FD6-4EEF-98F4-FFFEC309D168}" dt="2025-06-18T12:43:49.884" v="397"/>
          <ac:spMkLst>
            <pc:docMk/>
            <pc:sldMk cId="3376716494" sldId="2147379863"/>
            <ac:spMk id="7" creationId="{6097F0BD-A0FA-79AD-9690-44DF183D29A6}"/>
          </ac:spMkLst>
        </pc:spChg>
        <pc:spChg chg="add mod">
          <ac:chgData name="Annik Noer Nawarni" userId="1f05a52b-258c-4876-bdb6-a198a4fe0a47" providerId="ADAL" clId="{A7EF07C4-9FD6-4EEF-98F4-FFFEC309D168}" dt="2025-06-18T12:43:49.884" v="397"/>
          <ac:spMkLst>
            <pc:docMk/>
            <pc:sldMk cId="3376716494" sldId="2147379863"/>
            <ac:spMk id="9" creationId="{5D2A4124-CE3F-93F7-FF87-E66C90515A3E}"/>
          </ac:spMkLst>
        </pc:spChg>
        <pc:spChg chg="del">
          <ac:chgData name="Annik Noer Nawarni" userId="1f05a52b-258c-4876-bdb6-a198a4fe0a47" providerId="ADAL" clId="{A7EF07C4-9FD6-4EEF-98F4-FFFEC309D168}" dt="2025-06-18T12:43:04.055" v="395" actId="478"/>
          <ac:spMkLst>
            <pc:docMk/>
            <pc:sldMk cId="3376716494" sldId="2147379863"/>
            <ac:spMk id="10" creationId="{6E62F443-A892-E280-1B0A-B78F2566C706}"/>
          </ac:spMkLst>
        </pc:spChg>
        <pc:spChg chg="add mod">
          <ac:chgData name="Annik Noer Nawarni" userId="1f05a52b-258c-4876-bdb6-a198a4fe0a47" providerId="ADAL" clId="{A7EF07C4-9FD6-4EEF-98F4-FFFEC309D168}" dt="2025-06-18T12:44:31.728" v="400" actId="1076"/>
          <ac:spMkLst>
            <pc:docMk/>
            <pc:sldMk cId="3376716494" sldId="2147379863"/>
            <ac:spMk id="11" creationId="{39055743-F949-4B1F-D313-750ABCD1C268}"/>
          </ac:spMkLst>
        </pc:spChg>
        <pc:spChg chg="add mod">
          <ac:chgData name="Annik Noer Nawarni" userId="1f05a52b-258c-4876-bdb6-a198a4fe0a47" providerId="ADAL" clId="{A7EF07C4-9FD6-4EEF-98F4-FFFEC309D168}" dt="2025-06-18T12:44:31.728" v="400" actId="1076"/>
          <ac:spMkLst>
            <pc:docMk/>
            <pc:sldMk cId="3376716494" sldId="2147379863"/>
            <ac:spMk id="12" creationId="{10CB245E-C9B6-2D24-5236-3F1E4D0B2BC2}"/>
          </ac:spMkLst>
        </pc:spChg>
        <pc:spChg chg="add mod">
          <ac:chgData name="Annik Noer Nawarni" userId="1f05a52b-258c-4876-bdb6-a198a4fe0a47" providerId="ADAL" clId="{A7EF07C4-9FD6-4EEF-98F4-FFFEC309D168}" dt="2025-06-18T12:44:31.728" v="400" actId="1076"/>
          <ac:spMkLst>
            <pc:docMk/>
            <pc:sldMk cId="3376716494" sldId="2147379863"/>
            <ac:spMk id="13" creationId="{C01D4EBD-E1C6-34E8-025E-CECF37293559}"/>
          </ac:spMkLst>
        </pc:spChg>
        <pc:spChg chg="add mod">
          <ac:chgData name="Annik Noer Nawarni" userId="1f05a52b-258c-4876-bdb6-a198a4fe0a47" providerId="ADAL" clId="{A7EF07C4-9FD6-4EEF-98F4-FFFEC309D168}" dt="2025-06-18T12:44:31.728" v="400" actId="1076"/>
          <ac:spMkLst>
            <pc:docMk/>
            <pc:sldMk cId="3376716494" sldId="2147379863"/>
            <ac:spMk id="14" creationId="{51327509-030B-3A66-E791-0ACEB63D9C14}"/>
          </ac:spMkLst>
        </pc:spChg>
        <pc:spChg chg="add mod">
          <ac:chgData name="Annik Noer Nawarni" userId="1f05a52b-258c-4876-bdb6-a198a4fe0a47" providerId="ADAL" clId="{A7EF07C4-9FD6-4EEF-98F4-FFFEC309D168}" dt="2025-06-18T12:45:58.285" v="412" actId="1076"/>
          <ac:spMkLst>
            <pc:docMk/>
            <pc:sldMk cId="3376716494" sldId="2147379863"/>
            <ac:spMk id="15" creationId="{8C7D2F75-42B4-98BD-7C73-55D116703D49}"/>
          </ac:spMkLst>
        </pc:spChg>
        <pc:spChg chg="add mod">
          <ac:chgData name="Annik Noer Nawarni" userId="1f05a52b-258c-4876-bdb6-a198a4fe0a47" providerId="ADAL" clId="{A7EF07C4-9FD6-4EEF-98F4-FFFEC309D168}" dt="2025-06-18T12:44:31.728" v="400" actId="1076"/>
          <ac:spMkLst>
            <pc:docMk/>
            <pc:sldMk cId="3376716494" sldId="2147379863"/>
            <ac:spMk id="16" creationId="{D5CF7CC2-6BB6-CFFB-4195-43EF5F9AD727}"/>
          </ac:spMkLst>
        </pc:spChg>
        <pc:spChg chg="add mod">
          <ac:chgData name="Annik Noer Nawarni" userId="1f05a52b-258c-4876-bdb6-a198a4fe0a47" providerId="ADAL" clId="{A7EF07C4-9FD6-4EEF-98F4-FFFEC309D168}" dt="2025-06-18T12:44:31.728" v="400" actId="1076"/>
          <ac:spMkLst>
            <pc:docMk/>
            <pc:sldMk cId="3376716494" sldId="2147379863"/>
            <ac:spMk id="17" creationId="{1CF2697B-BA54-D2F8-9E77-E7EC39EBF95E}"/>
          </ac:spMkLst>
        </pc:spChg>
        <pc:spChg chg="add mod">
          <ac:chgData name="Annik Noer Nawarni" userId="1f05a52b-258c-4876-bdb6-a198a4fe0a47" providerId="ADAL" clId="{A7EF07C4-9FD6-4EEF-98F4-FFFEC309D168}" dt="2025-06-18T12:44:23.638" v="399" actId="1076"/>
          <ac:spMkLst>
            <pc:docMk/>
            <pc:sldMk cId="3376716494" sldId="2147379863"/>
            <ac:spMk id="18" creationId="{0275A9EB-3202-CBEC-3D84-D0B3E0D35838}"/>
          </ac:spMkLst>
        </pc:spChg>
        <pc:spChg chg="add mod">
          <ac:chgData name="Annik Noer Nawarni" userId="1f05a52b-258c-4876-bdb6-a198a4fe0a47" providerId="ADAL" clId="{A7EF07C4-9FD6-4EEF-98F4-FFFEC309D168}" dt="2025-06-18T12:44:31.728" v="400" actId="1076"/>
          <ac:spMkLst>
            <pc:docMk/>
            <pc:sldMk cId="3376716494" sldId="2147379863"/>
            <ac:spMk id="19" creationId="{AF5EBA8C-612F-CA05-0A68-830F732BAADA}"/>
          </ac:spMkLst>
        </pc:spChg>
        <pc:spChg chg="add mod">
          <ac:chgData name="Annik Noer Nawarni" userId="1f05a52b-258c-4876-bdb6-a198a4fe0a47" providerId="ADAL" clId="{A7EF07C4-9FD6-4EEF-98F4-FFFEC309D168}" dt="2025-06-18T12:44:23.638" v="399" actId="1076"/>
          <ac:spMkLst>
            <pc:docMk/>
            <pc:sldMk cId="3376716494" sldId="2147379863"/>
            <ac:spMk id="20" creationId="{84A0E1A8-E5DA-F6B6-F223-1E1731ABA55A}"/>
          </ac:spMkLst>
        </pc:spChg>
        <pc:spChg chg="add mod">
          <ac:chgData name="Annik Noer Nawarni" userId="1f05a52b-258c-4876-bdb6-a198a4fe0a47" providerId="ADAL" clId="{A7EF07C4-9FD6-4EEF-98F4-FFFEC309D168}" dt="2025-06-18T12:44:31.728" v="400" actId="1076"/>
          <ac:spMkLst>
            <pc:docMk/>
            <pc:sldMk cId="3376716494" sldId="2147379863"/>
            <ac:spMk id="21" creationId="{77334255-E719-CF7B-EFB4-CEF1C9CB5E5A}"/>
          </ac:spMkLst>
        </pc:spChg>
        <pc:spChg chg="add mod">
          <ac:chgData name="Annik Noer Nawarni" userId="1f05a52b-258c-4876-bdb6-a198a4fe0a47" providerId="ADAL" clId="{A7EF07C4-9FD6-4EEF-98F4-FFFEC309D168}" dt="2025-06-18T12:45:10.208" v="405" actId="1076"/>
          <ac:spMkLst>
            <pc:docMk/>
            <pc:sldMk cId="3376716494" sldId="2147379863"/>
            <ac:spMk id="22" creationId="{C30E5B52-F0C3-E9ED-1545-9CA610788190}"/>
          </ac:spMkLst>
        </pc:spChg>
        <pc:spChg chg="add mod">
          <ac:chgData name="Annik Noer Nawarni" userId="1f05a52b-258c-4876-bdb6-a198a4fe0a47" providerId="ADAL" clId="{A7EF07C4-9FD6-4EEF-98F4-FFFEC309D168}" dt="2025-06-18T12:45:49.804" v="411" actId="1076"/>
          <ac:spMkLst>
            <pc:docMk/>
            <pc:sldMk cId="3376716494" sldId="2147379863"/>
            <ac:spMk id="23" creationId="{4D004ED3-511D-F9AF-D753-CF6A3DB15E42}"/>
          </ac:spMkLst>
        </pc:spChg>
        <pc:spChg chg="del">
          <ac:chgData name="Annik Noer Nawarni" userId="1f05a52b-258c-4876-bdb6-a198a4fe0a47" providerId="ADAL" clId="{A7EF07C4-9FD6-4EEF-98F4-FFFEC309D168}" dt="2025-06-18T12:43:04.055" v="395" actId="478"/>
          <ac:spMkLst>
            <pc:docMk/>
            <pc:sldMk cId="3376716494" sldId="2147379863"/>
            <ac:spMk id="28" creationId="{2ACCCA56-09FA-E0C7-E925-15F2AF1DFAA3}"/>
          </ac:spMkLst>
        </pc:spChg>
        <pc:spChg chg="del">
          <ac:chgData name="Annik Noer Nawarni" userId="1f05a52b-258c-4876-bdb6-a198a4fe0a47" providerId="ADAL" clId="{A7EF07C4-9FD6-4EEF-98F4-FFFEC309D168}" dt="2025-06-18T12:43:04.055" v="395" actId="478"/>
          <ac:spMkLst>
            <pc:docMk/>
            <pc:sldMk cId="3376716494" sldId="2147379863"/>
            <ac:spMk id="29" creationId="{F7983C5F-1265-14AF-D811-A697779D64B2}"/>
          </ac:spMkLst>
        </pc:spChg>
        <pc:spChg chg="del">
          <ac:chgData name="Annik Noer Nawarni" userId="1f05a52b-258c-4876-bdb6-a198a4fe0a47" providerId="ADAL" clId="{A7EF07C4-9FD6-4EEF-98F4-FFFEC309D168}" dt="2025-06-18T12:43:07.226" v="396" actId="478"/>
          <ac:spMkLst>
            <pc:docMk/>
            <pc:sldMk cId="3376716494" sldId="2147379863"/>
            <ac:spMk id="30" creationId="{64AF883D-5381-129F-8AEF-AE15581E732A}"/>
          </ac:spMkLst>
        </pc:spChg>
        <pc:spChg chg="del">
          <ac:chgData name="Annik Noer Nawarni" userId="1f05a52b-258c-4876-bdb6-a198a4fe0a47" providerId="ADAL" clId="{A7EF07C4-9FD6-4EEF-98F4-FFFEC309D168}" dt="2025-06-18T12:43:04.055" v="395" actId="478"/>
          <ac:spMkLst>
            <pc:docMk/>
            <pc:sldMk cId="3376716494" sldId="2147379863"/>
            <ac:spMk id="31" creationId="{7652F944-6C32-02E9-0452-FEE5420F344F}"/>
          </ac:spMkLst>
        </pc:spChg>
        <pc:spChg chg="del">
          <ac:chgData name="Annik Noer Nawarni" userId="1f05a52b-258c-4876-bdb6-a198a4fe0a47" providerId="ADAL" clId="{A7EF07C4-9FD6-4EEF-98F4-FFFEC309D168}" dt="2025-06-18T12:43:04.055" v="395" actId="478"/>
          <ac:spMkLst>
            <pc:docMk/>
            <pc:sldMk cId="3376716494" sldId="2147379863"/>
            <ac:spMk id="32" creationId="{F582F782-C993-068A-EC80-640D0C362DE8}"/>
          </ac:spMkLst>
        </pc:spChg>
        <pc:spChg chg="del">
          <ac:chgData name="Annik Noer Nawarni" userId="1f05a52b-258c-4876-bdb6-a198a4fe0a47" providerId="ADAL" clId="{A7EF07C4-9FD6-4EEF-98F4-FFFEC309D168}" dt="2025-06-18T12:43:04.055" v="395" actId="478"/>
          <ac:spMkLst>
            <pc:docMk/>
            <pc:sldMk cId="3376716494" sldId="2147379863"/>
            <ac:spMk id="33" creationId="{CC1B23A2-CB10-50FB-3F44-13D000BE506B}"/>
          </ac:spMkLst>
        </pc:spChg>
        <pc:spChg chg="del">
          <ac:chgData name="Annik Noer Nawarni" userId="1f05a52b-258c-4876-bdb6-a198a4fe0a47" providerId="ADAL" clId="{A7EF07C4-9FD6-4EEF-98F4-FFFEC309D168}" dt="2025-06-18T12:43:04.055" v="395" actId="478"/>
          <ac:spMkLst>
            <pc:docMk/>
            <pc:sldMk cId="3376716494" sldId="2147379863"/>
            <ac:spMk id="34" creationId="{9EF65398-7C5A-45FF-492F-2F6C1CFB953B}"/>
          </ac:spMkLst>
        </pc:spChg>
        <pc:picChg chg="del">
          <ac:chgData name="Annik Noer Nawarni" userId="1f05a52b-258c-4876-bdb6-a198a4fe0a47" providerId="ADAL" clId="{A7EF07C4-9FD6-4EEF-98F4-FFFEC309D168}" dt="2025-06-18T12:43:04.055" v="395" actId="478"/>
          <ac:picMkLst>
            <pc:docMk/>
            <pc:sldMk cId="3376716494" sldId="2147379863"/>
            <ac:picMk id="4" creationId="{FC2E0058-C959-FDC4-170B-450262E40A9B}"/>
          </ac:picMkLst>
        </pc:picChg>
        <pc:picChg chg="del">
          <ac:chgData name="Annik Noer Nawarni" userId="1f05a52b-258c-4876-bdb6-a198a4fe0a47" providerId="ADAL" clId="{A7EF07C4-9FD6-4EEF-98F4-FFFEC309D168}" dt="2025-06-18T12:43:04.055" v="395" actId="478"/>
          <ac:picMkLst>
            <pc:docMk/>
            <pc:sldMk cId="3376716494" sldId="2147379863"/>
            <ac:picMk id="8" creationId="{F775FC58-53F7-5B7C-BE35-50223F4D6211}"/>
          </ac:picMkLst>
        </pc:picChg>
        <pc:picChg chg="del">
          <ac:chgData name="Annik Noer Nawarni" userId="1f05a52b-258c-4876-bdb6-a198a4fe0a47" providerId="ADAL" clId="{A7EF07C4-9FD6-4EEF-98F4-FFFEC309D168}" dt="2025-06-18T12:43:04.055" v="395" actId="478"/>
          <ac:picMkLst>
            <pc:docMk/>
            <pc:sldMk cId="3376716494" sldId="2147379863"/>
            <ac:picMk id="27" creationId="{642533E8-F6ED-B879-BAC1-EE1AE0B7FA9E}"/>
          </ac:picMkLst>
        </pc:picChg>
      </pc:sldChg>
      <pc:sldChg chg="addSp delSp modSp add mod">
        <pc:chgData name="Annik Noer Nawarni" userId="1f05a52b-258c-4876-bdb6-a198a4fe0a47" providerId="ADAL" clId="{A7EF07C4-9FD6-4EEF-98F4-FFFEC309D168}" dt="2025-06-18T13:12:27.497" v="1038" actId="1076"/>
        <pc:sldMkLst>
          <pc:docMk/>
          <pc:sldMk cId="354066127" sldId="2147379864"/>
        </pc:sldMkLst>
        <pc:spChg chg="del">
          <ac:chgData name="Annik Noer Nawarni" userId="1f05a52b-258c-4876-bdb6-a198a4fe0a47" providerId="ADAL" clId="{A7EF07C4-9FD6-4EEF-98F4-FFFEC309D168}" dt="2025-06-18T12:51:51.594" v="446" actId="478"/>
          <ac:spMkLst>
            <pc:docMk/>
            <pc:sldMk cId="354066127" sldId="2147379864"/>
            <ac:spMk id="3" creationId="{49E9C3DE-A928-5498-270F-B21716A2ED90}"/>
          </ac:spMkLst>
        </pc:spChg>
        <pc:spChg chg="mod">
          <ac:chgData name="Annik Noer Nawarni" userId="1f05a52b-258c-4876-bdb6-a198a4fe0a47" providerId="ADAL" clId="{A7EF07C4-9FD6-4EEF-98F4-FFFEC309D168}" dt="2025-06-18T13:00:30.287" v="771" actId="20577"/>
          <ac:spMkLst>
            <pc:docMk/>
            <pc:sldMk cId="354066127" sldId="2147379864"/>
            <ac:spMk id="7" creationId="{F697B79D-CC0C-9A3E-4CD5-3232AFDBF255}"/>
          </ac:spMkLst>
        </pc:spChg>
        <pc:spChg chg="del mod">
          <ac:chgData name="Annik Noer Nawarni" userId="1f05a52b-258c-4876-bdb6-a198a4fe0a47" providerId="ADAL" clId="{A7EF07C4-9FD6-4EEF-98F4-FFFEC309D168}" dt="2025-06-18T13:11:22.619" v="1019" actId="478"/>
          <ac:spMkLst>
            <pc:docMk/>
            <pc:sldMk cId="354066127" sldId="2147379864"/>
            <ac:spMk id="8" creationId="{EDDB5E26-F728-7ACC-7702-B99E0CAE83C4}"/>
          </ac:spMkLst>
        </pc:spChg>
        <pc:spChg chg="add mod">
          <ac:chgData name="Annik Noer Nawarni" userId="1f05a52b-258c-4876-bdb6-a198a4fe0a47" providerId="ADAL" clId="{A7EF07C4-9FD6-4EEF-98F4-FFFEC309D168}" dt="2025-06-18T12:57:55" v="634" actId="1076"/>
          <ac:spMkLst>
            <pc:docMk/>
            <pc:sldMk cId="354066127" sldId="2147379864"/>
            <ac:spMk id="11" creationId="{7C5AE396-FE69-B203-A626-428960DDB268}"/>
          </ac:spMkLst>
        </pc:spChg>
        <pc:spChg chg="add del mod">
          <ac:chgData name="Annik Noer Nawarni" userId="1f05a52b-258c-4876-bdb6-a198a4fe0a47" providerId="ADAL" clId="{A7EF07C4-9FD6-4EEF-98F4-FFFEC309D168}" dt="2025-06-18T12:57:07.167" v="633" actId="478"/>
          <ac:spMkLst>
            <pc:docMk/>
            <pc:sldMk cId="354066127" sldId="2147379864"/>
            <ac:spMk id="12" creationId="{9166D307-167C-BFAF-1775-B027E901FB95}"/>
          </ac:spMkLst>
        </pc:spChg>
        <pc:spChg chg="add mod">
          <ac:chgData name="Annik Noer Nawarni" userId="1f05a52b-258c-4876-bdb6-a198a4fe0a47" providerId="ADAL" clId="{A7EF07C4-9FD6-4EEF-98F4-FFFEC309D168}" dt="2025-06-18T12:57:55" v="634" actId="1076"/>
          <ac:spMkLst>
            <pc:docMk/>
            <pc:sldMk cId="354066127" sldId="2147379864"/>
            <ac:spMk id="14" creationId="{A4F29203-9A08-E311-8897-FE67077D0D78}"/>
          </ac:spMkLst>
        </pc:spChg>
        <pc:spChg chg="add del mod">
          <ac:chgData name="Annik Noer Nawarni" userId="1f05a52b-258c-4876-bdb6-a198a4fe0a47" providerId="ADAL" clId="{A7EF07C4-9FD6-4EEF-98F4-FFFEC309D168}" dt="2025-06-18T12:57:05.278" v="632" actId="478"/>
          <ac:spMkLst>
            <pc:docMk/>
            <pc:sldMk cId="354066127" sldId="2147379864"/>
            <ac:spMk id="15" creationId="{64793ACA-2BEA-6177-7F9B-EFA0ED6D5B01}"/>
          </ac:spMkLst>
        </pc:spChg>
        <pc:spChg chg="add mod">
          <ac:chgData name="Annik Noer Nawarni" userId="1f05a52b-258c-4876-bdb6-a198a4fe0a47" providerId="ADAL" clId="{A7EF07C4-9FD6-4EEF-98F4-FFFEC309D168}" dt="2025-06-18T13:01:04.168" v="796" actId="14100"/>
          <ac:spMkLst>
            <pc:docMk/>
            <pc:sldMk cId="354066127" sldId="2147379864"/>
            <ac:spMk id="17" creationId="{BA173B9C-8003-226B-E59E-E6A5997ECE5B}"/>
          </ac:spMkLst>
        </pc:spChg>
        <pc:spChg chg="add mod">
          <ac:chgData name="Annik Noer Nawarni" userId="1f05a52b-258c-4876-bdb6-a198a4fe0a47" providerId="ADAL" clId="{A7EF07C4-9FD6-4EEF-98F4-FFFEC309D168}" dt="2025-06-18T13:01:08.924" v="797" actId="1076"/>
          <ac:spMkLst>
            <pc:docMk/>
            <pc:sldMk cId="354066127" sldId="2147379864"/>
            <ac:spMk id="27" creationId="{582B3556-D6BC-B623-7222-CB9F9FC81CEE}"/>
          </ac:spMkLst>
        </pc:spChg>
        <pc:spChg chg="add mod">
          <ac:chgData name="Annik Noer Nawarni" userId="1f05a52b-258c-4876-bdb6-a198a4fe0a47" providerId="ADAL" clId="{A7EF07C4-9FD6-4EEF-98F4-FFFEC309D168}" dt="2025-06-18T13:11:23.703" v="1020"/>
          <ac:spMkLst>
            <pc:docMk/>
            <pc:sldMk cId="354066127" sldId="2147379864"/>
            <ac:spMk id="28" creationId="{CF20E91E-54EA-B867-0B30-DD3784A581ED}"/>
          </ac:spMkLst>
        </pc:spChg>
        <pc:spChg chg="add mod">
          <ac:chgData name="Annik Noer Nawarni" userId="1f05a52b-258c-4876-bdb6-a198a4fe0a47" providerId="ADAL" clId="{A7EF07C4-9FD6-4EEF-98F4-FFFEC309D168}" dt="2025-06-18T13:12:27.497" v="1038" actId="1076"/>
          <ac:spMkLst>
            <pc:docMk/>
            <pc:sldMk cId="354066127" sldId="2147379864"/>
            <ac:spMk id="30" creationId="{5161E93A-088A-B12A-4140-B0813D0103B5}"/>
          </ac:spMkLst>
        </pc:spChg>
        <pc:grpChg chg="del">
          <ac:chgData name="Annik Noer Nawarni" userId="1f05a52b-258c-4876-bdb6-a198a4fe0a47" providerId="ADAL" clId="{A7EF07C4-9FD6-4EEF-98F4-FFFEC309D168}" dt="2025-06-18T12:51:53.610" v="447" actId="478"/>
          <ac:grpSpMkLst>
            <pc:docMk/>
            <pc:sldMk cId="354066127" sldId="2147379864"/>
            <ac:grpSpMk id="4" creationId="{DAE527E5-4DD9-B16F-40BA-19627E41777D}"/>
          </ac:grpSpMkLst>
        </pc:grpChg>
        <pc:grpChg chg="del">
          <ac:chgData name="Annik Noer Nawarni" userId="1f05a52b-258c-4876-bdb6-a198a4fe0a47" providerId="ADAL" clId="{A7EF07C4-9FD6-4EEF-98F4-FFFEC309D168}" dt="2025-06-18T12:51:59.844" v="449" actId="478"/>
          <ac:grpSpMkLst>
            <pc:docMk/>
            <pc:sldMk cId="354066127" sldId="2147379864"/>
            <ac:grpSpMk id="18" creationId="{0E8DE60D-BDC9-30F3-DC27-1D78A476F6E1}"/>
          </ac:grpSpMkLst>
        </pc:grpChg>
        <pc:picChg chg="add mod">
          <ac:chgData name="Annik Noer Nawarni" userId="1f05a52b-258c-4876-bdb6-a198a4fe0a47" providerId="ADAL" clId="{A7EF07C4-9FD6-4EEF-98F4-FFFEC309D168}" dt="2025-06-18T12:57:55" v="634" actId="1076"/>
          <ac:picMkLst>
            <pc:docMk/>
            <pc:sldMk cId="354066127" sldId="2147379864"/>
            <ac:picMk id="10" creationId="{307072C3-A40D-FF5E-A9BC-B17997363EE6}"/>
          </ac:picMkLst>
        </pc:picChg>
        <pc:picChg chg="add del mod">
          <ac:chgData name="Annik Noer Nawarni" userId="1f05a52b-258c-4876-bdb6-a198a4fe0a47" providerId="ADAL" clId="{A7EF07C4-9FD6-4EEF-98F4-FFFEC309D168}" dt="2025-06-18T12:54:49.470" v="526" actId="478"/>
          <ac:picMkLst>
            <pc:docMk/>
            <pc:sldMk cId="354066127" sldId="2147379864"/>
            <ac:picMk id="13" creationId="{545C26B3-24F2-6F49-DA7A-BFC43D845123}"/>
          </ac:picMkLst>
        </pc:picChg>
        <pc:picChg chg="add mod">
          <ac:chgData name="Annik Noer Nawarni" userId="1f05a52b-258c-4876-bdb6-a198a4fe0a47" providerId="ADAL" clId="{A7EF07C4-9FD6-4EEF-98F4-FFFEC309D168}" dt="2025-06-18T12:57:55" v="634" actId="1076"/>
          <ac:picMkLst>
            <pc:docMk/>
            <pc:sldMk cId="354066127" sldId="2147379864"/>
            <ac:picMk id="16" creationId="{8D224C81-8543-B245-6924-DBAB0CB7B4DE}"/>
          </ac:picMkLst>
        </pc:picChg>
      </pc:sldChg>
      <pc:sldChg chg="add del">
        <pc:chgData name="Annik Noer Nawarni" userId="1f05a52b-258c-4876-bdb6-a198a4fe0a47" providerId="ADAL" clId="{A7EF07C4-9FD6-4EEF-98F4-FFFEC309D168}" dt="2025-06-18T12:47:05.494" v="419"/>
        <pc:sldMkLst>
          <pc:docMk/>
          <pc:sldMk cId="3167642406" sldId="2147379864"/>
        </pc:sldMkLst>
      </pc:sldChg>
      <pc:sldMasterChg chg="delSldLayout">
        <pc:chgData name="Annik Noer Nawarni" userId="1f05a52b-258c-4876-bdb6-a198a4fe0a47" providerId="ADAL" clId="{A7EF07C4-9FD6-4EEF-98F4-FFFEC309D168}" dt="2025-06-18T12:41:07.732" v="376" actId="47"/>
        <pc:sldMasterMkLst>
          <pc:docMk/>
          <pc:sldMasterMk cId="341093740" sldId="2147483648"/>
        </pc:sldMasterMkLst>
        <pc:sldLayoutChg chg="del">
          <pc:chgData name="Annik Noer Nawarni" userId="1f05a52b-258c-4876-bdb6-a198a4fe0a47" providerId="ADAL" clId="{A7EF07C4-9FD6-4EEF-98F4-FFFEC309D168}" dt="2025-06-18T12:41:07.732" v="376" actId="47"/>
          <pc:sldLayoutMkLst>
            <pc:docMk/>
            <pc:sldMasterMk cId="341093740" sldId="2147483648"/>
            <pc:sldLayoutMk cId="2794974020" sldId="2147483661"/>
          </pc:sldLayoutMkLst>
        </pc:sldLayoutChg>
        <pc:sldLayoutChg chg="del">
          <pc:chgData name="Annik Noer Nawarni" userId="1f05a52b-258c-4876-bdb6-a198a4fe0a47" providerId="ADAL" clId="{A7EF07C4-9FD6-4EEF-98F4-FFFEC309D168}" dt="2025-06-18T06:51:04.570" v="122" actId="2696"/>
          <pc:sldLayoutMkLst>
            <pc:docMk/>
            <pc:sldMasterMk cId="341093740" sldId="2147483648"/>
            <pc:sldLayoutMk cId="3555003962" sldId="2147483661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2B9D00-C826-4E11-8429-177F52B13C39}" type="doc">
      <dgm:prSet loTypeId="urn:microsoft.com/office/officeart/2005/8/layout/process5" loCatId="process" qsTypeId="urn:microsoft.com/office/officeart/2005/8/quickstyle/3d4" qsCatId="3D" csTypeId="urn:microsoft.com/office/officeart/2005/8/colors/accent6_1" csCatId="accent6" phldr="1"/>
      <dgm:spPr/>
      <dgm:t>
        <a:bodyPr/>
        <a:lstStyle/>
        <a:p>
          <a:endParaRPr lang="id-ID"/>
        </a:p>
      </dgm:t>
    </dgm:pt>
    <dgm:pt modelId="{AD54CEA8-5F53-4347-86E7-E38FF30F9C6D}">
      <dgm:prSet phldrT="[Text]"/>
      <dgm:spPr/>
      <dgm:t>
        <a:bodyPr/>
        <a:lstStyle/>
        <a:p>
          <a:r>
            <a:rPr lang="en-US" dirty="0" err="1"/>
            <a:t>Akses</a:t>
          </a:r>
          <a:r>
            <a:rPr lang="en-US" dirty="0"/>
            <a:t> Portal </a:t>
          </a:r>
          <a:r>
            <a:rPr lang="en-US" dirty="0" err="1"/>
            <a:t>Perizinan</a:t>
          </a:r>
          <a:r>
            <a:rPr lang="en-US" dirty="0"/>
            <a:t> PUPR</a:t>
          </a:r>
          <a:endParaRPr lang="id-ID" dirty="0"/>
        </a:p>
      </dgm:t>
    </dgm:pt>
    <dgm:pt modelId="{DE73FDEF-55AF-4C8C-BC8B-D06C900BD70A}" type="parTrans" cxnId="{E2A43AF9-53FA-4ADA-88A5-FAC0B7DB1532}">
      <dgm:prSet/>
      <dgm:spPr/>
      <dgm:t>
        <a:bodyPr/>
        <a:lstStyle/>
        <a:p>
          <a:endParaRPr lang="id-ID"/>
        </a:p>
      </dgm:t>
    </dgm:pt>
    <dgm:pt modelId="{7687A3FF-D23F-4D53-AB0F-6B1DA8BA7B9C}" type="sibTrans" cxnId="{E2A43AF9-53FA-4ADA-88A5-FAC0B7DB1532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310EC75C-E063-4A6D-B708-652AE6A98FFB}">
      <dgm:prSet phldrT="[Text]"/>
      <dgm:spPr/>
      <dgm:t>
        <a:bodyPr/>
        <a:lstStyle/>
        <a:p>
          <a:r>
            <a:rPr lang="en-US" dirty="0" err="1"/>
            <a:t>Registrasi</a:t>
          </a:r>
          <a:r>
            <a:rPr lang="en-US" dirty="0"/>
            <a:t> </a:t>
          </a:r>
          <a:r>
            <a:rPr lang="en-US" dirty="0" err="1"/>
            <a:t>Akun</a:t>
          </a:r>
          <a:r>
            <a:rPr lang="en-US" dirty="0"/>
            <a:t> SKK-K</a:t>
          </a:r>
          <a:endParaRPr lang="id-ID" dirty="0"/>
        </a:p>
      </dgm:t>
    </dgm:pt>
    <dgm:pt modelId="{DC529E6A-B598-4A66-9DC8-0689D344A803}" type="parTrans" cxnId="{302F391F-B1A8-486D-BCEF-F541FE7143D4}">
      <dgm:prSet/>
      <dgm:spPr/>
      <dgm:t>
        <a:bodyPr/>
        <a:lstStyle/>
        <a:p>
          <a:endParaRPr lang="id-ID"/>
        </a:p>
      </dgm:t>
    </dgm:pt>
    <dgm:pt modelId="{F26F70EC-E779-4452-97E7-E0713E7366DB}" type="sibTrans" cxnId="{302F391F-B1A8-486D-BCEF-F541FE7143D4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EF4EB16-B0C9-452C-B68A-00BB68859A7B}">
      <dgm:prSet phldrT="[Text]"/>
      <dgm:spPr/>
      <dgm:t>
        <a:bodyPr/>
        <a:lstStyle/>
        <a:p>
          <a:r>
            <a:rPr lang="en-US" dirty="0" err="1"/>
            <a:t>Permohonan</a:t>
          </a:r>
          <a:r>
            <a:rPr lang="en-US" dirty="0"/>
            <a:t> SKK</a:t>
          </a:r>
          <a:endParaRPr lang="id-ID" dirty="0"/>
        </a:p>
      </dgm:t>
    </dgm:pt>
    <dgm:pt modelId="{0FF0BCAB-0768-45C1-BC0F-0C57BDC601F9}" type="parTrans" cxnId="{6306278D-C6FA-40B1-933C-9AA417BA0B56}">
      <dgm:prSet/>
      <dgm:spPr/>
      <dgm:t>
        <a:bodyPr/>
        <a:lstStyle/>
        <a:p>
          <a:endParaRPr lang="id-ID"/>
        </a:p>
      </dgm:t>
    </dgm:pt>
    <dgm:pt modelId="{B9A78629-975F-4B90-AE96-9E5B92F536AA}" type="sibTrans" cxnId="{6306278D-C6FA-40B1-933C-9AA417BA0B56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4E899A98-15D4-4256-AA7B-5F8B4291E564}">
      <dgm:prSet phldrT="[Text]"/>
      <dgm:spPr/>
      <dgm:t>
        <a:bodyPr/>
        <a:lstStyle/>
        <a:p>
          <a:r>
            <a:rPr lang="en-US" dirty="0" err="1"/>
            <a:t>Pengisian</a:t>
          </a:r>
          <a:r>
            <a:rPr lang="en-US" dirty="0"/>
            <a:t> Data Personal dan </a:t>
          </a:r>
          <a:r>
            <a:rPr lang="en-US" dirty="0" err="1"/>
            <a:t>Persyaratan</a:t>
          </a:r>
          <a:endParaRPr lang="id-ID" dirty="0"/>
        </a:p>
      </dgm:t>
    </dgm:pt>
    <dgm:pt modelId="{E60EB875-8DE7-483C-BC93-388F2A9709FE}" type="parTrans" cxnId="{BF9A43E2-1D21-4746-83E6-0B3A0D6475FB}">
      <dgm:prSet/>
      <dgm:spPr/>
      <dgm:t>
        <a:bodyPr/>
        <a:lstStyle/>
        <a:p>
          <a:endParaRPr lang="id-ID"/>
        </a:p>
      </dgm:t>
    </dgm:pt>
    <dgm:pt modelId="{8B9E4C69-BF9B-4B9A-BD80-944831447FF2}" type="sibTrans" cxnId="{BF9A43E2-1D21-4746-83E6-0B3A0D6475FB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76611A96-8D89-4ABC-A2D5-6376D1FAA627}">
      <dgm:prSet phldrT="[Text]"/>
      <dgm:spPr/>
      <dgm:t>
        <a:bodyPr/>
        <a:lstStyle/>
        <a:p>
          <a:r>
            <a:rPr lang="en-US" dirty="0" err="1"/>
            <a:t>Mendapatkan</a:t>
          </a:r>
          <a:endParaRPr lang="en-US" dirty="0"/>
        </a:p>
        <a:p>
          <a:r>
            <a:rPr lang="en-US" dirty="0"/>
            <a:t>ID-</a:t>
          </a:r>
          <a:r>
            <a:rPr lang="en-US" dirty="0" err="1"/>
            <a:t>Izin</a:t>
          </a:r>
          <a:endParaRPr lang="en-US" dirty="0"/>
        </a:p>
      </dgm:t>
    </dgm:pt>
    <dgm:pt modelId="{664007BD-9DE2-40B1-A604-17B906DB5D4F}" type="parTrans" cxnId="{E17DD8EA-AF9B-49B8-9FE5-8D3BE60DC532}">
      <dgm:prSet/>
      <dgm:spPr/>
      <dgm:t>
        <a:bodyPr/>
        <a:lstStyle/>
        <a:p>
          <a:endParaRPr lang="id-ID"/>
        </a:p>
      </dgm:t>
    </dgm:pt>
    <dgm:pt modelId="{3C94571C-248A-4A3D-B20F-21729F420AE2}" type="sibTrans" cxnId="{E17DD8EA-AF9B-49B8-9FE5-8D3BE60DC532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2DE258B-5EDD-47A4-A98D-065D917BEA6A}">
      <dgm:prSet phldrT="[Text]"/>
      <dgm:spPr/>
      <dgm:t>
        <a:bodyPr/>
        <a:lstStyle/>
        <a:p>
          <a:r>
            <a:rPr lang="en-US" dirty="0" err="1"/>
            <a:t>Permohonan</a:t>
          </a:r>
          <a:r>
            <a:rPr lang="en-US" dirty="0"/>
            <a:t> </a:t>
          </a:r>
          <a:r>
            <a:rPr lang="en-US" dirty="0" err="1"/>
            <a:t>Diterima</a:t>
          </a:r>
          <a:r>
            <a:rPr lang="en-US" dirty="0"/>
            <a:t> LSP</a:t>
          </a:r>
        </a:p>
      </dgm:t>
    </dgm:pt>
    <dgm:pt modelId="{FCFAA163-428E-432A-AC4A-0C193CBD4A8D}" type="parTrans" cxnId="{39237697-2E58-484C-ABA4-C86F5629A50A}">
      <dgm:prSet/>
      <dgm:spPr/>
      <dgm:t>
        <a:bodyPr/>
        <a:lstStyle/>
        <a:p>
          <a:endParaRPr lang="id-ID"/>
        </a:p>
      </dgm:t>
    </dgm:pt>
    <dgm:pt modelId="{D13B4EC8-F381-4E7D-AB9E-D011BAF0CD91}" type="sibTrans" cxnId="{39237697-2E58-484C-ABA4-C86F5629A50A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A62AF5F-6435-4364-A72A-478E6CFEE794}">
      <dgm:prSet phldrT="[Text]"/>
      <dgm:spPr/>
      <dgm:t>
        <a:bodyPr/>
        <a:lstStyle/>
        <a:p>
          <a:r>
            <a:rPr lang="en-US" dirty="0" err="1"/>
            <a:t>Verifikasi</a:t>
          </a:r>
          <a:r>
            <a:rPr lang="en-US" dirty="0"/>
            <a:t> </a:t>
          </a:r>
          <a:r>
            <a:rPr lang="en-US" dirty="0" err="1"/>
            <a:t>Kelengkapan</a:t>
          </a:r>
          <a:endParaRPr lang="en-US" dirty="0"/>
        </a:p>
      </dgm:t>
    </dgm:pt>
    <dgm:pt modelId="{54E1A5CC-FC95-4B5C-8E76-70D09B9F9705}" type="parTrans" cxnId="{6FE6A8E4-FA3A-49B6-9901-C9DA34466931}">
      <dgm:prSet/>
      <dgm:spPr/>
      <dgm:t>
        <a:bodyPr/>
        <a:lstStyle/>
        <a:p>
          <a:endParaRPr lang="id-ID"/>
        </a:p>
      </dgm:t>
    </dgm:pt>
    <dgm:pt modelId="{5F942606-2424-4829-90AD-5B91C84FC30D}" type="sibTrans" cxnId="{6FE6A8E4-FA3A-49B6-9901-C9DA34466931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1A7C13D-FF6D-4CD5-A5D6-359A981AEAF3}">
      <dgm:prSet phldrT="[Text]"/>
      <dgm:spPr/>
      <dgm:t>
        <a:bodyPr/>
        <a:lstStyle/>
        <a:p>
          <a:r>
            <a:rPr lang="en-US" dirty="0" err="1"/>
            <a:t>Pembayaran</a:t>
          </a:r>
          <a:endParaRPr lang="en-US" dirty="0"/>
        </a:p>
      </dgm:t>
    </dgm:pt>
    <dgm:pt modelId="{A1DA8FDB-A69A-4776-85C4-89D44544563B}" type="parTrans" cxnId="{A7AF24D7-7A32-495E-A728-33B6EB87644D}">
      <dgm:prSet/>
      <dgm:spPr/>
      <dgm:t>
        <a:bodyPr/>
        <a:lstStyle/>
        <a:p>
          <a:endParaRPr lang="id-ID"/>
        </a:p>
      </dgm:t>
    </dgm:pt>
    <dgm:pt modelId="{144435B7-8C3A-43C1-B9ED-815C237DE833}" type="sibTrans" cxnId="{A7AF24D7-7A32-495E-A728-33B6EB87644D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997EB590-F184-40B9-B422-CDD04BC86DB3}">
      <dgm:prSet phldrT="[Text]"/>
      <dgm:spPr/>
      <dgm:t>
        <a:bodyPr/>
        <a:lstStyle/>
        <a:p>
          <a:r>
            <a:rPr lang="en-US" dirty="0"/>
            <a:t>Uji </a:t>
          </a:r>
          <a:r>
            <a:rPr lang="en-US" dirty="0" err="1"/>
            <a:t>Kompetensi</a:t>
          </a:r>
          <a:endParaRPr lang="en-US" dirty="0"/>
        </a:p>
      </dgm:t>
    </dgm:pt>
    <dgm:pt modelId="{1DA14726-53EF-4823-B553-F4F5FB0C2891}" type="parTrans" cxnId="{248E913F-F986-4C61-B0CA-ADDBD4285CD9}">
      <dgm:prSet/>
      <dgm:spPr/>
      <dgm:t>
        <a:bodyPr/>
        <a:lstStyle/>
        <a:p>
          <a:endParaRPr lang="id-ID"/>
        </a:p>
      </dgm:t>
    </dgm:pt>
    <dgm:pt modelId="{F831478C-E0B0-48C6-A4A5-1917C276FBD6}" type="sibTrans" cxnId="{248E913F-F986-4C61-B0CA-ADDBD4285CD9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0D1DC267-EDB7-48C8-8BFA-4E7B7031A1E1}">
      <dgm:prSet phldrT="[Text]"/>
      <dgm:spPr/>
      <dgm:t>
        <a:bodyPr/>
        <a:lstStyle/>
        <a:p>
          <a:r>
            <a:rPr lang="en-US" dirty="0" err="1"/>
            <a:t>Penetapan</a:t>
          </a:r>
          <a:r>
            <a:rPr lang="en-US" dirty="0"/>
            <a:t> Hasil Uji </a:t>
          </a:r>
          <a:r>
            <a:rPr lang="en-US" dirty="0" err="1"/>
            <a:t>Kompetensi</a:t>
          </a:r>
          <a:r>
            <a:rPr lang="en-US" dirty="0"/>
            <a:t> oleh </a:t>
          </a:r>
          <a:r>
            <a:rPr lang="en-US" dirty="0" err="1"/>
            <a:t>Komite</a:t>
          </a:r>
          <a:r>
            <a:rPr lang="en-US" dirty="0"/>
            <a:t> Teknis</a:t>
          </a:r>
        </a:p>
      </dgm:t>
    </dgm:pt>
    <dgm:pt modelId="{AB64DA9E-ABDB-4FF6-911E-D6747CAD5678}" type="parTrans" cxnId="{744DF3DB-9E55-4042-8AB2-40EDDE4E90F7}">
      <dgm:prSet/>
      <dgm:spPr/>
      <dgm:t>
        <a:bodyPr/>
        <a:lstStyle/>
        <a:p>
          <a:endParaRPr lang="id-ID"/>
        </a:p>
      </dgm:t>
    </dgm:pt>
    <dgm:pt modelId="{BE8F2A95-D086-4AF1-A9DE-4EF362944DEF}" type="sibTrans" cxnId="{744DF3DB-9E55-4042-8AB2-40EDDE4E90F7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5FBD4B3-25FF-4E45-86FF-AB1F5232052A}">
      <dgm:prSet phldrT="[Text]"/>
      <dgm:spPr/>
      <dgm:t>
        <a:bodyPr/>
        <a:lstStyle/>
        <a:p>
          <a:r>
            <a:rPr lang="en-US" dirty="0" err="1"/>
            <a:t>Pencatatan</a:t>
          </a:r>
          <a:endParaRPr lang="en-US" dirty="0"/>
        </a:p>
      </dgm:t>
    </dgm:pt>
    <dgm:pt modelId="{C6107E0F-C51C-4220-A03E-3198B31EACA2}" type="parTrans" cxnId="{C27BF15E-E6C0-4A17-AC67-E89E003C9B66}">
      <dgm:prSet/>
      <dgm:spPr/>
      <dgm:t>
        <a:bodyPr/>
        <a:lstStyle/>
        <a:p>
          <a:endParaRPr lang="id-ID"/>
        </a:p>
      </dgm:t>
    </dgm:pt>
    <dgm:pt modelId="{684D34C8-B14C-43A1-9553-E3A9FBB5773E}" type="sibTrans" cxnId="{C27BF15E-E6C0-4A17-AC67-E89E003C9B66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551C04F-020F-495D-A318-D01245191349}">
      <dgm:prSet phldrT="[Text]"/>
      <dgm:spPr/>
      <dgm:t>
        <a:bodyPr/>
        <a:lstStyle/>
        <a:p>
          <a:r>
            <a:rPr lang="en-US" dirty="0" err="1"/>
            <a:t>Penerbitan</a:t>
          </a:r>
          <a:r>
            <a:rPr lang="en-US" dirty="0"/>
            <a:t> SKK-K </a:t>
          </a:r>
          <a:r>
            <a:rPr lang="en-US" dirty="0" err="1"/>
            <a:t>elektronik</a:t>
          </a:r>
          <a:endParaRPr lang="en-US" dirty="0"/>
        </a:p>
      </dgm:t>
    </dgm:pt>
    <dgm:pt modelId="{BCDB9010-55FA-404A-9363-BA57C20B00BD}" type="parTrans" cxnId="{C68991A4-5230-48BD-8050-DDEA24FF64A5}">
      <dgm:prSet/>
      <dgm:spPr/>
      <dgm:t>
        <a:bodyPr/>
        <a:lstStyle/>
        <a:p>
          <a:endParaRPr lang="id-ID"/>
        </a:p>
      </dgm:t>
    </dgm:pt>
    <dgm:pt modelId="{7F9DF969-7821-47A1-8C06-4A22D451FC9B}" type="sibTrans" cxnId="{C68991A4-5230-48BD-8050-DDEA24FF64A5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E21B05AE-37BA-4E2B-8FD5-72104FB09C1D}">
      <dgm:prSet phldrT="[Text]"/>
      <dgm:spPr/>
      <dgm:t>
        <a:bodyPr/>
        <a:lstStyle/>
        <a:p>
          <a:r>
            <a:rPr lang="en-US" dirty="0"/>
            <a:t>SKK-K </a:t>
          </a:r>
          <a:r>
            <a:rPr lang="en-US" dirty="0" err="1"/>
            <a:t>elektronik</a:t>
          </a:r>
          <a:r>
            <a:rPr lang="en-US" dirty="0"/>
            <a:t> </a:t>
          </a:r>
          <a:r>
            <a:rPr lang="en-US" dirty="0" err="1"/>
            <a:t>diterima</a:t>
          </a:r>
          <a:r>
            <a:rPr lang="en-US" dirty="0"/>
            <a:t> </a:t>
          </a:r>
          <a:r>
            <a:rPr lang="en-US" dirty="0" err="1"/>
            <a:t>melalui</a:t>
          </a:r>
          <a:r>
            <a:rPr lang="en-US" dirty="0"/>
            <a:t> Portal </a:t>
          </a:r>
          <a:r>
            <a:rPr lang="en-US" dirty="0" err="1"/>
            <a:t>Perizinan</a:t>
          </a:r>
          <a:r>
            <a:rPr lang="en-US" dirty="0"/>
            <a:t> PUPR</a:t>
          </a:r>
        </a:p>
      </dgm:t>
    </dgm:pt>
    <dgm:pt modelId="{5C563D78-770A-4DF6-BC95-B4BC1C645274}" type="parTrans" cxnId="{03E81614-2C05-4D82-AD24-C91E420E0F41}">
      <dgm:prSet/>
      <dgm:spPr/>
      <dgm:t>
        <a:bodyPr/>
        <a:lstStyle/>
        <a:p>
          <a:endParaRPr lang="id-ID"/>
        </a:p>
      </dgm:t>
    </dgm:pt>
    <dgm:pt modelId="{0EC1CEC8-6FEA-419F-B3F7-46016423A010}" type="sibTrans" cxnId="{03E81614-2C05-4D82-AD24-C91E420E0F41}">
      <dgm:prSet/>
      <dgm:spPr/>
      <dgm:t>
        <a:bodyPr/>
        <a:lstStyle/>
        <a:p>
          <a:endParaRPr lang="id-ID"/>
        </a:p>
      </dgm:t>
    </dgm:pt>
    <dgm:pt modelId="{5B07F661-21FD-4226-B11E-25E019FF7B66}">
      <dgm:prSet phldrT="[Text]"/>
      <dgm:spPr/>
      <dgm:t>
        <a:bodyPr/>
        <a:lstStyle/>
        <a:p>
          <a:r>
            <a:rPr lang="en-US" dirty="0"/>
            <a:t>Login </a:t>
          </a:r>
          <a:r>
            <a:rPr lang="en-US" dirty="0" err="1"/>
            <a:t>dengan</a:t>
          </a:r>
          <a:r>
            <a:rPr lang="en-US" dirty="0"/>
            <a:t> </a:t>
          </a:r>
          <a:r>
            <a:rPr lang="en-US" dirty="0" err="1"/>
            <a:t>akun</a:t>
          </a:r>
          <a:r>
            <a:rPr lang="en-US" dirty="0"/>
            <a:t> </a:t>
          </a:r>
          <a:r>
            <a:rPr lang="en-US" dirty="0" err="1"/>
            <a:t>yg</a:t>
          </a:r>
          <a:r>
            <a:rPr lang="en-US" dirty="0"/>
            <a:t> </a:t>
          </a:r>
          <a:r>
            <a:rPr lang="en-US" dirty="0" err="1"/>
            <a:t>dikirim</a:t>
          </a:r>
          <a:r>
            <a:rPr lang="en-US" dirty="0"/>
            <a:t> </a:t>
          </a:r>
          <a:r>
            <a:rPr lang="en-US" dirty="0" err="1"/>
            <a:t>melalui</a:t>
          </a:r>
          <a:r>
            <a:rPr lang="en-US" dirty="0"/>
            <a:t> Email</a:t>
          </a:r>
          <a:endParaRPr lang="id-ID" dirty="0"/>
        </a:p>
      </dgm:t>
    </dgm:pt>
    <dgm:pt modelId="{65D33F37-9CD7-40B7-A709-C11C8AC09BA9}" type="parTrans" cxnId="{3B9187A1-A02A-4089-AC67-DB95439638C0}">
      <dgm:prSet/>
      <dgm:spPr/>
      <dgm:t>
        <a:bodyPr/>
        <a:lstStyle/>
        <a:p>
          <a:endParaRPr lang="en-ID"/>
        </a:p>
      </dgm:t>
    </dgm:pt>
    <dgm:pt modelId="{1B128018-3255-4C3E-A6F2-B681F04F9947}" type="sibTrans" cxnId="{3B9187A1-A02A-4089-AC67-DB95439638C0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en-ID"/>
        </a:p>
      </dgm:t>
    </dgm:pt>
    <dgm:pt modelId="{98281E7A-B42B-4A60-8F0A-02FBBE192048}" type="pres">
      <dgm:prSet presAssocID="{262B9D00-C826-4E11-8429-177F52B13C39}" presName="diagram" presStyleCnt="0">
        <dgm:presLayoutVars>
          <dgm:dir/>
          <dgm:resizeHandles val="exact"/>
        </dgm:presLayoutVars>
      </dgm:prSet>
      <dgm:spPr/>
    </dgm:pt>
    <dgm:pt modelId="{01A49A10-DA55-43D2-B848-2A752A4B7FB1}" type="pres">
      <dgm:prSet presAssocID="{AD54CEA8-5F53-4347-86E7-E38FF30F9C6D}" presName="node" presStyleLbl="node1" presStyleIdx="0" presStyleCnt="14">
        <dgm:presLayoutVars>
          <dgm:bulletEnabled val="1"/>
        </dgm:presLayoutVars>
      </dgm:prSet>
      <dgm:spPr/>
    </dgm:pt>
    <dgm:pt modelId="{3877E669-BE62-41BC-9950-13C5D39E30D2}" type="pres">
      <dgm:prSet presAssocID="{7687A3FF-D23F-4D53-AB0F-6B1DA8BA7B9C}" presName="sibTrans" presStyleLbl="sibTrans2D1" presStyleIdx="0" presStyleCnt="13"/>
      <dgm:spPr/>
    </dgm:pt>
    <dgm:pt modelId="{80702E3B-FA77-4C95-8465-C752588C38FB}" type="pres">
      <dgm:prSet presAssocID="{7687A3FF-D23F-4D53-AB0F-6B1DA8BA7B9C}" presName="connectorText" presStyleLbl="sibTrans2D1" presStyleIdx="0" presStyleCnt="13"/>
      <dgm:spPr/>
    </dgm:pt>
    <dgm:pt modelId="{FB08B26A-8E52-454A-9694-166FDA94A66C}" type="pres">
      <dgm:prSet presAssocID="{310EC75C-E063-4A6D-B708-652AE6A98FFB}" presName="node" presStyleLbl="node1" presStyleIdx="1" presStyleCnt="14" custLinFactNeighborX="442" custLinFactNeighborY="608">
        <dgm:presLayoutVars>
          <dgm:bulletEnabled val="1"/>
        </dgm:presLayoutVars>
      </dgm:prSet>
      <dgm:spPr/>
    </dgm:pt>
    <dgm:pt modelId="{39A16790-742C-466A-95A4-0BF22E5FCD7A}" type="pres">
      <dgm:prSet presAssocID="{F26F70EC-E779-4452-97E7-E0713E7366DB}" presName="sibTrans" presStyleLbl="sibTrans2D1" presStyleIdx="1" presStyleCnt="13" custLinFactNeighborX="-27435" custLinFactNeighborY="4219"/>
      <dgm:spPr/>
    </dgm:pt>
    <dgm:pt modelId="{C56007E9-35BB-4D39-9B1A-57F61D92EDEB}" type="pres">
      <dgm:prSet presAssocID="{F26F70EC-E779-4452-97E7-E0713E7366DB}" presName="connectorText" presStyleLbl="sibTrans2D1" presStyleIdx="1" presStyleCnt="13"/>
      <dgm:spPr/>
    </dgm:pt>
    <dgm:pt modelId="{7D12FF1B-AFF2-41BF-A1B9-96394947895C}" type="pres">
      <dgm:prSet presAssocID="{5B07F661-21FD-4226-B11E-25E019FF7B66}" presName="node" presStyleLbl="node1" presStyleIdx="2" presStyleCnt="14">
        <dgm:presLayoutVars>
          <dgm:bulletEnabled val="1"/>
        </dgm:presLayoutVars>
      </dgm:prSet>
      <dgm:spPr/>
    </dgm:pt>
    <dgm:pt modelId="{B8D77E6C-9E07-4195-BF67-9B25D7196EAA}" type="pres">
      <dgm:prSet presAssocID="{1B128018-3255-4C3E-A6F2-B681F04F9947}" presName="sibTrans" presStyleLbl="sibTrans2D1" presStyleIdx="2" presStyleCnt="13" custLinFactNeighborX="-38153" custLinFactNeighborY="-7346"/>
      <dgm:spPr/>
    </dgm:pt>
    <dgm:pt modelId="{B03BAD51-824A-4B72-B5C9-F4D969B0FE1F}" type="pres">
      <dgm:prSet presAssocID="{1B128018-3255-4C3E-A6F2-B681F04F9947}" presName="connectorText" presStyleLbl="sibTrans2D1" presStyleIdx="2" presStyleCnt="13"/>
      <dgm:spPr/>
    </dgm:pt>
    <dgm:pt modelId="{2B6E1E24-A7FA-4049-86FC-9D12842052E7}" type="pres">
      <dgm:prSet presAssocID="{AEF4EB16-B0C9-452C-B68A-00BB68859A7B}" presName="node" presStyleLbl="node1" presStyleIdx="3" presStyleCnt="14">
        <dgm:presLayoutVars>
          <dgm:bulletEnabled val="1"/>
        </dgm:presLayoutVars>
      </dgm:prSet>
      <dgm:spPr/>
    </dgm:pt>
    <dgm:pt modelId="{1DF05F3B-4E23-47B7-9399-FA0B1A3EC9AF}" type="pres">
      <dgm:prSet presAssocID="{B9A78629-975F-4B90-AE96-9E5B92F536AA}" presName="sibTrans" presStyleLbl="sibTrans2D1" presStyleIdx="3" presStyleCnt="13"/>
      <dgm:spPr/>
    </dgm:pt>
    <dgm:pt modelId="{16836755-55F7-4A1E-8705-055A4D230720}" type="pres">
      <dgm:prSet presAssocID="{B9A78629-975F-4B90-AE96-9E5B92F536AA}" presName="connectorText" presStyleLbl="sibTrans2D1" presStyleIdx="3" presStyleCnt="13"/>
      <dgm:spPr/>
    </dgm:pt>
    <dgm:pt modelId="{C53C5ED3-16AC-4B3F-9B93-D856278E85E8}" type="pres">
      <dgm:prSet presAssocID="{4E899A98-15D4-4256-AA7B-5F8B4291E564}" presName="node" presStyleLbl="node1" presStyleIdx="4" presStyleCnt="14">
        <dgm:presLayoutVars>
          <dgm:bulletEnabled val="1"/>
        </dgm:presLayoutVars>
      </dgm:prSet>
      <dgm:spPr/>
    </dgm:pt>
    <dgm:pt modelId="{B98488BD-C1A4-477A-8CF9-A79D8E5107F2}" type="pres">
      <dgm:prSet presAssocID="{8B9E4C69-BF9B-4B9A-BD80-944831447FF2}" presName="sibTrans" presStyleLbl="sibTrans2D1" presStyleIdx="4" presStyleCnt="13" custLinFactNeighborX="11768" custLinFactNeighborY="9680"/>
      <dgm:spPr/>
    </dgm:pt>
    <dgm:pt modelId="{5033852B-6252-4BC2-BA8A-939A6D79CE68}" type="pres">
      <dgm:prSet presAssocID="{8B9E4C69-BF9B-4B9A-BD80-944831447FF2}" presName="connectorText" presStyleLbl="sibTrans2D1" presStyleIdx="4" presStyleCnt="13"/>
      <dgm:spPr/>
    </dgm:pt>
    <dgm:pt modelId="{519EAD41-65A7-4AAB-AFFA-DCC2B68A3AFF}" type="pres">
      <dgm:prSet presAssocID="{76611A96-8D89-4ABC-A2D5-6376D1FAA627}" presName="node" presStyleLbl="node1" presStyleIdx="5" presStyleCnt="14">
        <dgm:presLayoutVars>
          <dgm:bulletEnabled val="1"/>
        </dgm:presLayoutVars>
      </dgm:prSet>
      <dgm:spPr/>
    </dgm:pt>
    <dgm:pt modelId="{3FF3E634-1966-415E-85D5-38A897C4E7E3}" type="pres">
      <dgm:prSet presAssocID="{3C94571C-248A-4A3D-B20F-21729F420AE2}" presName="sibTrans" presStyleLbl="sibTrans2D1" presStyleIdx="5" presStyleCnt="13" custLinFactNeighborX="29919" custLinFactNeighborY="-5863"/>
      <dgm:spPr/>
    </dgm:pt>
    <dgm:pt modelId="{73F9BE4E-A25B-4D57-B8A1-8D52E04917B6}" type="pres">
      <dgm:prSet presAssocID="{3C94571C-248A-4A3D-B20F-21729F420AE2}" presName="connectorText" presStyleLbl="sibTrans2D1" presStyleIdx="5" presStyleCnt="13"/>
      <dgm:spPr/>
    </dgm:pt>
    <dgm:pt modelId="{10DF5648-7416-434C-8BC3-0F92F96B97CB}" type="pres">
      <dgm:prSet presAssocID="{A2DE258B-5EDD-47A4-A98D-065D917BEA6A}" presName="node" presStyleLbl="node1" presStyleIdx="6" presStyleCnt="14">
        <dgm:presLayoutVars>
          <dgm:bulletEnabled val="1"/>
        </dgm:presLayoutVars>
      </dgm:prSet>
      <dgm:spPr/>
    </dgm:pt>
    <dgm:pt modelId="{7848B252-526A-4E26-936C-C9CCF666F5DE}" type="pres">
      <dgm:prSet presAssocID="{D13B4EC8-F381-4E7D-AB9E-D011BAF0CD91}" presName="sibTrans" presStyleLbl="sibTrans2D1" presStyleIdx="6" presStyleCnt="13" custLinFactNeighborX="18823" custLinFactNeighborY="-233"/>
      <dgm:spPr/>
    </dgm:pt>
    <dgm:pt modelId="{036AA6AD-A8A4-4086-BC2C-1512CC873A0D}" type="pres">
      <dgm:prSet presAssocID="{D13B4EC8-F381-4E7D-AB9E-D011BAF0CD91}" presName="connectorText" presStyleLbl="sibTrans2D1" presStyleIdx="6" presStyleCnt="13"/>
      <dgm:spPr/>
    </dgm:pt>
    <dgm:pt modelId="{6D3AEE44-43FD-48EE-8CF1-7C4499C3371A}" type="pres">
      <dgm:prSet presAssocID="{2A62AF5F-6435-4364-A72A-478E6CFEE794}" presName="node" presStyleLbl="node1" presStyleIdx="7" presStyleCnt="14">
        <dgm:presLayoutVars>
          <dgm:bulletEnabled val="1"/>
        </dgm:presLayoutVars>
      </dgm:prSet>
      <dgm:spPr/>
    </dgm:pt>
    <dgm:pt modelId="{D5F72D01-FAD7-4120-AE83-1A0F208ED1F8}" type="pres">
      <dgm:prSet presAssocID="{5F942606-2424-4829-90AD-5B91C84FC30D}" presName="sibTrans" presStyleLbl="sibTrans2D1" presStyleIdx="7" presStyleCnt="13" custLinFactNeighborX="21686" custLinFactNeighborY="1961"/>
      <dgm:spPr/>
    </dgm:pt>
    <dgm:pt modelId="{AABABA15-70F9-4FFF-A43F-542ACDA84C22}" type="pres">
      <dgm:prSet presAssocID="{5F942606-2424-4829-90AD-5B91C84FC30D}" presName="connectorText" presStyleLbl="sibTrans2D1" presStyleIdx="7" presStyleCnt="13"/>
      <dgm:spPr/>
    </dgm:pt>
    <dgm:pt modelId="{BF16CC55-EE22-4FA0-B744-3C75ED0CDFB9}" type="pres">
      <dgm:prSet presAssocID="{21A7C13D-FF6D-4CD5-A5D6-359A981AEAF3}" presName="node" presStyleLbl="node1" presStyleIdx="8" presStyleCnt="14">
        <dgm:presLayoutVars>
          <dgm:bulletEnabled val="1"/>
        </dgm:presLayoutVars>
      </dgm:prSet>
      <dgm:spPr/>
    </dgm:pt>
    <dgm:pt modelId="{316B0C22-5E1F-47C4-ABDB-F0D776289AB1}" type="pres">
      <dgm:prSet presAssocID="{144435B7-8C3A-43C1-B9ED-815C237DE833}" presName="sibTrans" presStyleLbl="sibTrans2D1" presStyleIdx="8" presStyleCnt="13"/>
      <dgm:spPr/>
    </dgm:pt>
    <dgm:pt modelId="{6741C56C-4C87-4BA4-8853-C720F6210EC5}" type="pres">
      <dgm:prSet presAssocID="{144435B7-8C3A-43C1-B9ED-815C237DE833}" presName="connectorText" presStyleLbl="sibTrans2D1" presStyleIdx="8" presStyleCnt="13"/>
      <dgm:spPr/>
    </dgm:pt>
    <dgm:pt modelId="{7D66EB39-461E-4387-864C-3DC4290864AF}" type="pres">
      <dgm:prSet presAssocID="{997EB590-F184-40B9-B422-CDD04BC86DB3}" presName="node" presStyleLbl="node1" presStyleIdx="9" presStyleCnt="14">
        <dgm:presLayoutVars>
          <dgm:bulletEnabled val="1"/>
        </dgm:presLayoutVars>
      </dgm:prSet>
      <dgm:spPr/>
    </dgm:pt>
    <dgm:pt modelId="{9733039C-BA0A-4FD7-AF5B-4CA33D23A3BE}" type="pres">
      <dgm:prSet presAssocID="{F831478C-E0B0-48C6-A4A5-1917C276FBD6}" presName="sibTrans" presStyleLbl="sibTrans2D1" presStyleIdx="9" presStyleCnt="13"/>
      <dgm:spPr/>
    </dgm:pt>
    <dgm:pt modelId="{2D5E3A06-7608-427B-8000-20DCF6ED2E43}" type="pres">
      <dgm:prSet presAssocID="{F831478C-E0B0-48C6-A4A5-1917C276FBD6}" presName="connectorText" presStyleLbl="sibTrans2D1" presStyleIdx="9" presStyleCnt="13"/>
      <dgm:spPr/>
    </dgm:pt>
    <dgm:pt modelId="{1E8F4112-35A4-4295-87F4-B72985AE28CB}" type="pres">
      <dgm:prSet presAssocID="{0D1DC267-EDB7-48C8-8BFA-4E7B7031A1E1}" presName="node" presStyleLbl="node1" presStyleIdx="10" presStyleCnt="14">
        <dgm:presLayoutVars>
          <dgm:bulletEnabled val="1"/>
        </dgm:presLayoutVars>
      </dgm:prSet>
      <dgm:spPr/>
    </dgm:pt>
    <dgm:pt modelId="{42BA764D-ECD5-4996-9C44-8A0A5F19889D}" type="pres">
      <dgm:prSet presAssocID="{BE8F2A95-D086-4AF1-A9DE-4EF362944DEF}" presName="sibTrans" presStyleLbl="sibTrans2D1" presStyleIdx="10" presStyleCnt="13" custLinFactNeighborX="-21133" custLinFactNeighborY="-2615"/>
      <dgm:spPr/>
    </dgm:pt>
    <dgm:pt modelId="{8D66E80D-3792-44A1-A555-C859786D3F71}" type="pres">
      <dgm:prSet presAssocID="{BE8F2A95-D086-4AF1-A9DE-4EF362944DEF}" presName="connectorText" presStyleLbl="sibTrans2D1" presStyleIdx="10" presStyleCnt="13"/>
      <dgm:spPr/>
    </dgm:pt>
    <dgm:pt modelId="{40DA85B8-AB36-40AB-8A67-B0700BBA8244}" type="pres">
      <dgm:prSet presAssocID="{25FBD4B3-25FF-4E45-86FF-AB1F5232052A}" presName="node" presStyleLbl="node1" presStyleIdx="11" presStyleCnt="14" custScaleY="82216">
        <dgm:presLayoutVars>
          <dgm:bulletEnabled val="1"/>
        </dgm:presLayoutVars>
      </dgm:prSet>
      <dgm:spPr/>
    </dgm:pt>
    <dgm:pt modelId="{0E8071CD-006C-4360-B296-0E1A84EE250A}" type="pres">
      <dgm:prSet presAssocID="{684D34C8-B14C-43A1-9553-E3A9FBB5773E}" presName="sibTrans" presStyleLbl="sibTrans2D1" presStyleIdx="11" presStyleCnt="13" custLinFactNeighborX="-12207" custLinFactNeighborY="-128"/>
      <dgm:spPr/>
    </dgm:pt>
    <dgm:pt modelId="{64E4E5A8-D687-4A18-989B-51516A068551}" type="pres">
      <dgm:prSet presAssocID="{684D34C8-B14C-43A1-9553-E3A9FBB5773E}" presName="connectorText" presStyleLbl="sibTrans2D1" presStyleIdx="11" presStyleCnt="13"/>
      <dgm:spPr/>
    </dgm:pt>
    <dgm:pt modelId="{B3269C98-FE39-4934-95BE-9C10E0C6B355}" type="pres">
      <dgm:prSet presAssocID="{2551C04F-020F-495D-A318-D01245191349}" presName="node" presStyleLbl="node1" presStyleIdx="12" presStyleCnt="14">
        <dgm:presLayoutVars>
          <dgm:bulletEnabled val="1"/>
        </dgm:presLayoutVars>
      </dgm:prSet>
      <dgm:spPr/>
    </dgm:pt>
    <dgm:pt modelId="{F7B36BAE-25BD-4995-A0A7-28D989B3241F}" type="pres">
      <dgm:prSet presAssocID="{7F9DF969-7821-47A1-8C06-4A22D451FC9B}" presName="sibTrans" presStyleLbl="sibTrans2D1" presStyleIdx="12" presStyleCnt="13" custLinFactNeighborX="-18839" custLinFactNeighborY="-128"/>
      <dgm:spPr/>
    </dgm:pt>
    <dgm:pt modelId="{482961E6-2364-4DBB-9811-136E81958C03}" type="pres">
      <dgm:prSet presAssocID="{7F9DF969-7821-47A1-8C06-4A22D451FC9B}" presName="connectorText" presStyleLbl="sibTrans2D1" presStyleIdx="12" presStyleCnt="13"/>
      <dgm:spPr/>
    </dgm:pt>
    <dgm:pt modelId="{8534CBB5-8797-46BC-A736-3AC7DDECF8A2}" type="pres">
      <dgm:prSet presAssocID="{E21B05AE-37BA-4E2B-8FD5-72104FB09C1D}" presName="node" presStyleLbl="node1" presStyleIdx="13" presStyleCnt="14">
        <dgm:presLayoutVars>
          <dgm:bulletEnabled val="1"/>
        </dgm:presLayoutVars>
      </dgm:prSet>
      <dgm:spPr/>
    </dgm:pt>
  </dgm:ptLst>
  <dgm:cxnLst>
    <dgm:cxn modelId="{6B347E07-E582-478D-AE04-8DEF52D19C9C}" type="presOf" srcId="{B9A78629-975F-4B90-AE96-9E5B92F536AA}" destId="{16836755-55F7-4A1E-8705-055A4D230720}" srcOrd="1" destOrd="0" presId="urn:microsoft.com/office/officeart/2005/8/layout/process5"/>
    <dgm:cxn modelId="{0C090810-A16E-4645-B75D-D6E1554C70B7}" type="presOf" srcId="{4E899A98-15D4-4256-AA7B-5F8B4291E564}" destId="{C53C5ED3-16AC-4B3F-9B93-D856278E85E8}" srcOrd="0" destOrd="0" presId="urn:microsoft.com/office/officeart/2005/8/layout/process5"/>
    <dgm:cxn modelId="{03E81614-2C05-4D82-AD24-C91E420E0F41}" srcId="{262B9D00-C826-4E11-8429-177F52B13C39}" destId="{E21B05AE-37BA-4E2B-8FD5-72104FB09C1D}" srcOrd="13" destOrd="0" parTransId="{5C563D78-770A-4DF6-BC95-B4BC1C645274}" sibTransId="{0EC1CEC8-6FEA-419F-B3F7-46016423A010}"/>
    <dgm:cxn modelId="{11F43814-194B-4C2D-82A9-425B6856F1FD}" type="presOf" srcId="{7F9DF969-7821-47A1-8C06-4A22D451FC9B}" destId="{F7B36BAE-25BD-4995-A0A7-28D989B3241F}" srcOrd="0" destOrd="0" presId="urn:microsoft.com/office/officeart/2005/8/layout/process5"/>
    <dgm:cxn modelId="{7EB27C14-F06A-4B19-883E-00E9FF8E75AE}" type="presOf" srcId="{2551C04F-020F-495D-A318-D01245191349}" destId="{B3269C98-FE39-4934-95BE-9C10E0C6B355}" srcOrd="0" destOrd="0" presId="urn:microsoft.com/office/officeart/2005/8/layout/process5"/>
    <dgm:cxn modelId="{0D22651B-7DEE-4EC5-89B7-76E56AB3225C}" type="presOf" srcId="{997EB590-F184-40B9-B422-CDD04BC86DB3}" destId="{7D66EB39-461E-4387-864C-3DC4290864AF}" srcOrd="0" destOrd="0" presId="urn:microsoft.com/office/officeart/2005/8/layout/process5"/>
    <dgm:cxn modelId="{302F391F-B1A8-486D-BCEF-F541FE7143D4}" srcId="{262B9D00-C826-4E11-8429-177F52B13C39}" destId="{310EC75C-E063-4A6D-B708-652AE6A98FFB}" srcOrd="1" destOrd="0" parTransId="{DC529E6A-B598-4A66-9DC8-0689D344A803}" sibTransId="{F26F70EC-E779-4452-97E7-E0713E7366DB}"/>
    <dgm:cxn modelId="{35308027-173E-4810-85DA-3EA8A67C2886}" type="presOf" srcId="{144435B7-8C3A-43C1-B9ED-815C237DE833}" destId="{316B0C22-5E1F-47C4-ABDB-F0D776289AB1}" srcOrd="0" destOrd="0" presId="urn:microsoft.com/office/officeart/2005/8/layout/process5"/>
    <dgm:cxn modelId="{248E913F-F986-4C61-B0CA-ADDBD4285CD9}" srcId="{262B9D00-C826-4E11-8429-177F52B13C39}" destId="{997EB590-F184-40B9-B422-CDD04BC86DB3}" srcOrd="9" destOrd="0" parTransId="{1DA14726-53EF-4823-B553-F4F5FB0C2891}" sibTransId="{F831478C-E0B0-48C6-A4A5-1917C276FBD6}"/>
    <dgm:cxn modelId="{7B8AE53F-195F-4014-BFA9-B213849DDAFA}" type="presOf" srcId="{AD54CEA8-5F53-4347-86E7-E38FF30F9C6D}" destId="{01A49A10-DA55-43D2-B848-2A752A4B7FB1}" srcOrd="0" destOrd="0" presId="urn:microsoft.com/office/officeart/2005/8/layout/process5"/>
    <dgm:cxn modelId="{E7872F40-93CB-438D-A3A5-A4AE9E0ED09E}" type="presOf" srcId="{F26F70EC-E779-4452-97E7-E0713E7366DB}" destId="{C56007E9-35BB-4D39-9B1A-57F61D92EDEB}" srcOrd="1" destOrd="0" presId="urn:microsoft.com/office/officeart/2005/8/layout/process5"/>
    <dgm:cxn modelId="{20EC3A5B-B693-4807-A4AB-D870E78BAE83}" type="presOf" srcId="{2A62AF5F-6435-4364-A72A-478E6CFEE794}" destId="{6D3AEE44-43FD-48EE-8CF1-7C4499C3371A}" srcOrd="0" destOrd="0" presId="urn:microsoft.com/office/officeart/2005/8/layout/process5"/>
    <dgm:cxn modelId="{EFD90F5E-B59E-40D7-B900-F1AD7F842899}" type="presOf" srcId="{D13B4EC8-F381-4E7D-AB9E-D011BAF0CD91}" destId="{036AA6AD-A8A4-4086-BC2C-1512CC873A0D}" srcOrd="1" destOrd="0" presId="urn:microsoft.com/office/officeart/2005/8/layout/process5"/>
    <dgm:cxn modelId="{F5FAA55E-B2CC-4E81-B1A7-EB30A9E091DD}" type="presOf" srcId="{684D34C8-B14C-43A1-9553-E3A9FBB5773E}" destId="{64E4E5A8-D687-4A18-989B-51516A068551}" srcOrd="1" destOrd="0" presId="urn:microsoft.com/office/officeart/2005/8/layout/process5"/>
    <dgm:cxn modelId="{C27BF15E-E6C0-4A17-AC67-E89E003C9B66}" srcId="{262B9D00-C826-4E11-8429-177F52B13C39}" destId="{25FBD4B3-25FF-4E45-86FF-AB1F5232052A}" srcOrd="11" destOrd="0" parTransId="{C6107E0F-C51C-4220-A03E-3198B31EACA2}" sibTransId="{684D34C8-B14C-43A1-9553-E3A9FBB5773E}"/>
    <dgm:cxn modelId="{64BAD65F-A11D-49A4-997E-751DD7B8CB25}" type="presOf" srcId="{0D1DC267-EDB7-48C8-8BFA-4E7B7031A1E1}" destId="{1E8F4112-35A4-4295-87F4-B72985AE28CB}" srcOrd="0" destOrd="0" presId="urn:microsoft.com/office/officeart/2005/8/layout/process5"/>
    <dgm:cxn modelId="{340A4B49-10D8-401C-8384-0750E984BA77}" type="presOf" srcId="{3C94571C-248A-4A3D-B20F-21729F420AE2}" destId="{3FF3E634-1966-415E-85D5-38A897C4E7E3}" srcOrd="0" destOrd="0" presId="urn:microsoft.com/office/officeart/2005/8/layout/process5"/>
    <dgm:cxn modelId="{B6FF7955-5BF2-482C-8E2F-ECB6A5230C44}" type="presOf" srcId="{E21B05AE-37BA-4E2B-8FD5-72104FB09C1D}" destId="{8534CBB5-8797-46BC-A736-3AC7DDECF8A2}" srcOrd="0" destOrd="0" presId="urn:microsoft.com/office/officeart/2005/8/layout/process5"/>
    <dgm:cxn modelId="{630A0158-618B-48F9-9BA4-77B2E4EA9CC9}" type="presOf" srcId="{D13B4EC8-F381-4E7D-AB9E-D011BAF0CD91}" destId="{7848B252-526A-4E26-936C-C9CCF666F5DE}" srcOrd="0" destOrd="0" presId="urn:microsoft.com/office/officeart/2005/8/layout/process5"/>
    <dgm:cxn modelId="{3E6FD97D-D333-4FEF-AFC2-7BF045D53976}" type="presOf" srcId="{76611A96-8D89-4ABC-A2D5-6376D1FAA627}" destId="{519EAD41-65A7-4AAB-AFFA-DCC2B68A3AFF}" srcOrd="0" destOrd="0" presId="urn:microsoft.com/office/officeart/2005/8/layout/process5"/>
    <dgm:cxn modelId="{2571F881-8E05-4115-A8E6-72E2D1F39289}" type="presOf" srcId="{25FBD4B3-25FF-4E45-86FF-AB1F5232052A}" destId="{40DA85B8-AB36-40AB-8A67-B0700BBA8244}" srcOrd="0" destOrd="0" presId="urn:microsoft.com/office/officeart/2005/8/layout/process5"/>
    <dgm:cxn modelId="{ECB66D85-0B4F-4302-BC9A-EAA9FF961773}" type="presOf" srcId="{F831478C-E0B0-48C6-A4A5-1917C276FBD6}" destId="{9733039C-BA0A-4FD7-AF5B-4CA33D23A3BE}" srcOrd="0" destOrd="0" presId="urn:microsoft.com/office/officeart/2005/8/layout/process5"/>
    <dgm:cxn modelId="{43948289-E131-4304-AE91-B6C17D3362B4}" type="presOf" srcId="{262B9D00-C826-4E11-8429-177F52B13C39}" destId="{98281E7A-B42B-4A60-8F0A-02FBBE192048}" srcOrd="0" destOrd="0" presId="urn:microsoft.com/office/officeart/2005/8/layout/process5"/>
    <dgm:cxn modelId="{6306278D-C6FA-40B1-933C-9AA417BA0B56}" srcId="{262B9D00-C826-4E11-8429-177F52B13C39}" destId="{AEF4EB16-B0C9-452C-B68A-00BB68859A7B}" srcOrd="3" destOrd="0" parTransId="{0FF0BCAB-0768-45C1-BC0F-0C57BDC601F9}" sibTransId="{B9A78629-975F-4B90-AE96-9E5B92F536AA}"/>
    <dgm:cxn modelId="{BEE5DA8E-00E1-49B8-BDB8-B6408F2F0348}" type="presOf" srcId="{144435B7-8C3A-43C1-B9ED-815C237DE833}" destId="{6741C56C-4C87-4BA4-8853-C720F6210EC5}" srcOrd="1" destOrd="0" presId="urn:microsoft.com/office/officeart/2005/8/layout/process5"/>
    <dgm:cxn modelId="{39237697-2E58-484C-ABA4-C86F5629A50A}" srcId="{262B9D00-C826-4E11-8429-177F52B13C39}" destId="{A2DE258B-5EDD-47A4-A98D-065D917BEA6A}" srcOrd="6" destOrd="0" parTransId="{FCFAA163-428E-432A-AC4A-0C193CBD4A8D}" sibTransId="{D13B4EC8-F381-4E7D-AB9E-D011BAF0CD91}"/>
    <dgm:cxn modelId="{3B9187A1-A02A-4089-AC67-DB95439638C0}" srcId="{262B9D00-C826-4E11-8429-177F52B13C39}" destId="{5B07F661-21FD-4226-B11E-25E019FF7B66}" srcOrd="2" destOrd="0" parTransId="{65D33F37-9CD7-40B7-A709-C11C8AC09BA9}" sibTransId="{1B128018-3255-4C3E-A6F2-B681F04F9947}"/>
    <dgm:cxn modelId="{763822A2-C896-4EE1-9CE7-E4EBAFAC0CAD}" type="presOf" srcId="{21A7C13D-FF6D-4CD5-A5D6-359A981AEAF3}" destId="{BF16CC55-EE22-4FA0-B744-3C75ED0CDFB9}" srcOrd="0" destOrd="0" presId="urn:microsoft.com/office/officeart/2005/8/layout/process5"/>
    <dgm:cxn modelId="{C68991A4-5230-48BD-8050-DDEA24FF64A5}" srcId="{262B9D00-C826-4E11-8429-177F52B13C39}" destId="{2551C04F-020F-495D-A318-D01245191349}" srcOrd="12" destOrd="0" parTransId="{BCDB9010-55FA-404A-9363-BA57C20B00BD}" sibTransId="{7F9DF969-7821-47A1-8C06-4A22D451FC9B}"/>
    <dgm:cxn modelId="{3B1519A7-A7A6-4088-953A-80E64E377535}" type="presOf" srcId="{BE8F2A95-D086-4AF1-A9DE-4EF362944DEF}" destId="{42BA764D-ECD5-4996-9C44-8A0A5F19889D}" srcOrd="0" destOrd="0" presId="urn:microsoft.com/office/officeart/2005/8/layout/process5"/>
    <dgm:cxn modelId="{7C3D67A8-FD1E-47C1-B23E-7C4E037AB475}" type="presOf" srcId="{7F9DF969-7821-47A1-8C06-4A22D451FC9B}" destId="{482961E6-2364-4DBB-9811-136E81958C03}" srcOrd="1" destOrd="0" presId="urn:microsoft.com/office/officeart/2005/8/layout/process5"/>
    <dgm:cxn modelId="{9EBC6BA9-19A7-434B-954C-DC60DE40421F}" type="presOf" srcId="{8B9E4C69-BF9B-4B9A-BD80-944831447FF2}" destId="{5033852B-6252-4BC2-BA8A-939A6D79CE68}" srcOrd="1" destOrd="0" presId="urn:microsoft.com/office/officeart/2005/8/layout/process5"/>
    <dgm:cxn modelId="{3EDB76AA-5891-4891-90BB-4A147DE70F80}" type="presOf" srcId="{5F942606-2424-4829-90AD-5B91C84FC30D}" destId="{AABABA15-70F9-4FFF-A43F-542ACDA84C22}" srcOrd="1" destOrd="0" presId="urn:microsoft.com/office/officeart/2005/8/layout/process5"/>
    <dgm:cxn modelId="{B7B16AAC-9C3A-40E2-B54C-1F2A9955C9BA}" type="presOf" srcId="{5B07F661-21FD-4226-B11E-25E019FF7B66}" destId="{7D12FF1B-AFF2-41BF-A1B9-96394947895C}" srcOrd="0" destOrd="0" presId="urn:microsoft.com/office/officeart/2005/8/layout/process5"/>
    <dgm:cxn modelId="{5B3BE8AD-11CE-4BA4-8466-9833EB934DF2}" type="presOf" srcId="{F26F70EC-E779-4452-97E7-E0713E7366DB}" destId="{39A16790-742C-466A-95A4-0BF22E5FCD7A}" srcOrd="0" destOrd="0" presId="urn:microsoft.com/office/officeart/2005/8/layout/process5"/>
    <dgm:cxn modelId="{F0083FB7-890A-4C40-BE55-DC934DD638EF}" type="presOf" srcId="{7687A3FF-D23F-4D53-AB0F-6B1DA8BA7B9C}" destId="{80702E3B-FA77-4C95-8465-C752588C38FB}" srcOrd="1" destOrd="0" presId="urn:microsoft.com/office/officeart/2005/8/layout/process5"/>
    <dgm:cxn modelId="{C0B7ABB8-80BB-4430-9AF2-71CE1F92D1AF}" type="presOf" srcId="{684D34C8-B14C-43A1-9553-E3A9FBB5773E}" destId="{0E8071CD-006C-4360-B296-0E1A84EE250A}" srcOrd="0" destOrd="0" presId="urn:microsoft.com/office/officeart/2005/8/layout/process5"/>
    <dgm:cxn modelId="{C255E6C0-3F8D-4468-86E8-127B2E62BE21}" type="presOf" srcId="{7687A3FF-D23F-4D53-AB0F-6B1DA8BA7B9C}" destId="{3877E669-BE62-41BC-9950-13C5D39E30D2}" srcOrd="0" destOrd="0" presId="urn:microsoft.com/office/officeart/2005/8/layout/process5"/>
    <dgm:cxn modelId="{7B3462C4-9B0E-4820-83FA-90DA1380143A}" type="presOf" srcId="{5F942606-2424-4829-90AD-5B91C84FC30D}" destId="{D5F72D01-FAD7-4120-AE83-1A0F208ED1F8}" srcOrd="0" destOrd="0" presId="urn:microsoft.com/office/officeart/2005/8/layout/process5"/>
    <dgm:cxn modelId="{C194C6D3-D183-4F31-B684-2A219E7E2F18}" type="presOf" srcId="{BE8F2A95-D086-4AF1-A9DE-4EF362944DEF}" destId="{8D66E80D-3792-44A1-A555-C859786D3F71}" srcOrd="1" destOrd="0" presId="urn:microsoft.com/office/officeart/2005/8/layout/process5"/>
    <dgm:cxn modelId="{A2A114D6-5248-4306-A85E-92113B86F6AD}" type="presOf" srcId="{AEF4EB16-B0C9-452C-B68A-00BB68859A7B}" destId="{2B6E1E24-A7FA-4049-86FC-9D12842052E7}" srcOrd="0" destOrd="0" presId="urn:microsoft.com/office/officeart/2005/8/layout/process5"/>
    <dgm:cxn modelId="{A7AF24D7-7A32-495E-A728-33B6EB87644D}" srcId="{262B9D00-C826-4E11-8429-177F52B13C39}" destId="{21A7C13D-FF6D-4CD5-A5D6-359A981AEAF3}" srcOrd="8" destOrd="0" parTransId="{A1DA8FDB-A69A-4776-85C4-89D44544563B}" sibTransId="{144435B7-8C3A-43C1-B9ED-815C237DE833}"/>
    <dgm:cxn modelId="{177312D8-D17B-49C6-BA0A-4969FFEDBEDA}" type="presOf" srcId="{3C94571C-248A-4A3D-B20F-21729F420AE2}" destId="{73F9BE4E-A25B-4D57-B8A1-8D52E04917B6}" srcOrd="1" destOrd="0" presId="urn:microsoft.com/office/officeart/2005/8/layout/process5"/>
    <dgm:cxn modelId="{744DF3DB-9E55-4042-8AB2-40EDDE4E90F7}" srcId="{262B9D00-C826-4E11-8429-177F52B13C39}" destId="{0D1DC267-EDB7-48C8-8BFA-4E7B7031A1E1}" srcOrd="10" destOrd="0" parTransId="{AB64DA9E-ABDB-4FF6-911E-D6747CAD5678}" sibTransId="{BE8F2A95-D086-4AF1-A9DE-4EF362944DEF}"/>
    <dgm:cxn modelId="{65358DDC-90CC-412A-A775-1FBE91D1A40C}" type="presOf" srcId="{8B9E4C69-BF9B-4B9A-BD80-944831447FF2}" destId="{B98488BD-C1A4-477A-8CF9-A79D8E5107F2}" srcOrd="0" destOrd="0" presId="urn:microsoft.com/office/officeart/2005/8/layout/process5"/>
    <dgm:cxn modelId="{91B78FE0-0815-46DC-8A87-895368F48A1A}" type="presOf" srcId="{A2DE258B-5EDD-47A4-A98D-065D917BEA6A}" destId="{10DF5648-7416-434C-8BC3-0F92F96B97CB}" srcOrd="0" destOrd="0" presId="urn:microsoft.com/office/officeart/2005/8/layout/process5"/>
    <dgm:cxn modelId="{BF9A43E2-1D21-4746-83E6-0B3A0D6475FB}" srcId="{262B9D00-C826-4E11-8429-177F52B13C39}" destId="{4E899A98-15D4-4256-AA7B-5F8B4291E564}" srcOrd="4" destOrd="0" parTransId="{E60EB875-8DE7-483C-BC93-388F2A9709FE}" sibTransId="{8B9E4C69-BF9B-4B9A-BD80-944831447FF2}"/>
    <dgm:cxn modelId="{416628E3-879E-41E4-AB35-FDC336352673}" type="presOf" srcId="{F831478C-E0B0-48C6-A4A5-1917C276FBD6}" destId="{2D5E3A06-7608-427B-8000-20DCF6ED2E43}" srcOrd="1" destOrd="0" presId="urn:microsoft.com/office/officeart/2005/8/layout/process5"/>
    <dgm:cxn modelId="{6FE6A8E4-FA3A-49B6-9901-C9DA34466931}" srcId="{262B9D00-C826-4E11-8429-177F52B13C39}" destId="{2A62AF5F-6435-4364-A72A-478E6CFEE794}" srcOrd="7" destOrd="0" parTransId="{54E1A5CC-FC95-4B5C-8E76-70D09B9F9705}" sibTransId="{5F942606-2424-4829-90AD-5B91C84FC30D}"/>
    <dgm:cxn modelId="{C48AACEA-3A23-48D5-B699-4CE980EAEA3A}" type="presOf" srcId="{1B128018-3255-4C3E-A6F2-B681F04F9947}" destId="{B03BAD51-824A-4B72-B5C9-F4D969B0FE1F}" srcOrd="1" destOrd="0" presId="urn:microsoft.com/office/officeart/2005/8/layout/process5"/>
    <dgm:cxn modelId="{E17DD8EA-AF9B-49B8-9FE5-8D3BE60DC532}" srcId="{262B9D00-C826-4E11-8429-177F52B13C39}" destId="{76611A96-8D89-4ABC-A2D5-6376D1FAA627}" srcOrd="5" destOrd="0" parTransId="{664007BD-9DE2-40B1-A604-17B906DB5D4F}" sibTransId="{3C94571C-248A-4A3D-B20F-21729F420AE2}"/>
    <dgm:cxn modelId="{619F5FEC-FBB8-46CD-9D1F-09E30AAEE83E}" type="presOf" srcId="{1B128018-3255-4C3E-A6F2-B681F04F9947}" destId="{B8D77E6C-9E07-4195-BF67-9B25D7196EAA}" srcOrd="0" destOrd="0" presId="urn:microsoft.com/office/officeart/2005/8/layout/process5"/>
    <dgm:cxn modelId="{E2A43AF9-53FA-4ADA-88A5-FAC0B7DB1532}" srcId="{262B9D00-C826-4E11-8429-177F52B13C39}" destId="{AD54CEA8-5F53-4347-86E7-E38FF30F9C6D}" srcOrd="0" destOrd="0" parTransId="{DE73FDEF-55AF-4C8C-BC8B-D06C900BD70A}" sibTransId="{7687A3FF-D23F-4D53-AB0F-6B1DA8BA7B9C}"/>
    <dgm:cxn modelId="{D8CF3AFA-BFEE-4EBC-921D-50159962186A}" type="presOf" srcId="{B9A78629-975F-4B90-AE96-9E5B92F536AA}" destId="{1DF05F3B-4E23-47B7-9399-FA0B1A3EC9AF}" srcOrd="0" destOrd="0" presId="urn:microsoft.com/office/officeart/2005/8/layout/process5"/>
    <dgm:cxn modelId="{005E3AFC-1DFB-422B-9037-8DBE928EF6AD}" type="presOf" srcId="{310EC75C-E063-4A6D-B708-652AE6A98FFB}" destId="{FB08B26A-8E52-454A-9694-166FDA94A66C}" srcOrd="0" destOrd="0" presId="urn:microsoft.com/office/officeart/2005/8/layout/process5"/>
    <dgm:cxn modelId="{B01F3A65-ADBB-48DE-97E3-5F48C7E86554}" type="presParOf" srcId="{98281E7A-B42B-4A60-8F0A-02FBBE192048}" destId="{01A49A10-DA55-43D2-B848-2A752A4B7FB1}" srcOrd="0" destOrd="0" presId="urn:microsoft.com/office/officeart/2005/8/layout/process5"/>
    <dgm:cxn modelId="{81E04E90-54B0-47F7-AF0B-A11EA97411D7}" type="presParOf" srcId="{98281E7A-B42B-4A60-8F0A-02FBBE192048}" destId="{3877E669-BE62-41BC-9950-13C5D39E30D2}" srcOrd="1" destOrd="0" presId="urn:microsoft.com/office/officeart/2005/8/layout/process5"/>
    <dgm:cxn modelId="{07F3A958-AEE9-40CA-A248-06CDC5518881}" type="presParOf" srcId="{3877E669-BE62-41BC-9950-13C5D39E30D2}" destId="{80702E3B-FA77-4C95-8465-C752588C38FB}" srcOrd="0" destOrd="0" presId="urn:microsoft.com/office/officeart/2005/8/layout/process5"/>
    <dgm:cxn modelId="{D71E5BD5-5AD2-455F-8C8A-90D30554409E}" type="presParOf" srcId="{98281E7A-B42B-4A60-8F0A-02FBBE192048}" destId="{FB08B26A-8E52-454A-9694-166FDA94A66C}" srcOrd="2" destOrd="0" presId="urn:microsoft.com/office/officeart/2005/8/layout/process5"/>
    <dgm:cxn modelId="{06F9B840-DDCB-4307-8B8F-61FFA03D23DB}" type="presParOf" srcId="{98281E7A-B42B-4A60-8F0A-02FBBE192048}" destId="{39A16790-742C-466A-95A4-0BF22E5FCD7A}" srcOrd="3" destOrd="0" presId="urn:microsoft.com/office/officeart/2005/8/layout/process5"/>
    <dgm:cxn modelId="{E7993EB7-7720-49FD-8BDD-DCABFDE715ED}" type="presParOf" srcId="{39A16790-742C-466A-95A4-0BF22E5FCD7A}" destId="{C56007E9-35BB-4D39-9B1A-57F61D92EDEB}" srcOrd="0" destOrd="0" presId="urn:microsoft.com/office/officeart/2005/8/layout/process5"/>
    <dgm:cxn modelId="{253CB756-F99C-4A08-A30E-86C342619DF2}" type="presParOf" srcId="{98281E7A-B42B-4A60-8F0A-02FBBE192048}" destId="{7D12FF1B-AFF2-41BF-A1B9-96394947895C}" srcOrd="4" destOrd="0" presId="urn:microsoft.com/office/officeart/2005/8/layout/process5"/>
    <dgm:cxn modelId="{085E34C9-D9BD-46C1-B2BA-9306406E623E}" type="presParOf" srcId="{98281E7A-B42B-4A60-8F0A-02FBBE192048}" destId="{B8D77E6C-9E07-4195-BF67-9B25D7196EAA}" srcOrd="5" destOrd="0" presId="urn:microsoft.com/office/officeart/2005/8/layout/process5"/>
    <dgm:cxn modelId="{6D823778-B6DE-452F-949A-A32E7CB5031D}" type="presParOf" srcId="{B8D77E6C-9E07-4195-BF67-9B25D7196EAA}" destId="{B03BAD51-824A-4B72-B5C9-F4D969B0FE1F}" srcOrd="0" destOrd="0" presId="urn:microsoft.com/office/officeart/2005/8/layout/process5"/>
    <dgm:cxn modelId="{F92A2B6C-6727-4E65-BE93-495746BE308A}" type="presParOf" srcId="{98281E7A-B42B-4A60-8F0A-02FBBE192048}" destId="{2B6E1E24-A7FA-4049-86FC-9D12842052E7}" srcOrd="6" destOrd="0" presId="urn:microsoft.com/office/officeart/2005/8/layout/process5"/>
    <dgm:cxn modelId="{AEED268E-D436-4408-9F60-4551E9D84E39}" type="presParOf" srcId="{98281E7A-B42B-4A60-8F0A-02FBBE192048}" destId="{1DF05F3B-4E23-47B7-9399-FA0B1A3EC9AF}" srcOrd="7" destOrd="0" presId="urn:microsoft.com/office/officeart/2005/8/layout/process5"/>
    <dgm:cxn modelId="{A0C88DF6-2DCF-4F55-B12E-095369522B61}" type="presParOf" srcId="{1DF05F3B-4E23-47B7-9399-FA0B1A3EC9AF}" destId="{16836755-55F7-4A1E-8705-055A4D230720}" srcOrd="0" destOrd="0" presId="urn:microsoft.com/office/officeart/2005/8/layout/process5"/>
    <dgm:cxn modelId="{11CD0B7E-F1D3-4DFE-9C2B-318AF4BFDEA3}" type="presParOf" srcId="{98281E7A-B42B-4A60-8F0A-02FBBE192048}" destId="{C53C5ED3-16AC-4B3F-9B93-D856278E85E8}" srcOrd="8" destOrd="0" presId="urn:microsoft.com/office/officeart/2005/8/layout/process5"/>
    <dgm:cxn modelId="{A285C4E0-3A59-4F14-8216-5B461D44CDE1}" type="presParOf" srcId="{98281E7A-B42B-4A60-8F0A-02FBBE192048}" destId="{B98488BD-C1A4-477A-8CF9-A79D8E5107F2}" srcOrd="9" destOrd="0" presId="urn:microsoft.com/office/officeart/2005/8/layout/process5"/>
    <dgm:cxn modelId="{7C234511-6D92-4C30-8F36-7BC11B075B65}" type="presParOf" srcId="{B98488BD-C1A4-477A-8CF9-A79D8E5107F2}" destId="{5033852B-6252-4BC2-BA8A-939A6D79CE68}" srcOrd="0" destOrd="0" presId="urn:microsoft.com/office/officeart/2005/8/layout/process5"/>
    <dgm:cxn modelId="{6A996828-E7D1-4CD5-9BB4-5C46B11B4E07}" type="presParOf" srcId="{98281E7A-B42B-4A60-8F0A-02FBBE192048}" destId="{519EAD41-65A7-4AAB-AFFA-DCC2B68A3AFF}" srcOrd="10" destOrd="0" presId="urn:microsoft.com/office/officeart/2005/8/layout/process5"/>
    <dgm:cxn modelId="{B8861F75-11D4-4735-A317-F593E7AF215A}" type="presParOf" srcId="{98281E7A-B42B-4A60-8F0A-02FBBE192048}" destId="{3FF3E634-1966-415E-85D5-38A897C4E7E3}" srcOrd="11" destOrd="0" presId="urn:microsoft.com/office/officeart/2005/8/layout/process5"/>
    <dgm:cxn modelId="{503DFEE3-97DE-4FAC-8EA0-91611667747F}" type="presParOf" srcId="{3FF3E634-1966-415E-85D5-38A897C4E7E3}" destId="{73F9BE4E-A25B-4D57-B8A1-8D52E04917B6}" srcOrd="0" destOrd="0" presId="urn:microsoft.com/office/officeart/2005/8/layout/process5"/>
    <dgm:cxn modelId="{9B16A225-84AE-4952-A84D-FC20D78B7D74}" type="presParOf" srcId="{98281E7A-B42B-4A60-8F0A-02FBBE192048}" destId="{10DF5648-7416-434C-8BC3-0F92F96B97CB}" srcOrd="12" destOrd="0" presId="urn:microsoft.com/office/officeart/2005/8/layout/process5"/>
    <dgm:cxn modelId="{7184791B-FCD3-4E46-9246-F02B157AF675}" type="presParOf" srcId="{98281E7A-B42B-4A60-8F0A-02FBBE192048}" destId="{7848B252-526A-4E26-936C-C9CCF666F5DE}" srcOrd="13" destOrd="0" presId="urn:microsoft.com/office/officeart/2005/8/layout/process5"/>
    <dgm:cxn modelId="{E6776661-FBAD-4AEF-84EE-E9263D38D0DE}" type="presParOf" srcId="{7848B252-526A-4E26-936C-C9CCF666F5DE}" destId="{036AA6AD-A8A4-4086-BC2C-1512CC873A0D}" srcOrd="0" destOrd="0" presId="urn:microsoft.com/office/officeart/2005/8/layout/process5"/>
    <dgm:cxn modelId="{4005C31D-FBF4-4918-A1C1-9B6A7C2B1F04}" type="presParOf" srcId="{98281E7A-B42B-4A60-8F0A-02FBBE192048}" destId="{6D3AEE44-43FD-48EE-8CF1-7C4499C3371A}" srcOrd="14" destOrd="0" presId="urn:microsoft.com/office/officeart/2005/8/layout/process5"/>
    <dgm:cxn modelId="{1B0CEB6F-1686-4E86-BB99-E3980651F369}" type="presParOf" srcId="{98281E7A-B42B-4A60-8F0A-02FBBE192048}" destId="{D5F72D01-FAD7-4120-AE83-1A0F208ED1F8}" srcOrd="15" destOrd="0" presId="urn:microsoft.com/office/officeart/2005/8/layout/process5"/>
    <dgm:cxn modelId="{4A113B46-D21D-4322-89C8-514BB6BC88C6}" type="presParOf" srcId="{D5F72D01-FAD7-4120-AE83-1A0F208ED1F8}" destId="{AABABA15-70F9-4FFF-A43F-542ACDA84C22}" srcOrd="0" destOrd="0" presId="urn:microsoft.com/office/officeart/2005/8/layout/process5"/>
    <dgm:cxn modelId="{2FFE67A2-1FC9-4996-B157-42B5BFBC9272}" type="presParOf" srcId="{98281E7A-B42B-4A60-8F0A-02FBBE192048}" destId="{BF16CC55-EE22-4FA0-B744-3C75ED0CDFB9}" srcOrd="16" destOrd="0" presId="urn:microsoft.com/office/officeart/2005/8/layout/process5"/>
    <dgm:cxn modelId="{CC8957F8-DE75-4557-9FCB-80B172519300}" type="presParOf" srcId="{98281E7A-B42B-4A60-8F0A-02FBBE192048}" destId="{316B0C22-5E1F-47C4-ABDB-F0D776289AB1}" srcOrd="17" destOrd="0" presId="urn:microsoft.com/office/officeart/2005/8/layout/process5"/>
    <dgm:cxn modelId="{1C5F131C-7863-4B72-BCA3-E7ACE3BDA77E}" type="presParOf" srcId="{316B0C22-5E1F-47C4-ABDB-F0D776289AB1}" destId="{6741C56C-4C87-4BA4-8853-C720F6210EC5}" srcOrd="0" destOrd="0" presId="urn:microsoft.com/office/officeart/2005/8/layout/process5"/>
    <dgm:cxn modelId="{E1B4F845-2212-4A0C-BBA6-FF2FD03D628F}" type="presParOf" srcId="{98281E7A-B42B-4A60-8F0A-02FBBE192048}" destId="{7D66EB39-461E-4387-864C-3DC4290864AF}" srcOrd="18" destOrd="0" presId="urn:microsoft.com/office/officeart/2005/8/layout/process5"/>
    <dgm:cxn modelId="{E0C6445E-7445-4A29-8405-2A8A417C7591}" type="presParOf" srcId="{98281E7A-B42B-4A60-8F0A-02FBBE192048}" destId="{9733039C-BA0A-4FD7-AF5B-4CA33D23A3BE}" srcOrd="19" destOrd="0" presId="urn:microsoft.com/office/officeart/2005/8/layout/process5"/>
    <dgm:cxn modelId="{240AB12F-3436-493D-84EE-AE7A88B30C67}" type="presParOf" srcId="{9733039C-BA0A-4FD7-AF5B-4CA33D23A3BE}" destId="{2D5E3A06-7608-427B-8000-20DCF6ED2E43}" srcOrd="0" destOrd="0" presId="urn:microsoft.com/office/officeart/2005/8/layout/process5"/>
    <dgm:cxn modelId="{94BE0A37-8B5E-4F6E-A1CC-D19F66204624}" type="presParOf" srcId="{98281E7A-B42B-4A60-8F0A-02FBBE192048}" destId="{1E8F4112-35A4-4295-87F4-B72985AE28CB}" srcOrd="20" destOrd="0" presId="urn:microsoft.com/office/officeart/2005/8/layout/process5"/>
    <dgm:cxn modelId="{F6E3ACF1-AC7D-43A8-8D03-9CBC0F6BAB38}" type="presParOf" srcId="{98281E7A-B42B-4A60-8F0A-02FBBE192048}" destId="{42BA764D-ECD5-4996-9C44-8A0A5F19889D}" srcOrd="21" destOrd="0" presId="urn:microsoft.com/office/officeart/2005/8/layout/process5"/>
    <dgm:cxn modelId="{0F6F27DC-7AED-415F-9074-4377C257E0DA}" type="presParOf" srcId="{42BA764D-ECD5-4996-9C44-8A0A5F19889D}" destId="{8D66E80D-3792-44A1-A555-C859786D3F71}" srcOrd="0" destOrd="0" presId="urn:microsoft.com/office/officeart/2005/8/layout/process5"/>
    <dgm:cxn modelId="{57E7EBE4-D78C-4DE4-B7B0-9722C5FEBE8F}" type="presParOf" srcId="{98281E7A-B42B-4A60-8F0A-02FBBE192048}" destId="{40DA85B8-AB36-40AB-8A67-B0700BBA8244}" srcOrd="22" destOrd="0" presId="urn:microsoft.com/office/officeart/2005/8/layout/process5"/>
    <dgm:cxn modelId="{B34432BF-949F-437F-9346-D628CCB78461}" type="presParOf" srcId="{98281E7A-B42B-4A60-8F0A-02FBBE192048}" destId="{0E8071CD-006C-4360-B296-0E1A84EE250A}" srcOrd="23" destOrd="0" presId="urn:microsoft.com/office/officeart/2005/8/layout/process5"/>
    <dgm:cxn modelId="{B4515435-36CC-43A2-A95D-F96EFE122CDF}" type="presParOf" srcId="{0E8071CD-006C-4360-B296-0E1A84EE250A}" destId="{64E4E5A8-D687-4A18-989B-51516A068551}" srcOrd="0" destOrd="0" presId="urn:microsoft.com/office/officeart/2005/8/layout/process5"/>
    <dgm:cxn modelId="{738A6277-F6F5-424E-A32B-2E9137CE203E}" type="presParOf" srcId="{98281E7A-B42B-4A60-8F0A-02FBBE192048}" destId="{B3269C98-FE39-4934-95BE-9C10E0C6B355}" srcOrd="24" destOrd="0" presId="urn:microsoft.com/office/officeart/2005/8/layout/process5"/>
    <dgm:cxn modelId="{94E809F9-4C0A-43C7-967B-E4149B057A62}" type="presParOf" srcId="{98281E7A-B42B-4A60-8F0A-02FBBE192048}" destId="{F7B36BAE-25BD-4995-A0A7-28D989B3241F}" srcOrd="25" destOrd="0" presId="urn:microsoft.com/office/officeart/2005/8/layout/process5"/>
    <dgm:cxn modelId="{D5841965-389B-4340-B586-FBD08BC252CF}" type="presParOf" srcId="{F7B36BAE-25BD-4995-A0A7-28D989B3241F}" destId="{482961E6-2364-4DBB-9811-136E81958C03}" srcOrd="0" destOrd="0" presId="urn:microsoft.com/office/officeart/2005/8/layout/process5"/>
    <dgm:cxn modelId="{1D644776-7457-4678-BAD9-971148AB7029}" type="presParOf" srcId="{98281E7A-B42B-4A60-8F0A-02FBBE192048}" destId="{8534CBB5-8797-46BC-A736-3AC7DDECF8A2}" srcOrd="2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A49A10-DA55-43D2-B848-2A752A4B7FB1}">
      <dsp:nvSpPr>
        <dsp:cNvPr id="0" name=""/>
        <dsp:cNvSpPr/>
      </dsp:nvSpPr>
      <dsp:spPr>
        <a:xfrm>
          <a:off x="5115" y="647911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Akses</a:t>
          </a:r>
          <a:r>
            <a:rPr lang="en-US" sz="1400" kern="1200" dirty="0"/>
            <a:t> Portal </a:t>
          </a:r>
          <a:r>
            <a:rPr lang="en-US" sz="1400" kern="1200" dirty="0" err="1"/>
            <a:t>Perizinan</a:t>
          </a:r>
          <a:r>
            <a:rPr lang="en-US" sz="1400" kern="1200" dirty="0"/>
            <a:t> PUPR</a:t>
          </a:r>
          <a:endParaRPr lang="id-ID" sz="1400" kern="1200" dirty="0"/>
        </a:p>
      </dsp:txBody>
      <dsp:txXfrm>
        <a:off x="32981" y="675777"/>
        <a:ext cx="1529977" cy="895693"/>
      </dsp:txXfrm>
    </dsp:sp>
    <dsp:sp modelId="{3877E669-BE62-41BC-9950-13C5D39E30D2}">
      <dsp:nvSpPr>
        <dsp:cNvPr id="0" name=""/>
        <dsp:cNvSpPr/>
      </dsp:nvSpPr>
      <dsp:spPr>
        <a:xfrm rot="8930">
          <a:off x="1731908" y="929863"/>
          <a:ext cx="339886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>
        <a:off x="1731908" y="1008382"/>
        <a:ext cx="237920" cy="235953"/>
      </dsp:txXfrm>
    </dsp:sp>
    <dsp:sp modelId="{FB08B26A-8E52-454A-9694-166FDA94A66C}">
      <dsp:nvSpPr>
        <dsp:cNvPr id="0" name=""/>
        <dsp:cNvSpPr/>
      </dsp:nvSpPr>
      <dsp:spPr>
        <a:xfrm>
          <a:off x="2232117" y="653695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Registrasi</a:t>
          </a:r>
          <a:r>
            <a:rPr lang="en-US" sz="1400" kern="1200" dirty="0"/>
            <a:t> </a:t>
          </a:r>
          <a:r>
            <a:rPr lang="en-US" sz="1400" kern="1200" dirty="0" err="1"/>
            <a:t>Akun</a:t>
          </a:r>
          <a:r>
            <a:rPr lang="en-US" sz="1400" kern="1200" dirty="0"/>
            <a:t> SKK-K</a:t>
          </a:r>
          <a:endParaRPr lang="id-ID" sz="1400" kern="1200" dirty="0"/>
        </a:p>
      </dsp:txBody>
      <dsp:txXfrm>
        <a:off x="2259983" y="681561"/>
        <a:ext cx="1529977" cy="895693"/>
      </dsp:txXfrm>
    </dsp:sp>
    <dsp:sp modelId="{39A16790-742C-466A-95A4-0BF22E5FCD7A}">
      <dsp:nvSpPr>
        <dsp:cNvPr id="0" name=""/>
        <dsp:cNvSpPr/>
      </dsp:nvSpPr>
      <dsp:spPr>
        <a:xfrm rot="21591014">
          <a:off x="3864617" y="946504"/>
          <a:ext cx="332456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>
        <a:off x="3864617" y="1025285"/>
        <a:ext cx="232719" cy="235953"/>
      </dsp:txXfrm>
    </dsp:sp>
    <dsp:sp modelId="{7D12FF1B-AFF2-41BF-A1B9-96394947895C}">
      <dsp:nvSpPr>
        <dsp:cNvPr id="0" name=""/>
        <dsp:cNvSpPr/>
      </dsp:nvSpPr>
      <dsp:spPr>
        <a:xfrm>
          <a:off x="4445101" y="647911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Login </a:t>
          </a:r>
          <a:r>
            <a:rPr lang="en-US" sz="1400" kern="1200" dirty="0" err="1"/>
            <a:t>dengan</a:t>
          </a:r>
          <a:r>
            <a:rPr lang="en-US" sz="1400" kern="1200" dirty="0"/>
            <a:t> </a:t>
          </a:r>
          <a:r>
            <a:rPr lang="en-US" sz="1400" kern="1200" dirty="0" err="1"/>
            <a:t>akun</a:t>
          </a:r>
          <a:r>
            <a:rPr lang="en-US" sz="1400" kern="1200" dirty="0"/>
            <a:t> </a:t>
          </a:r>
          <a:r>
            <a:rPr lang="en-US" sz="1400" kern="1200" dirty="0" err="1"/>
            <a:t>yg</a:t>
          </a:r>
          <a:r>
            <a:rPr lang="en-US" sz="1400" kern="1200" dirty="0"/>
            <a:t> </a:t>
          </a:r>
          <a:r>
            <a:rPr lang="en-US" sz="1400" kern="1200" dirty="0" err="1"/>
            <a:t>dikirim</a:t>
          </a:r>
          <a:r>
            <a:rPr lang="en-US" sz="1400" kern="1200" dirty="0"/>
            <a:t> </a:t>
          </a:r>
          <a:r>
            <a:rPr lang="en-US" sz="1400" kern="1200" dirty="0" err="1"/>
            <a:t>melalui</a:t>
          </a:r>
          <a:r>
            <a:rPr lang="en-US" sz="1400" kern="1200" dirty="0"/>
            <a:t> Email</a:t>
          </a:r>
          <a:endParaRPr lang="id-ID" sz="1400" kern="1200" dirty="0"/>
        </a:p>
      </dsp:txBody>
      <dsp:txXfrm>
        <a:off x="4472967" y="675777"/>
        <a:ext cx="1529977" cy="895693"/>
      </dsp:txXfrm>
    </dsp:sp>
    <dsp:sp modelId="{B8D77E6C-9E07-4195-BF67-9B25D7196EAA}">
      <dsp:nvSpPr>
        <dsp:cNvPr id="0" name=""/>
        <dsp:cNvSpPr/>
      </dsp:nvSpPr>
      <dsp:spPr>
        <a:xfrm>
          <a:off x="6042094" y="898107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D" sz="1100" kern="1200"/>
        </a:p>
      </dsp:txBody>
      <dsp:txXfrm>
        <a:off x="6042094" y="976758"/>
        <a:ext cx="235319" cy="235953"/>
      </dsp:txXfrm>
    </dsp:sp>
    <dsp:sp modelId="{2B6E1E24-A7FA-4049-86FC-9D12842052E7}">
      <dsp:nvSpPr>
        <dsp:cNvPr id="0" name=""/>
        <dsp:cNvSpPr/>
      </dsp:nvSpPr>
      <dsp:spPr>
        <a:xfrm>
          <a:off x="6665095" y="647911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ermohonan</a:t>
          </a:r>
          <a:r>
            <a:rPr lang="en-US" sz="1400" kern="1200" dirty="0"/>
            <a:t> SKK</a:t>
          </a:r>
          <a:endParaRPr lang="id-ID" sz="1400" kern="1200" dirty="0"/>
        </a:p>
      </dsp:txBody>
      <dsp:txXfrm>
        <a:off x="6692961" y="675777"/>
        <a:ext cx="1529977" cy="895693"/>
      </dsp:txXfrm>
    </dsp:sp>
    <dsp:sp modelId="{1DF05F3B-4E23-47B7-9399-FA0B1A3EC9AF}">
      <dsp:nvSpPr>
        <dsp:cNvPr id="0" name=""/>
        <dsp:cNvSpPr/>
      </dsp:nvSpPr>
      <dsp:spPr>
        <a:xfrm>
          <a:off x="8390346" y="926996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>
        <a:off x="8390346" y="1005647"/>
        <a:ext cx="235319" cy="235953"/>
      </dsp:txXfrm>
    </dsp:sp>
    <dsp:sp modelId="{C53C5ED3-16AC-4B3F-9B93-D856278E85E8}">
      <dsp:nvSpPr>
        <dsp:cNvPr id="0" name=""/>
        <dsp:cNvSpPr/>
      </dsp:nvSpPr>
      <dsp:spPr>
        <a:xfrm>
          <a:off x="8885088" y="647911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engisian</a:t>
          </a:r>
          <a:r>
            <a:rPr lang="en-US" sz="1400" kern="1200" dirty="0"/>
            <a:t> Data Personal dan </a:t>
          </a:r>
          <a:r>
            <a:rPr lang="en-US" sz="1400" kern="1200" dirty="0" err="1"/>
            <a:t>Persyaratan</a:t>
          </a:r>
          <a:endParaRPr lang="id-ID" sz="1400" kern="1200" dirty="0"/>
        </a:p>
      </dsp:txBody>
      <dsp:txXfrm>
        <a:off x="8912954" y="675777"/>
        <a:ext cx="1529977" cy="895693"/>
      </dsp:txXfrm>
    </dsp:sp>
    <dsp:sp modelId="{B98488BD-C1A4-477A-8CF9-A79D8E5107F2}">
      <dsp:nvSpPr>
        <dsp:cNvPr id="0" name=""/>
        <dsp:cNvSpPr/>
      </dsp:nvSpPr>
      <dsp:spPr>
        <a:xfrm rot="5400000">
          <a:off x="9549418" y="1748403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 rot="-5400000">
        <a:off x="9599527" y="1776946"/>
        <a:ext cx="235953" cy="235319"/>
      </dsp:txXfrm>
    </dsp:sp>
    <dsp:sp modelId="{519EAD41-65A7-4AAB-AFFA-DCC2B68A3AFF}">
      <dsp:nvSpPr>
        <dsp:cNvPr id="0" name=""/>
        <dsp:cNvSpPr/>
      </dsp:nvSpPr>
      <dsp:spPr>
        <a:xfrm>
          <a:off x="8885088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Mendapatkan</a:t>
          </a:r>
          <a:endParaRPr lang="en-US" sz="1400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D-</a:t>
          </a:r>
          <a:r>
            <a:rPr lang="en-US" sz="1400" kern="1200" dirty="0" err="1"/>
            <a:t>Izin</a:t>
          </a:r>
          <a:endParaRPr lang="en-US" sz="1400" kern="1200" dirty="0"/>
        </a:p>
      </dsp:txBody>
      <dsp:txXfrm>
        <a:off x="8912954" y="2261486"/>
        <a:ext cx="1529977" cy="895693"/>
      </dsp:txXfrm>
    </dsp:sp>
    <dsp:sp modelId="{3FF3E634-1966-415E-85D5-38A897C4E7E3}">
      <dsp:nvSpPr>
        <dsp:cNvPr id="0" name=""/>
        <dsp:cNvSpPr/>
      </dsp:nvSpPr>
      <dsp:spPr>
        <a:xfrm rot="10800000">
          <a:off x="8509954" y="2489648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 rot="10800000">
        <a:off x="8610805" y="2568299"/>
        <a:ext cx="235319" cy="235953"/>
      </dsp:txXfrm>
    </dsp:sp>
    <dsp:sp modelId="{10DF5648-7416-434C-8BC3-0F92F96B97CB}">
      <dsp:nvSpPr>
        <dsp:cNvPr id="0" name=""/>
        <dsp:cNvSpPr/>
      </dsp:nvSpPr>
      <dsp:spPr>
        <a:xfrm>
          <a:off x="6665095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ermohonan</a:t>
          </a:r>
          <a:r>
            <a:rPr lang="en-US" sz="1400" kern="1200" dirty="0"/>
            <a:t> </a:t>
          </a:r>
          <a:r>
            <a:rPr lang="en-US" sz="1400" kern="1200" dirty="0" err="1"/>
            <a:t>Diterima</a:t>
          </a:r>
          <a:r>
            <a:rPr lang="en-US" sz="1400" kern="1200" dirty="0"/>
            <a:t> LSP</a:t>
          </a:r>
        </a:p>
      </dsp:txBody>
      <dsp:txXfrm>
        <a:off x="6692961" y="2261486"/>
        <a:ext cx="1529977" cy="895693"/>
      </dsp:txXfrm>
    </dsp:sp>
    <dsp:sp modelId="{7848B252-526A-4E26-936C-C9CCF666F5DE}">
      <dsp:nvSpPr>
        <dsp:cNvPr id="0" name=""/>
        <dsp:cNvSpPr/>
      </dsp:nvSpPr>
      <dsp:spPr>
        <a:xfrm rot="10800000">
          <a:off x="6252659" y="2511789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 rot="10800000">
        <a:off x="6353510" y="2590440"/>
        <a:ext cx="235319" cy="235953"/>
      </dsp:txXfrm>
    </dsp:sp>
    <dsp:sp modelId="{6D3AEE44-43FD-48EE-8CF1-7C4499C3371A}">
      <dsp:nvSpPr>
        <dsp:cNvPr id="0" name=""/>
        <dsp:cNvSpPr/>
      </dsp:nvSpPr>
      <dsp:spPr>
        <a:xfrm>
          <a:off x="4445101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Verifikasi</a:t>
          </a:r>
          <a:r>
            <a:rPr lang="en-US" sz="1400" kern="1200" dirty="0"/>
            <a:t> </a:t>
          </a:r>
          <a:r>
            <a:rPr lang="en-US" sz="1400" kern="1200" dirty="0" err="1"/>
            <a:t>Kelengkapan</a:t>
          </a:r>
          <a:endParaRPr lang="en-US" sz="1400" kern="1200" dirty="0"/>
        </a:p>
      </dsp:txBody>
      <dsp:txXfrm>
        <a:off x="4472967" y="2261486"/>
        <a:ext cx="1529977" cy="895693"/>
      </dsp:txXfrm>
    </dsp:sp>
    <dsp:sp modelId="{D5F72D01-FAD7-4120-AE83-1A0F208ED1F8}">
      <dsp:nvSpPr>
        <dsp:cNvPr id="0" name=""/>
        <dsp:cNvSpPr/>
      </dsp:nvSpPr>
      <dsp:spPr>
        <a:xfrm rot="10800000">
          <a:off x="4042290" y="2520417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 rot="10800000">
        <a:off x="4143141" y="2599068"/>
        <a:ext cx="235319" cy="235953"/>
      </dsp:txXfrm>
    </dsp:sp>
    <dsp:sp modelId="{BF16CC55-EE22-4FA0-B744-3C75ED0CDFB9}">
      <dsp:nvSpPr>
        <dsp:cNvPr id="0" name=""/>
        <dsp:cNvSpPr/>
      </dsp:nvSpPr>
      <dsp:spPr>
        <a:xfrm>
          <a:off x="2225108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embayaran</a:t>
          </a:r>
          <a:endParaRPr lang="en-US" sz="1400" kern="1200" dirty="0"/>
        </a:p>
      </dsp:txBody>
      <dsp:txXfrm>
        <a:off x="2252974" y="2261486"/>
        <a:ext cx="1529977" cy="895693"/>
      </dsp:txXfrm>
    </dsp:sp>
    <dsp:sp modelId="{316B0C22-5E1F-47C4-ABDB-F0D776289AB1}">
      <dsp:nvSpPr>
        <dsp:cNvPr id="0" name=""/>
        <dsp:cNvSpPr/>
      </dsp:nvSpPr>
      <dsp:spPr>
        <a:xfrm rot="10800000">
          <a:off x="1749395" y="2512705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 rot="10800000">
        <a:off x="1850246" y="2591356"/>
        <a:ext cx="235319" cy="235953"/>
      </dsp:txXfrm>
    </dsp:sp>
    <dsp:sp modelId="{7D66EB39-461E-4387-864C-3DC4290864AF}">
      <dsp:nvSpPr>
        <dsp:cNvPr id="0" name=""/>
        <dsp:cNvSpPr/>
      </dsp:nvSpPr>
      <dsp:spPr>
        <a:xfrm>
          <a:off x="5115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Uji </a:t>
          </a:r>
          <a:r>
            <a:rPr lang="en-US" sz="1400" kern="1200" dirty="0" err="1"/>
            <a:t>Kompetensi</a:t>
          </a:r>
          <a:endParaRPr lang="en-US" sz="1400" kern="1200" dirty="0"/>
        </a:p>
      </dsp:txBody>
      <dsp:txXfrm>
        <a:off x="32981" y="2261486"/>
        <a:ext cx="1529977" cy="895693"/>
      </dsp:txXfrm>
    </dsp:sp>
    <dsp:sp modelId="{9733039C-BA0A-4FD7-AF5B-4CA33D23A3BE}">
      <dsp:nvSpPr>
        <dsp:cNvPr id="0" name=""/>
        <dsp:cNvSpPr/>
      </dsp:nvSpPr>
      <dsp:spPr>
        <a:xfrm rot="5400000">
          <a:off x="629884" y="3296046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 rot="-5400000">
        <a:off x="679993" y="3324589"/>
        <a:ext cx="235953" cy="235319"/>
      </dsp:txXfrm>
    </dsp:sp>
    <dsp:sp modelId="{1E8F4112-35A4-4295-87F4-B72985AE28CB}">
      <dsp:nvSpPr>
        <dsp:cNvPr id="0" name=""/>
        <dsp:cNvSpPr/>
      </dsp:nvSpPr>
      <dsp:spPr>
        <a:xfrm>
          <a:off x="5115" y="381933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enetapan</a:t>
          </a:r>
          <a:r>
            <a:rPr lang="en-US" sz="1400" kern="1200" dirty="0"/>
            <a:t> Hasil Uji </a:t>
          </a:r>
          <a:r>
            <a:rPr lang="en-US" sz="1400" kern="1200" dirty="0" err="1"/>
            <a:t>Kompetensi</a:t>
          </a:r>
          <a:r>
            <a:rPr lang="en-US" sz="1400" kern="1200" dirty="0"/>
            <a:t> oleh </a:t>
          </a:r>
          <a:r>
            <a:rPr lang="en-US" sz="1400" kern="1200" dirty="0" err="1"/>
            <a:t>Komite</a:t>
          </a:r>
          <a:r>
            <a:rPr lang="en-US" sz="1400" kern="1200" dirty="0"/>
            <a:t> Teknis</a:t>
          </a:r>
        </a:p>
      </dsp:txBody>
      <dsp:txXfrm>
        <a:off x="32981" y="3847196"/>
        <a:ext cx="1529977" cy="895693"/>
      </dsp:txXfrm>
    </dsp:sp>
    <dsp:sp modelId="{42BA764D-ECD5-4996-9C44-8A0A5F19889D}">
      <dsp:nvSpPr>
        <dsp:cNvPr id="0" name=""/>
        <dsp:cNvSpPr/>
      </dsp:nvSpPr>
      <dsp:spPr>
        <a:xfrm>
          <a:off x="1659324" y="4088131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>
        <a:off x="1659324" y="4166782"/>
        <a:ext cx="235319" cy="235953"/>
      </dsp:txXfrm>
    </dsp:sp>
    <dsp:sp modelId="{40DA85B8-AB36-40AB-8A67-B0700BBA8244}">
      <dsp:nvSpPr>
        <dsp:cNvPr id="0" name=""/>
        <dsp:cNvSpPr/>
      </dsp:nvSpPr>
      <dsp:spPr>
        <a:xfrm>
          <a:off x="2225108" y="3903930"/>
          <a:ext cx="1585709" cy="78222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encatatan</a:t>
          </a:r>
          <a:endParaRPr lang="en-US" sz="1400" kern="1200" dirty="0"/>
        </a:p>
      </dsp:txBody>
      <dsp:txXfrm>
        <a:off x="2248019" y="3926841"/>
        <a:ext cx="1539887" cy="736402"/>
      </dsp:txXfrm>
    </dsp:sp>
    <dsp:sp modelId="{0E8071CD-006C-4360-B296-0E1A84EE250A}">
      <dsp:nvSpPr>
        <dsp:cNvPr id="0" name=""/>
        <dsp:cNvSpPr/>
      </dsp:nvSpPr>
      <dsp:spPr>
        <a:xfrm>
          <a:off x="3909324" y="4097911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>
        <a:off x="3909324" y="4176562"/>
        <a:ext cx="235319" cy="235953"/>
      </dsp:txXfrm>
    </dsp:sp>
    <dsp:sp modelId="{B3269C98-FE39-4934-95BE-9C10E0C6B355}">
      <dsp:nvSpPr>
        <dsp:cNvPr id="0" name=""/>
        <dsp:cNvSpPr/>
      </dsp:nvSpPr>
      <dsp:spPr>
        <a:xfrm>
          <a:off x="4445101" y="381933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enerbitan</a:t>
          </a:r>
          <a:r>
            <a:rPr lang="en-US" sz="1400" kern="1200" dirty="0"/>
            <a:t> SKK-K </a:t>
          </a:r>
          <a:r>
            <a:rPr lang="en-US" sz="1400" kern="1200" dirty="0" err="1"/>
            <a:t>elektronik</a:t>
          </a:r>
          <a:endParaRPr lang="en-US" sz="1400" kern="1200" dirty="0"/>
        </a:p>
      </dsp:txBody>
      <dsp:txXfrm>
        <a:off x="4472967" y="3847196"/>
        <a:ext cx="1529977" cy="895693"/>
      </dsp:txXfrm>
    </dsp:sp>
    <dsp:sp modelId="{F7B36BAE-25BD-4995-A0A7-28D989B3241F}">
      <dsp:nvSpPr>
        <dsp:cNvPr id="0" name=""/>
        <dsp:cNvSpPr/>
      </dsp:nvSpPr>
      <dsp:spPr>
        <a:xfrm>
          <a:off x="6107022" y="4097911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d-ID" sz="1100" kern="1200"/>
        </a:p>
      </dsp:txBody>
      <dsp:txXfrm>
        <a:off x="6107022" y="4176562"/>
        <a:ext cx="235319" cy="235953"/>
      </dsp:txXfrm>
    </dsp:sp>
    <dsp:sp modelId="{8534CBB5-8797-46BC-A736-3AC7DDECF8A2}">
      <dsp:nvSpPr>
        <dsp:cNvPr id="0" name=""/>
        <dsp:cNvSpPr/>
      </dsp:nvSpPr>
      <dsp:spPr>
        <a:xfrm>
          <a:off x="6665095" y="381933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KK-K </a:t>
          </a:r>
          <a:r>
            <a:rPr lang="en-US" sz="1400" kern="1200" dirty="0" err="1"/>
            <a:t>elektronik</a:t>
          </a:r>
          <a:r>
            <a:rPr lang="en-US" sz="1400" kern="1200" dirty="0"/>
            <a:t> </a:t>
          </a:r>
          <a:r>
            <a:rPr lang="en-US" sz="1400" kern="1200" dirty="0" err="1"/>
            <a:t>diterima</a:t>
          </a:r>
          <a:r>
            <a:rPr lang="en-US" sz="1400" kern="1200" dirty="0"/>
            <a:t> </a:t>
          </a:r>
          <a:r>
            <a:rPr lang="en-US" sz="1400" kern="1200" dirty="0" err="1"/>
            <a:t>melalui</a:t>
          </a:r>
          <a:r>
            <a:rPr lang="en-US" sz="1400" kern="1200" dirty="0"/>
            <a:t> Portal </a:t>
          </a:r>
          <a:r>
            <a:rPr lang="en-US" sz="1400" kern="1200" dirty="0" err="1"/>
            <a:t>Perizinan</a:t>
          </a:r>
          <a:r>
            <a:rPr lang="en-US" sz="1400" kern="1200" dirty="0"/>
            <a:t> PUPR</a:t>
          </a:r>
        </a:p>
      </dsp:txBody>
      <dsp:txXfrm>
        <a:off x="6692961" y="3847196"/>
        <a:ext cx="1529977" cy="8956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AC622A-80B7-4DD3-B804-28CB88F0F5C0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F807B3-137D-471A-9DC4-D17064A5FB3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07707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F807B3-137D-471A-9DC4-D17064A5FB32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16482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8ECE837E-594B-4F0F-92F5-F20D4296AC5C}" type="slidenum">
              <a:rPr lang="en-ID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14</a:t>
            </a:fld>
            <a:endParaRPr lang="en-ID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930047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8ECE837E-594B-4F0F-92F5-F20D4296AC5C}" type="slidenum">
              <a:rPr lang="en-ID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15</a:t>
            </a:fld>
            <a:endParaRPr lang="en-ID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7114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5F2011-6CC3-47D1-871E-860773AD2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7CB2F9-37BE-D61D-D721-7E20463F55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DDE013-23E1-CEFD-7875-C2DD9D295E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CC1E18-B1E7-7F38-27C5-6B897A0935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8ECE837E-594B-4F0F-92F5-F20D4296AC5C}" type="slidenum">
              <a:rPr lang="en-ID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16</a:t>
            </a:fld>
            <a:endParaRPr lang="en-ID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947203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F807B3-137D-471A-9DC4-D17064A5FB32}" type="slidenum">
              <a:rPr lang="en-ID" smtClean="0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110775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8ECE837E-594B-4F0F-92F5-F20D4296AC5C}" type="slidenum">
              <a:rPr lang="en-ID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19</a:t>
            </a:fld>
            <a:endParaRPr lang="en-ID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785579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8ECE837E-594B-4F0F-92F5-F20D4296AC5C}" type="slidenum">
              <a:rPr lang="en-ID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20</a:t>
            </a:fld>
            <a:endParaRPr lang="en-ID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166640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F807B3-137D-471A-9DC4-D17064A5FB32}" type="slidenum">
              <a:rPr lang="en-ID" smtClean="0"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136043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8ECE837E-594B-4F0F-92F5-F20D4296AC5C}" type="slidenum">
              <a:rPr lang="en-ID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22</a:t>
            </a:fld>
            <a:endParaRPr lang="en-ID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823156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8ECE837E-594B-4F0F-92F5-F20D4296AC5C}" type="slidenum">
              <a:rPr lang="en-ID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23</a:t>
            </a:fld>
            <a:endParaRPr lang="en-ID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867833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977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2F95FF-2062-4FF3-ACC0-B76BB93B8982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587237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18767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73729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76C2E0-1AC7-8848-AE91-E7FF647F871E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5845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2F95FF-2062-4FF3-ACC0-B76BB93B8982}" type="slidenum">
              <a:rPr kumimoji="0" lang="en-ID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ID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11592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1F07F0-AE96-ADA3-B35A-716519BCDF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C31668-6BDC-D47D-F9E6-7FB478741D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7EB932-5180-4FDE-B3C9-8FBFE98A62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A4CCE1-BDB3-BAF1-FBB9-069B42DD22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76C2E0-1AC7-8848-AE91-E7FF647F871E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1379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76C2E0-1AC7-8848-AE91-E7FF647F871E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236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2F95FF-2062-4FF3-ACC0-B76BB93B8982}" type="slidenum">
              <a:rPr kumimoji="0" lang="en-ID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ID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115926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2F95FF-2062-4FF3-ACC0-B76BB93B8982}" type="slidenum">
              <a:rPr kumimoji="0" lang="en-ID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ID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38667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EB19E6-66E7-48D5-904C-823120B8C882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38340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F807B3-137D-471A-9DC4-D17064A5FB32}" type="slidenum">
              <a:rPr lang="en-ID" smtClean="0"/>
              <a:t>4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31451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2F95FF-2062-4FF3-ACC0-B76BB93B8982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881889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2F95FF-2062-4FF3-ACC0-B76BB93B8982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986183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2F95FF-2062-4FF3-ACC0-B76BB93B8982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312833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2F95FF-2062-4FF3-ACC0-B76BB93B8982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220419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2F95FF-2062-4FF3-ACC0-B76BB93B8982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7333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BB442F-7129-4184-F59E-9350AEB5FD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CE4406-159F-49CC-F26C-1042C99B8B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B60F5-584D-E177-3318-C3DCBCC821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5786A1-9878-1C76-6990-2E89424E9C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7238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8ECE837E-594B-4F0F-92F5-F20D4296AC5C}" type="slidenum">
              <a:rPr lang="en-ID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13</a:t>
            </a:fld>
            <a:endParaRPr lang="en-ID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011200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EC4CD-3798-5F7C-13AD-FCC5E59FEC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038B9A8-58BB-B85A-B0CC-8F9B99FF22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AF8CA6-1AAC-AFBF-3EC1-FD1C2B88B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E34728-3C18-7B4F-91AD-C748904A1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F4579-C9EA-1D0E-BF39-F1CDD2B6B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40011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C654C-CFF8-B3C3-51BC-D136345E6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AF9A83-829C-5374-2A77-2A6E07F459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6505A-B3EC-1C28-CB81-4EFD7770B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42ED69-7B96-2C68-9227-FEC1A0063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003EAD-29D9-D713-683B-45CEFED953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072527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6FD2B18-4EE9-260C-C701-C7033834FFF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45D27A-1DE4-FFB7-D82D-93D7CD01ED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AF90D2-A3F6-F39A-E217-3699FE58D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CD5525-946F-F4CE-65A5-6D7D8B839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B333F-7989-37C5-9364-6DF779351B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174120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7878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3AE70-5F94-0990-742F-1EEC02FD7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2A3E6D-0F06-A917-F34F-BCF6891540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BC65CD-797A-284C-543D-26F6F372E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CFDF98-E2C8-AA7E-D170-F66729C121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0CB378-0AFF-B9A2-6ABC-CD5E3551DD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67940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E13359-4157-B227-5661-86AB8799C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D95E7F-207D-1D28-8FCD-27317384E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1A2DBA-4BDE-744A-2B91-B2417CB2A2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D85307-5CC3-22F7-1DE3-D9FF74522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F9F7B0-B5EA-CACC-5B18-A1830980C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90616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3C6775-13DF-1B40-D261-0BBA89BA4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1AD184-B8BF-33FE-B79D-AAE2034CFA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450A62-B2DC-88D2-3235-1F43D62A5B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D4B743-1790-A38F-4313-FD839D03B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AE36C2-6610-7883-0CB9-215ABF211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BB5A1F-B563-8389-77D3-4BF192A63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87251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B081A-3367-29ED-E455-F2B6F338D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911655-477E-970A-079B-AD1A3B21B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C1DE07-8D17-C6B1-FED2-22AEA1598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C1CDC-F0BE-2982-2A58-18240CCDFD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F03CB6-436A-1A24-BB82-290E164810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BD0A4B-49AB-5FBB-EC43-498F6D1430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71467A-5C95-2FDC-E5E6-C633CB01F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88818A-2F66-B307-1F71-E4BE8F2BC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656910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24CDE-6F05-3180-F546-0213C1CA0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5BE7E7A-BFE3-0184-734D-D5C829EBC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74FFEB-BB36-32A7-FFD3-E87C7479A3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215060-D6E3-0BE8-E0A9-FB6F31CC5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928961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C501CD-715C-0410-5D75-0DFAD21E1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AE2D65-1C5E-E310-AEDF-6F6D4178F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23B75E-F491-7AA9-86A0-40332C022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076088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1AD18-C4C4-2BA4-4EF1-58CBF97C8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2080C3-15AA-91A7-733B-44A409F237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B4CF79-09A4-16B7-A577-B29001A55D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483A16-3665-AAC6-6AD6-459B3ED2C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1B4F3D-33A4-1DB2-D59F-C8B905EF1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8F6A72-8507-2FF9-0EB4-3EB5C8CDB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64692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EA004-6814-406F-63EB-2E068EE9F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0AB0EB-170E-61AA-9750-2B9B5ADC5C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485F92-52C0-6F64-E94E-4834F47AC8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5C7A12-03FA-BC69-9906-E5446BB32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8104B-6310-75FE-E6C6-DB055CD1C3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9B9333-28E6-1EC9-5AAC-C396A1EB6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33647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83D5EC-DFA5-E051-2602-E70FADBA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2DD3A2-F433-3013-AFDA-959B37B920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B7A599-2642-B252-D204-66D6DFEA7E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6018CE-80FF-4865-B627-9C8979787FE8}" type="datetimeFigureOut">
              <a:rPr lang="en-ID" smtClean="0"/>
              <a:t>18/06/20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544FFE-B2B8-B2C0-7D29-2F4421C00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FFDDFA-88EC-7EEE-4477-B3D1DE4AF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FDDEE3-2857-4C9B-8F66-C489E6BE596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093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29.png"/><Relationship Id="rId18" Type="http://schemas.openxmlformats.org/officeDocument/2006/relationships/image" Target="../media/image33.png"/><Relationship Id="rId3" Type="http://schemas.openxmlformats.org/officeDocument/2006/relationships/notesSlide" Target="../notesSlides/notesSlide10.xml"/><Relationship Id="rId21" Type="http://schemas.microsoft.com/office/2007/relationships/hdphoto" Target="../media/hdphoto5.wdp"/><Relationship Id="rId7" Type="http://schemas.openxmlformats.org/officeDocument/2006/relationships/image" Target="../media/image25.png"/><Relationship Id="rId12" Type="http://schemas.microsoft.com/office/2007/relationships/hdphoto" Target="../media/hdphoto2.wdp"/><Relationship Id="rId17" Type="http://schemas.openxmlformats.org/officeDocument/2006/relationships/image" Target="../media/image32.png"/><Relationship Id="rId2" Type="http://schemas.openxmlformats.org/officeDocument/2006/relationships/slideLayout" Target="../slideLayouts/slideLayout6.xml"/><Relationship Id="rId16" Type="http://schemas.microsoft.com/office/2007/relationships/hdphoto" Target="../media/hdphoto3.wdp"/><Relationship Id="rId20" Type="http://schemas.openxmlformats.org/officeDocument/2006/relationships/image" Target="../media/image34.png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11" Type="http://schemas.openxmlformats.org/officeDocument/2006/relationships/image" Target="../media/image28.png"/><Relationship Id="rId5" Type="http://schemas.openxmlformats.org/officeDocument/2006/relationships/image" Target="../media/image23.emf"/><Relationship Id="rId15" Type="http://schemas.openxmlformats.org/officeDocument/2006/relationships/image" Target="../media/image31.png"/><Relationship Id="rId10" Type="http://schemas.openxmlformats.org/officeDocument/2006/relationships/image" Target="../media/image27.png"/><Relationship Id="rId19" Type="http://schemas.microsoft.com/office/2007/relationships/hdphoto" Target="../media/hdphoto4.wdp"/><Relationship Id="rId4" Type="http://schemas.openxmlformats.org/officeDocument/2006/relationships/oleObject" Target="../embeddings/oleObject1.bin"/><Relationship Id="rId9" Type="http://schemas.microsoft.com/office/2007/relationships/hdphoto" Target="../media/hdphoto1.wdp"/><Relationship Id="rId14" Type="http://schemas.openxmlformats.org/officeDocument/2006/relationships/image" Target="../media/image30.png"/><Relationship Id="rId22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0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5.png"/><Relationship Id="rId12" Type="http://schemas.microsoft.com/office/2007/relationships/hdphoto" Target="../media/hdphoto6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11" Type="http://schemas.openxmlformats.org/officeDocument/2006/relationships/image" Target="../media/image39.png"/><Relationship Id="rId5" Type="http://schemas.openxmlformats.org/officeDocument/2006/relationships/image" Target="../media/image23.emf"/><Relationship Id="rId10" Type="http://schemas.openxmlformats.org/officeDocument/2006/relationships/image" Target="../media/image38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7.png"/><Relationship Id="rId1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23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mailto:simpan@pu.go.id" TargetMode="External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11" Type="http://schemas.openxmlformats.org/officeDocument/2006/relationships/image" Target="../media/image5.png"/><Relationship Id="rId5" Type="http://schemas.openxmlformats.org/officeDocument/2006/relationships/image" Target="../media/image23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tiff"/><Relationship Id="rId3" Type="http://schemas.openxmlformats.org/officeDocument/2006/relationships/hyperlink" Target="http://www.lisensijakon.pu.go.id/" TargetMode="External"/><Relationship Id="rId7" Type="http://schemas.openxmlformats.org/officeDocument/2006/relationships/image" Target="../media/image52.tiff"/><Relationship Id="rId2" Type="http://schemas.openxmlformats.org/officeDocument/2006/relationships/hyperlink" Target="http://siki.pu.go.id/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1.tiff"/><Relationship Id="rId11" Type="http://schemas.openxmlformats.org/officeDocument/2006/relationships/image" Target="../media/image5.png"/><Relationship Id="rId5" Type="http://schemas.openxmlformats.org/officeDocument/2006/relationships/image" Target="../media/image50.tiff"/><Relationship Id="rId10" Type="http://schemas.openxmlformats.org/officeDocument/2006/relationships/image" Target="../media/image55.tiff"/><Relationship Id="rId4" Type="http://schemas.openxmlformats.org/officeDocument/2006/relationships/image" Target="../media/image49.tiff"/><Relationship Id="rId9" Type="http://schemas.openxmlformats.org/officeDocument/2006/relationships/image" Target="../media/image54.tif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tiff"/><Relationship Id="rId13" Type="http://schemas.openxmlformats.org/officeDocument/2006/relationships/image" Target="../media/image5.png"/><Relationship Id="rId3" Type="http://schemas.openxmlformats.org/officeDocument/2006/relationships/image" Target="../media/image53.tiff"/><Relationship Id="rId7" Type="http://schemas.openxmlformats.org/officeDocument/2006/relationships/image" Target="../media/image57.tiff"/><Relationship Id="rId12" Type="http://schemas.openxmlformats.org/officeDocument/2006/relationships/image" Target="../media/image62.tiff"/><Relationship Id="rId2" Type="http://schemas.openxmlformats.org/officeDocument/2006/relationships/image" Target="../media/image49.tif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6.tiff"/><Relationship Id="rId11" Type="http://schemas.openxmlformats.org/officeDocument/2006/relationships/image" Target="../media/image61.tiff"/><Relationship Id="rId5" Type="http://schemas.openxmlformats.org/officeDocument/2006/relationships/image" Target="../media/image55.tiff"/><Relationship Id="rId10" Type="http://schemas.openxmlformats.org/officeDocument/2006/relationships/image" Target="../media/image60.tiff"/><Relationship Id="rId4" Type="http://schemas.openxmlformats.org/officeDocument/2006/relationships/image" Target="../media/image54.tiff"/><Relationship Id="rId9" Type="http://schemas.openxmlformats.org/officeDocument/2006/relationships/image" Target="../media/image59.tif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tiff"/><Relationship Id="rId3" Type="http://schemas.openxmlformats.org/officeDocument/2006/relationships/image" Target="../media/image64.tiff"/><Relationship Id="rId7" Type="http://schemas.openxmlformats.org/officeDocument/2006/relationships/image" Target="../media/image68.tiff"/><Relationship Id="rId12" Type="http://schemas.openxmlformats.org/officeDocument/2006/relationships/image" Target="../media/image5.png"/><Relationship Id="rId2" Type="http://schemas.openxmlformats.org/officeDocument/2006/relationships/image" Target="../media/image63.tif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7.tiff"/><Relationship Id="rId11" Type="http://schemas.openxmlformats.org/officeDocument/2006/relationships/hyperlink" Target="http://lisensijakon.pu.go.id/" TargetMode="External"/><Relationship Id="rId5" Type="http://schemas.openxmlformats.org/officeDocument/2006/relationships/image" Target="../media/image66.tiff"/><Relationship Id="rId10" Type="http://schemas.openxmlformats.org/officeDocument/2006/relationships/image" Target="../media/image71.tiff"/><Relationship Id="rId4" Type="http://schemas.openxmlformats.org/officeDocument/2006/relationships/image" Target="../media/image65.tiff"/><Relationship Id="rId9" Type="http://schemas.openxmlformats.org/officeDocument/2006/relationships/image" Target="../media/image70.tif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13" Type="http://schemas.openxmlformats.org/officeDocument/2006/relationships/image" Target="../media/image81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12" Type="http://schemas.openxmlformats.org/officeDocument/2006/relationships/image" Target="../media/image8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5.jpeg"/><Relationship Id="rId11" Type="http://schemas.openxmlformats.org/officeDocument/2006/relationships/image" Target="../media/image11.jpeg"/><Relationship Id="rId5" Type="http://schemas.openxmlformats.org/officeDocument/2006/relationships/image" Target="../media/image74.jpeg"/><Relationship Id="rId10" Type="http://schemas.openxmlformats.org/officeDocument/2006/relationships/image" Target="../media/image79.png"/><Relationship Id="rId4" Type="http://schemas.openxmlformats.org/officeDocument/2006/relationships/image" Target="../media/image73.jpeg"/><Relationship Id="rId9" Type="http://schemas.openxmlformats.org/officeDocument/2006/relationships/image" Target="../media/image78.png"/><Relationship Id="rId14" Type="http://schemas.openxmlformats.org/officeDocument/2006/relationships/image" Target="../media/image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image" Target="../media/image5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85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84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9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6.png"/><Relationship Id="rId7" Type="http://schemas.openxmlformats.org/officeDocument/2006/relationships/image" Target="../media/image99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8.jpeg"/><Relationship Id="rId5" Type="http://schemas.openxmlformats.org/officeDocument/2006/relationships/image" Target="../media/image6.png"/><Relationship Id="rId4" Type="http://schemas.openxmlformats.org/officeDocument/2006/relationships/image" Target="../media/image97.png"/><Relationship Id="rId9" Type="http://schemas.openxmlformats.org/officeDocument/2006/relationships/image" Target="../media/image101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102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9.jpeg"/><Relationship Id="rId5" Type="http://schemas.openxmlformats.org/officeDocument/2006/relationships/image" Target="../media/image98.jpeg"/><Relationship Id="rId4" Type="http://schemas.openxmlformats.org/officeDocument/2006/relationships/image" Target="../media/image6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jpg"/><Relationship Id="rId3" Type="http://schemas.openxmlformats.org/officeDocument/2006/relationships/image" Target="../media/image104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9.jpeg"/><Relationship Id="rId5" Type="http://schemas.openxmlformats.org/officeDocument/2006/relationships/image" Target="../media/image98.jpeg"/><Relationship Id="rId4" Type="http://schemas.openxmlformats.org/officeDocument/2006/relationships/image" Target="../media/image6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6.png"/><Relationship Id="rId7" Type="http://schemas.openxmlformats.org/officeDocument/2006/relationships/image" Target="../media/image99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8.jpeg"/><Relationship Id="rId5" Type="http://schemas.openxmlformats.org/officeDocument/2006/relationships/image" Target="../media/image6.png"/><Relationship Id="rId4" Type="http://schemas.openxmlformats.org/officeDocument/2006/relationships/image" Target="../media/image97.png"/><Relationship Id="rId9" Type="http://schemas.openxmlformats.org/officeDocument/2006/relationships/image" Target="../media/image10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10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lpjk.pu.go.id/laporan-lpjk/ketidaksesuaian-persyaratan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16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hyperlink" Target="mailto:sekretariatlpjk@pu.go.id" TargetMode="External"/><Relationship Id="rId3" Type="http://schemas.openxmlformats.org/officeDocument/2006/relationships/image" Target="../media/image110.png"/><Relationship Id="rId7" Type="http://schemas.openxmlformats.org/officeDocument/2006/relationships/image" Target="../media/image114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3.png"/><Relationship Id="rId11" Type="http://schemas.openxmlformats.org/officeDocument/2006/relationships/image" Target="../media/image5.png"/><Relationship Id="rId5" Type="http://schemas.openxmlformats.org/officeDocument/2006/relationships/image" Target="../media/image112.png"/><Relationship Id="rId10" Type="http://schemas.openxmlformats.org/officeDocument/2006/relationships/image" Target="../media/image116.png"/><Relationship Id="rId4" Type="http://schemas.openxmlformats.org/officeDocument/2006/relationships/image" Target="../media/image111.png"/><Relationship Id="rId9" Type="http://schemas.openxmlformats.org/officeDocument/2006/relationships/image" Target="../media/image1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6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6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11" Type="http://schemas.openxmlformats.org/officeDocument/2006/relationships/image" Target="../media/image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7.png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598461" cy="6972119"/>
            <a:chOff x="0" y="-1"/>
            <a:chExt cx="12598461" cy="6972119"/>
          </a:xfrm>
        </p:grpSpPr>
        <p:pic>
          <p:nvPicPr>
            <p:cNvPr id="3" name="object 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462784" y="-1"/>
              <a:ext cx="10135677" cy="6972119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2463800"/>
              <a:ext cx="5588000" cy="2933700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1" y="3084436"/>
              <a:ext cx="4924425" cy="1639570"/>
            </a:xfrm>
            <a:custGeom>
              <a:avLst/>
              <a:gdLst/>
              <a:ahLst/>
              <a:cxnLst/>
              <a:rect l="l" t="t" r="r" b="b"/>
              <a:pathLst>
                <a:path w="4924425" h="1639570">
                  <a:moveTo>
                    <a:pt x="4104823" y="0"/>
                  </a:moveTo>
                  <a:lnTo>
                    <a:pt x="0" y="0"/>
                  </a:lnTo>
                  <a:lnTo>
                    <a:pt x="0" y="1639204"/>
                  </a:lnTo>
                  <a:lnTo>
                    <a:pt x="4104823" y="1639204"/>
                  </a:lnTo>
                  <a:lnTo>
                    <a:pt x="4152980" y="1637812"/>
                  </a:lnTo>
                  <a:lnTo>
                    <a:pt x="4200405" y="1633690"/>
                  </a:lnTo>
                  <a:lnTo>
                    <a:pt x="4247021" y="1626912"/>
                  </a:lnTo>
                  <a:lnTo>
                    <a:pt x="4292750" y="1617558"/>
                  </a:lnTo>
                  <a:lnTo>
                    <a:pt x="4337515" y="1605702"/>
                  </a:lnTo>
                  <a:lnTo>
                    <a:pt x="4381240" y="1591422"/>
                  </a:lnTo>
                  <a:lnTo>
                    <a:pt x="4423849" y="1574795"/>
                  </a:lnTo>
                  <a:lnTo>
                    <a:pt x="4465263" y="1555899"/>
                  </a:lnTo>
                  <a:lnTo>
                    <a:pt x="4505406" y="1534808"/>
                  </a:lnTo>
                  <a:lnTo>
                    <a:pt x="4544201" y="1511602"/>
                  </a:lnTo>
                  <a:lnTo>
                    <a:pt x="4581572" y="1486356"/>
                  </a:lnTo>
                  <a:lnTo>
                    <a:pt x="4617442" y="1459147"/>
                  </a:lnTo>
                  <a:lnTo>
                    <a:pt x="4651733" y="1430052"/>
                  </a:lnTo>
                  <a:lnTo>
                    <a:pt x="4684369" y="1399148"/>
                  </a:lnTo>
                  <a:lnTo>
                    <a:pt x="4715272" y="1366512"/>
                  </a:lnTo>
                  <a:lnTo>
                    <a:pt x="4744367" y="1332221"/>
                  </a:lnTo>
                  <a:lnTo>
                    <a:pt x="4771576" y="1296352"/>
                  </a:lnTo>
                  <a:lnTo>
                    <a:pt x="4796822" y="1258981"/>
                  </a:lnTo>
                  <a:lnTo>
                    <a:pt x="4820029" y="1220186"/>
                  </a:lnTo>
                  <a:lnTo>
                    <a:pt x="4841119" y="1180042"/>
                  </a:lnTo>
                  <a:lnTo>
                    <a:pt x="4860016" y="1138628"/>
                  </a:lnTo>
                  <a:lnTo>
                    <a:pt x="4876643" y="1096020"/>
                  </a:lnTo>
                  <a:lnTo>
                    <a:pt x="4890923" y="1052295"/>
                  </a:lnTo>
                  <a:lnTo>
                    <a:pt x="4902778" y="1007529"/>
                  </a:lnTo>
                  <a:lnTo>
                    <a:pt x="4912133" y="961800"/>
                  </a:lnTo>
                  <a:lnTo>
                    <a:pt x="4918911" y="915185"/>
                  </a:lnTo>
                  <a:lnTo>
                    <a:pt x="4923033" y="867760"/>
                  </a:lnTo>
                  <a:lnTo>
                    <a:pt x="4924425" y="819602"/>
                  </a:lnTo>
                  <a:lnTo>
                    <a:pt x="4923033" y="771444"/>
                  </a:lnTo>
                  <a:lnTo>
                    <a:pt x="4918911" y="724019"/>
                  </a:lnTo>
                  <a:lnTo>
                    <a:pt x="4912133" y="677403"/>
                  </a:lnTo>
                  <a:lnTo>
                    <a:pt x="4902778" y="631674"/>
                  </a:lnTo>
                  <a:lnTo>
                    <a:pt x="4890923" y="586909"/>
                  </a:lnTo>
                  <a:lnTo>
                    <a:pt x="4876643" y="543184"/>
                  </a:lnTo>
                  <a:lnTo>
                    <a:pt x="4860016" y="500576"/>
                  </a:lnTo>
                  <a:lnTo>
                    <a:pt x="4841119" y="459162"/>
                  </a:lnTo>
                  <a:lnTo>
                    <a:pt x="4820029" y="419018"/>
                  </a:lnTo>
                  <a:lnTo>
                    <a:pt x="4796822" y="380223"/>
                  </a:lnTo>
                  <a:lnTo>
                    <a:pt x="4771576" y="342852"/>
                  </a:lnTo>
                  <a:lnTo>
                    <a:pt x="4744367" y="306982"/>
                  </a:lnTo>
                  <a:lnTo>
                    <a:pt x="4715272" y="272691"/>
                  </a:lnTo>
                  <a:lnTo>
                    <a:pt x="4684369" y="240056"/>
                  </a:lnTo>
                  <a:lnTo>
                    <a:pt x="4651733" y="209152"/>
                  </a:lnTo>
                  <a:lnTo>
                    <a:pt x="4617442" y="180057"/>
                  </a:lnTo>
                  <a:lnTo>
                    <a:pt x="4581572" y="152848"/>
                  </a:lnTo>
                  <a:lnTo>
                    <a:pt x="4544201" y="127602"/>
                  </a:lnTo>
                  <a:lnTo>
                    <a:pt x="4505406" y="104395"/>
                  </a:lnTo>
                  <a:lnTo>
                    <a:pt x="4465263" y="83305"/>
                  </a:lnTo>
                  <a:lnTo>
                    <a:pt x="4423849" y="64408"/>
                  </a:lnTo>
                  <a:lnTo>
                    <a:pt x="4381240" y="47781"/>
                  </a:lnTo>
                  <a:lnTo>
                    <a:pt x="4337515" y="33502"/>
                  </a:lnTo>
                  <a:lnTo>
                    <a:pt x="4292750" y="21646"/>
                  </a:lnTo>
                  <a:lnTo>
                    <a:pt x="4247021" y="12291"/>
                  </a:lnTo>
                  <a:lnTo>
                    <a:pt x="4200405" y="5514"/>
                  </a:lnTo>
                  <a:lnTo>
                    <a:pt x="4152980" y="1391"/>
                  </a:lnTo>
                  <a:lnTo>
                    <a:pt x="410482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2000"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4535513" y="1189518"/>
            <a:ext cx="7522312" cy="2904641"/>
          </a:xfrm>
          <a:prstGeom prst="rect">
            <a:avLst/>
          </a:prstGeom>
        </p:spPr>
        <p:txBody>
          <a:bodyPr vert="horz" wrap="square" lIns="0" tIns="72390" rIns="0" bIns="0" rtlCol="0">
            <a:spAutoFit/>
          </a:bodyPr>
          <a:lstStyle/>
          <a:p>
            <a:pPr marL="12700" marR="6350"/>
            <a:r>
              <a:rPr lang="en-ID" sz="4000" b="1" spc="-5" dirty="0">
                <a:solidFill>
                  <a:srgbClr val="FFFFFF"/>
                </a:solidFill>
                <a:latin typeface="Segoe UI"/>
                <a:cs typeface="Segoe UI"/>
              </a:rPr>
              <a:t>PENJELASAN UMUM</a:t>
            </a:r>
          </a:p>
          <a:p>
            <a:pPr marL="12700" marR="6350"/>
            <a:r>
              <a:rPr lang="en-ID" sz="4000" b="1" spc="-5" dirty="0">
                <a:solidFill>
                  <a:srgbClr val="FFFFFF"/>
                </a:solidFill>
                <a:latin typeface="Segoe UI"/>
                <a:cs typeface="Segoe UI"/>
              </a:rPr>
              <a:t>SISTEM INFORMASI JASA KONSTRUKSI UNTUK LAYANAN LPJK</a:t>
            </a:r>
            <a:endParaRPr lang="en-ID" sz="2400" b="1" spc="-5" dirty="0">
              <a:solidFill>
                <a:srgbClr val="FFFFFF"/>
              </a:solidFill>
              <a:latin typeface="Segoe UI"/>
              <a:cs typeface="Segoe UI"/>
            </a:endParaRPr>
          </a:p>
          <a:p>
            <a:pPr marL="12700" marR="6350"/>
            <a:endParaRPr lang="en-ID" sz="2400" b="1" spc="-5" dirty="0">
              <a:solidFill>
                <a:srgbClr val="FFFFFF"/>
              </a:solidFill>
              <a:latin typeface="Segoe UI"/>
              <a:cs typeface="Segoe U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10071100" y="3149600"/>
            <a:ext cx="1562100" cy="1562100"/>
            <a:chOff x="10071100" y="3149600"/>
            <a:chExt cx="1562100" cy="1562100"/>
          </a:xfrm>
        </p:grpSpPr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071100" y="3149600"/>
              <a:ext cx="1562100" cy="1562100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10689845" y="3763959"/>
              <a:ext cx="280670" cy="280670"/>
            </a:xfrm>
            <a:custGeom>
              <a:avLst/>
              <a:gdLst/>
              <a:ahLst/>
              <a:cxnLst/>
              <a:rect l="l" t="t" r="r" b="b"/>
              <a:pathLst>
                <a:path w="280670" h="280670">
                  <a:moveTo>
                    <a:pt x="140078" y="0"/>
                  </a:moveTo>
                  <a:lnTo>
                    <a:pt x="95802" y="7141"/>
                  </a:lnTo>
                  <a:lnTo>
                    <a:pt x="57349" y="27026"/>
                  </a:lnTo>
                  <a:lnTo>
                    <a:pt x="27026" y="57349"/>
                  </a:lnTo>
                  <a:lnTo>
                    <a:pt x="7141" y="95802"/>
                  </a:lnTo>
                  <a:lnTo>
                    <a:pt x="0" y="140078"/>
                  </a:lnTo>
                  <a:lnTo>
                    <a:pt x="7141" y="184354"/>
                  </a:lnTo>
                  <a:lnTo>
                    <a:pt x="27026" y="222808"/>
                  </a:lnTo>
                  <a:lnTo>
                    <a:pt x="57349" y="253131"/>
                  </a:lnTo>
                  <a:lnTo>
                    <a:pt x="95802" y="273016"/>
                  </a:lnTo>
                  <a:lnTo>
                    <a:pt x="140078" y="280158"/>
                  </a:lnTo>
                  <a:lnTo>
                    <a:pt x="184354" y="273016"/>
                  </a:lnTo>
                  <a:lnTo>
                    <a:pt x="222807" y="253131"/>
                  </a:lnTo>
                  <a:lnTo>
                    <a:pt x="253130" y="222808"/>
                  </a:lnTo>
                  <a:lnTo>
                    <a:pt x="273016" y="184354"/>
                  </a:lnTo>
                  <a:lnTo>
                    <a:pt x="280158" y="140078"/>
                  </a:lnTo>
                  <a:lnTo>
                    <a:pt x="273016" y="95802"/>
                  </a:lnTo>
                  <a:lnTo>
                    <a:pt x="253130" y="57349"/>
                  </a:lnTo>
                  <a:lnTo>
                    <a:pt x="222807" y="27026"/>
                  </a:lnTo>
                  <a:lnTo>
                    <a:pt x="184354" y="7141"/>
                  </a:lnTo>
                  <a:lnTo>
                    <a:pt x="140078" y="0"/>
                  </a:lnTo>
                  <a:close/>
                </a:path>
              </a:pathLst>
            </a:custGeom>
            <a:solidFill>
              <a:srgbClr val="F2B4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3803167" y="3636129"/>
            <a:ext cx="8388985" cy="535940"/>
            <a:chOff x="3803167" y="3636129"/>
            <a:chExt cx="8388985" cy="535940"/>
          </a:xfrm>
        </p:grpSpPr>
        <p:sp>
          <p:nvSpPr>
            <p:cNvPr id="12" name="object 12"/>
            <p:cNvSpPr/>
            <p:nvPr/>
          </p:nvSpPr>
          <p:spPr>
            <a:xfrm>
              <a:off x="11176000" y="3904038"/>
              <a:ext cx="1016000" cy="0"/>
            </a:xfrm>
            <a:custGeom>
              <a:avLst/>
              <a:gdLst/>
              <a:ahLst/>
              <a:cxnLst/>
              <a:rect l="l" t="t" r="r" b="b"/>
              <a:pathLst>
                <a:path w="1016000">
                  <a:moveTo>
                    <a:pt x="0" y="0"/>
                  </a:moveTo>
                  <a:lnTo>
                    <a:pt x="1016000" y="1"/>
                  </a:lnTo>
                </a:path>
              </a:pathLst>
            </a:custGeom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12692" y="3645654"/>
              <a:ext cx="566420" cy="444500"/>
            </a:xfrm>
            <a:custGeom>
              <a:avLst/>
              <a:gdLst/>
              <a:ahLst/>
              <a:cxnLst/>
              <a:rect l="l" t="t" r="r" b="b"/>
              <a:pathLst>
                <a:path w="566420" h="444500">
                  <a:moveTo>
                    <a:pt x="566112" y="407056"/>
                  </a:moveTo>
                  <a:lnTo>
                    <a:pt x="562939" y="420644"/>
                  </a:lnTo>
                  <a:lnTo>
                    <a:pt x="554574" y="432497"/>
                  </a:lnTo>
                  <a:lnTo>
                    <a:pt x="542748" y="440881"/>
                  </a:lnTo>
                  <a:lnTo>
                    <a:pt x="529191" y="444062"/>
                  </a:lnTo>
                  <a:lnTo>
                    <a:pt x="244597" y="444062"/>
                  </a:lnTo>
                  <a:lnTo>
                    <a:pt x="98454" y="444062"/>
                  </a:lnTo>
                  <a:lnTo>
                    <a:pt x="44612" y="444062"/>
                  </a:lnTo>
                  <a:lnTo>
                    <a:pt x="36920" y="444062"/>
                  </a:lnTo>
                  <a:lnTo>
                    <a:pt x="23363" y="440881"/>
                  </a:lnTo>
                  <a:lnTo>
                    <a:pt x="11537" y="432497"/>
                  </a:lnTo>
                  <a:lnTo>
                    <a:pt x="3172" y="420644"/>
                  </a:lnTo>
                  <a:lnTo>
                    <a:pt x="0" y="407056"/>
                  </a:lnTo>
                  <a:lnTo>
                    <a:pt x="0" y="193120"/>
                  </a:lnTo>
                  <a:lnTo>
                    <a:pt x="0" y="83261"/>
                  </a:lnTo>
                  <a:lnTo>
                    <a:pt x="0" y="42787"/>
                  </a:lnTo>
                  <a:lnTo>
                    <a:pt x="0" y="37005"/>
                  </a:lnTo>
                  <a:lnTo>
                    <a:pt x="3172" y="23417"/>
                  </a:lnTo>
                  <a:lnTo>
                    <a:pt x="11537" y="11564"/>
                  </a:lnTo>
                  <a:lnTo>
                    <a:pt x="23363" y="3180"/>
                  </a:lnTo>
                  <a:lnTo>
                    <a:pt x="36920" y="0"/>
                  </a:lnTo>
                  <a:lnTo>
                    <a:pt x="321514" y="0"/>
                  </a:lnTo>
                  <a:lnTo>
                    <a:pt x="467657" y="0"/>
                  </a:lnTo>
                  <a:lnTo>
                    <a:pt x="521499" y="0"/>
                  </a:lnTo>
                  <a:lnTo>
                    <a:pt x="529191" y="0"/>
                  </a:lnTo>
                  <a:lnTo>
                    <a:pt x="542748" y="3180"/>
                  </a:lnTo>
                  <a:lnTo>
                    <a:pt x="554574" y="11564"/>
                  </a:lnTo>
                  <a:lnTo>
                    <a:pt x="562939" y="23417"/>
                  </a:lnTo>
                  <a:lnTo>
                    <a:pt x="566112" y="37005"/>
                  </a:lnTo>
                  <a:lnTo>
                    <a:pt x="566112" y="407056"/>
                  </a:lnTo>
                  <a:close/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921758" y="4162426"/>
              <a:ext cx="345440" cy="0"/>
            </a:xfrm>
            <a:custGeom>
              <a:avLst/>
              <a:gdLst/>
              <a:ahLst/>
              <a:cxnLst/>
              <a:rect l="l" t="t" r="r" b="b"/>
              <a:pathLst>
                <a:path w="345439">
                  <a:moveTo>
                    <a:pt x="0" y="0"/>
                  </a:moveTo>
                  <a:lnTo>
                    <a:pt x="345381" y="1"/>
                  </a:lnTo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4010051" y="4089713"/>
              <a:ext cx="171450" cy="73025"/>
            </a:xfrm>
            <a:custGeom>
              <a:avLst/>
              <a:gdLst/>
              <a:ahLst/>
              <a:cxnLst/>
              <a:rect l="l" t="t" r="r" b="b"/>
              <a:pathLst>
                <a:path w="171450" h="73025">
                  <a:moveTo>
                    <a:pt x="171392" y="72712"/>
                  </a:moveTo>
                  <a:lnTo>
                    <a:pt x="0" y="72712"/>
                  </a:lnTo>
                  <a:lnTo>
                    <a:pt x="23371" y="0"/>
                  </a:lnTo>
                  <a:lnTo>
                    <a:pt x="145423" y="0"/>
                  </a:lnTo>
                  <a:lnTo>
                    <a:pt x="171392" y="72712"/>
                  </a:lnTo>
                  <a:close/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62033" y="3694992"/>
              <a:ext cx="467995" cy="296545"/>
            </a:xfrm>
            <a:custGeom>
              <a:avLst/>
              <a:gdLst/>
              <a:ahLst/>
              <a:cxnLst/>
              <a:rect l="l" t="t" r="r" b="b"/>
              <a:pathLst>
                <a:path w="467995" h="296545">
                  <a:moveTo>
                    <a:pt x="0" y="0"/>
                  </a:moveTo>
                  <a:lnTo>
                    <a:pt x="467432" y="0"/>
                  </a:lnTo>
                  <a:lnTo>
                    <a:pt x="467432" y="296041"/>
                  </a:lnTo>
                  <a:lnTo>
                    <a:pt x="0" y="296041"/>
                  </a:lnTo>
                  <a:lnTo>
                    <a:pt x="0" y="0"/>
                  </a:lnTo>
                  <a:close/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4082764" y="4027389"/>
              <a:ext cx="23495" cy="26034"/>
            </a:xfrm>
            <a:custGeom>
              <a:avLst/>
              <a:gdLst/>
              <a:ahLst/>
              <a:cxnLst/>
              <a:rect l="l" t="t" r="r" b="b"/>
              <a:pathLst>
                <a:path w="23495" h="26035">
                  <a:moveTo>
                    <a:pt x="0" y="12984"/>
                  </a:moveTo>
                  <a:lnTo>
                    <a:pt x="0" y="5813"/>
                  </a:lnTo>
                  <a:lnTo>
                    <a:pt x="5232" y="0"/>
                  </a:lnTo>
                  <a:lnTo>
                    <a:pt x="11686" y="0"/>
                  </a:lnTo>
                  <a:lnTo>
                    <a:pt x="18140" y="0"/>
                  </a:lnTo>
                  <a:lnTo>
                    <a:pt x="23372" y="5813"/>
                  </a:lnTo>
                  <a:lnTo>
                    <a:pt x="23372" y="12984"/>
                  </a:lnTo>
                  <a:lnTo>
                    <a:pt x="23372" y="20154"/>
                  </a:lnTo>
                  <a:lnTo>
                    <a:pt x="18140" y="25968"/>
                  </a:lnTo>
                  <a:lnTo>
                    <a:pt x="11686" y="25968"/>
                  </a:lnTo>
                  <a:lnTo>
                    <a:pt x="5232" y="25968"/>
                  </a:lnTo>
                  <a:lnTo>
                    <a:pt x="0" y="20154"/>
                  </a:lnTo>
                  <a:lnTo>
                    <a:pt x="0" y="12984"/>
                  </a:lnTo>
                  <a:close/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7">
            <a:extLst>
              <a:ext uri="{FF2B5EF4-FFF2-40B4-BE49-F238E27FC236}">
                <a16:creationId xmlns:a16="http://schemas.microsoft.com/office/drawing/2014/main" id="{C740B79D-F5FF-43C3-BFDD-FD2AF8C3F17A}"/>
              </a:ext>
            </a:extLst>
          </p:cNvPr>
          <p:cNvSpPr txBox="1"/>
          <p:nvPr/>
        </p:nvSpPr>
        <p:spPr>
          <a:xfrm>
            <a:off x="5222997" y="5326059"/>
            <a:ext cx="6198476" cy="1304203"/>
          </a:xfrm>
          <a:prstGeom prst="rect">
            <a:avLst/>
          </a:prstGeom>
        </p:spPr>
        <p:txBody>
          <a:bodyPr vert="horz" wrap="square" lIns="0" tIns="72390" rIns="0" bIns="0" rtlCol="0">
            <a:spAutoFit/>
          </a:bodyPr>
          <a:lstStyle/>
          <a:p>
            <a:pPr algn="r"/>
            <a:r>
              <a:rPr lang="en-US" sz="2000" b="1" dirty="0" err="1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Disampaikan</a:t>
            </a:r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 oleh:</a:t>
            </a:r>
          </a:p>
          <a:p>
            <a:pPr algn="r"/>
            <a:endParaRPr lang="en-US" sz="2000" b="1" dirty="0">
              <a:solidFill>
                <a:schemeClr val="bg1"/>
              </a:solidFill>
              <a:latin typeface="Segoe UI" panose="020B0502040204020203" pitchFamily="34" charset="0"/>
              <a:ea typeface="Century Gothic" charset="0"/>
              <a:cs typeface="Segoe UI" panose="020B0502040204020203" pitchFamily="34" charset="0"/>
            </a:endParaRPr>
          </a:p>
          <a:p>
            <a:pPr algn="r"/>
            <a:r>
              <a:rPr lang="en-US" sz="2000" b="1" dirty="0" err="1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Lembaga</a:t>
            </a:r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Pengembangan</a:t>
            </a:r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Jasa</a:t>
            </a:r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Konstruksi</a:t>
            </a:r>
            <a:endParaRPr lang="en-US" sz="2000" b="1" dirty="0">
              <a:solidFill>
                <a:schemeClr val="bg1"/>
              </a:solidFill>
              <a:latin typeface="Segoe UI" panose="020B0502040204020203" pitchFamily="34" charset="0"/>
              <a:ea typeface="Century Gothic" charset="0"/>
              <a:cs typeface="Segoe UI" panose="020B0502040204020203" pitchFamily="34" charset="0"/>
            </a:endParaRPr>
          </a:p>
          <a:p>
            <a:pPr algn="r"/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ea typeface="Century Gothic" charset="0"/>
                <a:cs typeface="Segoe UI" panose="020B0502040204020203" pitchFamily="34" charset="0"/>
              </a:rPr>
              <a:t>19 JUNI 2025</a:t>
            </a:r>
          </a:p>
        </p:txBody>
      </p:sp>
      <p:pic>
        <p:nvPicPr>
          <p:cNvPr id="20" name="Google Shape;94;p13">
            <a:extLst>
              <a:ext uri="{FF2B5EF4-FFF2-40B4-BE49-F238E27FC236}">
                <a16:creationId xmlns:a16="http://schemas.microsoft.com/office/drawing/2014/main" id="{68AC8835-17BC-A453-03C4-D026B2C5EFA8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09884" y="3419553"/>
            <a:ext cx="2654420" cy="96897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05571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077550" y="1181392"/>
            <a:ext cx="10036901" cy="5081181"/>
          </a:xfrm>
          <a:custGeom>
            <a:avLst/>
            <a:gdLst/>
            <a:ahLst/>
            <a:cxnLst/>
            <a:rect l="l" t="t" r="r" b="b"/>
            <a:pathLst>
              <a:path w="15055352" h="7621772">
                <a:moveTo>
                  <a:pt x="0" y="0"/>
                </a:moveTo>
                <a:lnTo>
                  <a:pt x="15055352" y="0"/>
                </a:lnTo>
                <a:lnTo>
                  <a:pt x="15055352" y="7621772"/>
                </a:lnTo>
                <a:lnTo>
                  <a:pt x="0" y="762177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TextBox 3"/>
          <p:cNvSpPr txBox="1"/>
          <p:nvPr/>
        </p:nvSpPr>
        <p:spPr>
          <a:xfrm>
            <a:off x="570593" y="351528"/>
            <a:ext cx="8826568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432"/>
              </a:lnSpc>
              <a:spcBef>
                <a:spcPct val="0"/>
              </a:spcBef>
            </a:pPr>
            <a:r>
              <a:rPr lang="en-US" sz="3364" spc="-33">
                <a:solidFill>
                  <a:srgbClr val="000000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PERBANDINGAN TUGAS</a:t>
            </a:r>
          </a:p>
        </p:txBody>
      </p:sp>
      <p:sp>
        <p:nvSpPr>
          <p:cNvPr id="5" name="Freeform 5"/>
          <p:cNvSpPr/>
          <p:nvPr/>
        </p:nvSpPr>
        <p:spPr>
          <a:xfrm>
            <a:off x="-131314" y="-279372"/>
            <a:ext cx="360514" cy="1261799"/>
          </a:xfrm>
          <a:custGeom>
            <a:avLst/>
            <a:gdLst/>
            <a:ahLst/>
            <a:cxnLst/>
            <a:rect l="l" t="t" r="r" b="b"/>
            <a:pathLst>
              <a:path w="540771" h="1892699">
                <a:moveTo>
                  <a:pt x="0" y="0"/>
                </a:moveTo>
                <a:lnTo>
                  <a:pt x="540771" y="0"/>
                </a:lnTo>
                <a:lnTo>
                  <a:pt x="540771" y="1892699"/>
                </a:lnTo>
                <a:lnTo>
                  <a:pt x="0" y="189269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pic>
        <p:nvPicPr>
          <p:cNvPr id="6" name="Google Shape;94;p13">
            <a:extLst>
              <a:ext uri="{FF2B5EF4-FFF2-40B4-BE49-F238E27FC236}">
                <a16:creationId xmlns:a16="http://schemas.microsoft.com/office/drawing/2014/main" id="{63DB572A-9D87-BB4E-1EE1-2D8D97327A5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6391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1E48E1D-9C9B-C217-0545-173D8232C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4094069E-0061-1474-A6BF-DD76B304EB32}"/>
              </a:ext>
            </a:extLst>
          </p:cNvPr>
          <p:cNvSpPr txBox="1">
            <a:spLocks/>
          </p:cNvSpPr>
          <p:nvPr/>
        </p:nvSpPr>
        <p:spPr>
          <a:xfrm>
            <a:off x="1028700" y="1967267"/>
            <a:ext cx="2187836" cy="22497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IJKT UNTUK LAYANAN LPJK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02976D-4A08-21F4-89B3-C4F63FDAD5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6535" y="1777333"/>
            <a:ext cx="8888865" cy="2927122"/>
          </a:xfrm>
          <a:prstGeom prst="rect">
            <a:avLst/>
          </a:prstGeom>
        </p:spPr>
      </p:pic>
      <p:pic>
        <p:nvPicPr>
          <p:cNvPr id="4" name="Picture 3" descr="Text, logo&#10;&#10;Description automatically generated">
            <a:extLst>
              <a:ext uri="{FF2B5EF4-FFF2-40B4-BE49-F238E27FC236}">
                <a16:creationId xmlns:a16="http://schemas.microsoft.com/office/drawing/2014/main" id="{22A4B9D6-44AE-FE74-6231-938BBFA535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33" y="24602"/>
            <a:ext cx="1615921" cy="614684"/>
          </a:xfrm>
          <a:prstGeom prst="rect">
            <a:avLst/>
          </a:prstGeom>
        </p:spPr>
      </p:pic>
      <p:pic>
        <p:nvPicPr>
          <p:cNvPr id="6" name="Google Shape;94;p13">
            <a:extLst>
              <a:ext uri="{FF2B5EF4-FFF2-40B4-BE49-F238E27FC236}">
                <a16:creationId xmlns:a16="http://schemas.microsoft.com/office/drawing/2014/main" id="{BED8B953-B861-F87B-2CE3-9CE67B81A838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44203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50FEDC4D-A483-4D67-820B-8BF61E512323}"/>
              </a:ext>
            </a:extLst>
          </p:cNvPr>
          <p:cNvSpPr/>
          <p:nvPr/>
        </p:nvSpPr>
        <p:spPr>
          <a:xfrm>
            <a:off x="809626" y="529056"/>
            <a:ext cx="5029200" cy="5633638"/>
          </a:xfrm>
          <a:custGeom>
            <a:avLst/>
            <a:gdLst>
              <a:gd name="connsiteX0" fmla="*/ 2251214 w 4546203"/>
              <a:gd name="connsiteY0" fmla="*/ 4846657 h 5092591"/>
              <a:gd name="connsiteX1" fmla="*/ 2251214 w 4546203"/>
              <a:gd name="connsiteY1" fmla="*/ 4907544 h 5092591"/>
              <a:gd name="connsiteX2" fmla="*/ 2330407 w 4546203"/>
              <a:gd name="connsiteY2" fmla="*/ 4907544 h 5092591"/>
              <a:gd name="connsiteX3" fmla="*/ 2330407 w 4546203"/>
              <a:gd name="connsiteY3" fmla="*/ 4846657 h 5092591"/>
              <a:gd name="connsiteX4" fmla="*/ 2251214 w 4546203"/>
              <a:gd name="connsiteY4" fmla="*/ 4846657 h 5092591"/>
              <a:gd name="connsiteX5" fmla="*/ 2445813 w 4546203"/>
              <a:gd name="connsiteY5" fmla="*/ 4838698 h 5092591"/>
              <a:gd name="connsiteX6" fmla="*/ 2365824 w 4546203"/>
              <a:gd name="connsiteY6" fmla="*/ 4843474 h 5092591"/>
              <a:gd name="connsiteX7" fmla="*/ 2369008 w 4546203"/>
              <a:gd name="connsiteY7" fmla="*/ 4907146 h 5092591"/>
              <a:gd name="connsiteX8" fmla="*/ 2450588 w 4546203"/>
              <a:gd name="connsiteY8" fmla="*/ 4902370 h 5092591"/>
              <a:gd name="connsiteX9" fmla="*/ 2445813 w 4546203"/>
              <a:gd name="connsiteY9" fmla="*/ 4838698 h 5092591"/>
              <a:gd name="connsiteX10" fmla="*/ 2019208 w 4546203"/>
              <a:gd name="connsiteY10" fmla="*/ 4832729 h 5092591"/>
              <a:gd name="connsiteX11" fmla="*/ 2012841 w 4546203"/>
              <a:gd name="connsiteY11" fmla="*/ 4895605 h 5092591"/>
              <a:gd name="connsiteX12" fmla="*/ 2094421 w 4546203"/>
              <a:gd name="connsiteY12" fmla="*/ 4902768 h 5092591"/>
              <a:gd name="connsiteX13" fmla="*/ 2099196 w 4546203"/>
              <a:gd name="connsiteY13" fmla="*/ 4839494 h 5092591"/>
              <a:gd name="connsiteX14" fmla="*/ 2019208 w 4546203"/>
              <a:gd name="connsiteY14" fmla="*/ 4832729 h 5092591"/>
              <a:gd name="connsiteX15" fmla="*/ 2251612 w 4546203"/>
              <a:gd name="connsiteY15" fmla="*/ 4753934 h 5092591"/>
              <a:gd name="connsiteX16" fmla="*/ 2251612 w 4546203"/>
              <a:gd name="connsiteY16" fmla="*/ 4814821 h 5092591"/>
              <a:gd name="connsiteX17" fmla="*/ 2328019 w 4546203"/>
              <a:gd name="connsiteY17" fmla="*/ 4814821 h 5092591"/>
              <a:gd name="connsiteX18" fmla="*/ 2328019 w 4546203"/>
              <a:gd name="connsiteY18" fmla="*/ 4753934 h 5092591"/>
              <a:gd name="connsiteX19" fmla="*/ 2251612 w 4546203"/>
              <a:gd name="connsiteY19" fmla="*/ 4753934 h 5092591"/>
              <a:gd name="connsiteX20" fmla="*/ 2029157 w 4546203"/>
              <a:gd name="connsiteY20" fmla="*/ 4740404 h 5092591"/>
              <a:gd name="connsiteX21" fmla="*/ 2022392 w 4546203"/>
              <a:gd name="connsiteY21" fmla="*/ 4803678 h 5092591"/>
              <a:gd name="connsiteX22" fmla="*/ 2101186 w 4546203"/>
              <a:gd name="connsiteY22" fmla="*/ 4811239 h 5092591"/>
              <a:gd name="connsiteX23" fmla="*/ 2105564 w 4546203"/>
              <a:gd name="connsiteY23" fmla="*/ 4747965 h 5092591"/>
              <a:gd name="connsiteX24" fmla="*/ 2029157 w 4546203"/>
              <a:gd name="connsiteY24" fmla="*/ 4740404 h 5092591"/>
              <a:gd name="connsiteX25" fmla="*/ 2252408 w 4546203"/>
              <a:gd name="connsiteY25" fmla="*/ 4661609 h 5092591"/>
              <a:gd name="connsiteX26" fmla="*/ 2252408 w 4546203"/>
              <a:gd name="connsiteY26" fmla="*/ 4722894 h 5092591"/>
              <a:gd name="connsiteX27" fmla="*/ 2324835 w 4546203"/>
              <a:gd name="connsiteY27" fmla="*/ 4722894 h 5092591"/>
              <a:gd name="connsiteX28" fmla="*/ 2324835 w 4546203"/>
              <a:gd name="connsiteY28" fmla="*/ 4661609 h 5092591"/>
              <a:gd name="connsiteX29" fmla="*/ 2252408 w 4546203"/>
              <a:gd name="connsiteY29" fmla="*/ 4661609 h 5092591"/>
              <a:gd name="connsiteX30" fmla="*/ 2144961 w 4546203"/>
              <a:gd name="connsiteY30" fmla="*/ 4660017 h 5092591"/>
              <a:gd name="connsiteX31" fmla="*/ 2141777 w 4546203"/>
              <a:gd name="connsiteY31" fmla="*/ 4721302 h 5092591"/>
              <a:gd name="connsiteX32" fmla="*/ 2217388 w 4546203"/>
              <a:gd name="connsiteY32" fmla="*/ 4721302 h 5092591"/>
              <a:gd name="connsiteX33" fmla="*/ 2217388 w 4546203"/>
              <a:gd name="connsiteY33" fmla="*/ 4660017 h 5092591"/>
              <a:gd name="connsiteX34" fmla="*/ 2144961 w 4546203"/>
              <a:gd name="connsiteY34" fmla="*/ 4660017 h 5092591"/>
              <a:gd name="connsiteX35" fmla="*/ 2431088 w 4546203"/>
              <a:gd name="connsiteY35" fmla="*/ 4654844 h 5092591"/>
              <a:gd name="connsiteX36" fmla="*/ 2357467 w 4546203"/>
              <a:gd name="connsiteY36" fmla="*/ 4660017 h 5092591"/>
              <a:gd name="connsiteX37" fmla="*/ 2361049 w 4546203"/>
              <a:gd name="connsiteY37" fmla="*/ 4723292 h 5092591"/>
              <a:gd name="connsiteX38" fmla="*/ 2436660 w 4546203"/>
              <a:gd name="connsiteY38" fmla="*/ 4718119 h 5092591"/>
              <a:gd name="connsiteX39" fmla="*/ 2431088 w 4546203"/>
              <a:gd name="connsiteY39" fmla="*/ 4654844 h 5092591"/>
              <a:gd name="connsiteX40" fmla="*/ 2150930 w 4546203"/>
              <a:gd name="connsiteY40" fmla="*/ 4567295 h 5092591"/>
              <a:gd name="connsiteX41" fmla="*/ 2146951 w 4546203"/>
              <a:gd name="connsiteY41" fmla="*/ 4628580 h 5092591"/>
              <a:gd name="connsiteX42" fmla="*/ 2219378 w 4546203"/>
              <a:gd name="connsiteY42" fmla="*/ 4631763 h 5092591"/>
              <a:gd name="connsiteX43" fmla="*/ 2219378 w 4546203"/>
              <a:gd name="connsiteY43" fmla="*/ 4567295 h 5092591"/>
              <a:gd name="connsiteX44" fmla="*/ 2150930 w 4546203"/>
              <a:gd name="connsiteY44" fmla="*/ 4567295 h 5092591"/>
              <a:gd name="connsiteX45" fmla="*/ 2424323 w 4546203"/>
              <a:gd name="connsiteY45" fmla="*/ 4562918 h 5092591"/>
              <a:gd name="connsiteX46" fmla="*/ 2353488 w 4546203"/>
              <a:gd name="connsiteY46" fmla="*/ 4567295 h 5092591"/>
              <a:gd name="connsiteX47" fmla="*/ 2357467 w 4546203"/>
              <a:gd name="connsiteY47" fmla="*/ 4630967 h 5092591"/>
              <a:gd name="connsiteX48" fmla="*/ 2429497 w 4546203"/>
              <a:gd name="connsiteY48" fmla="*/ 4626192 h 5092591"/>
              <a:gd name="connsiteX49" fmla="*/ 2424323 w 4546203"/>
              <a:gd name="connsiteY49" fmla="*/ 4562918 h 5092591"/>
              <a:gd name="connsiteX50" fmla="*/ 2049452 w 4546203"/>
              <a:gd name="connsiteY50" fmla="*/ 4556550 h 5092591"/>
              <a:gd name="connsiteX51" fmla="*/ 2042687 w 4546203"/>
              <a:gd name="connsiteY51" fmla="*/ 4619427 h 5092591"/>
              <a:gd name="connsiteX52" fmla="*/ 2114717 w 4546203"/>
              <a:gd name="connsiteY52" fmla="*/ 4626590 h 5092591"/>
              <a:gd name="connsiteX53" fmla="*/ 2119492 w 4546203"/>
              <a:gd name="connsiteY53" fmla="*/ 4563315 h 5092591"/>
              <a:gd name="connsiteX54" fmla="*/ 2049452 w 4546203"/>
              <a:gd name="connsiteY54" fmla="*/ 4556550 h 5092591"/>
              <a:gd name="connsiteX55" fmla="*/ 2897488 w 4546203"/>
              <a:gd name="connsiteY55" fmla="*/ 4513571 h 5092591"/>
              <a:gd name="connsiteX56" fmla="*/ 2847744 w 4546203"/>
              <a:gd name="connsiteY56" fmla="*/ 4528693 h 5092591"/>
              <a:gd name="connsiteX57" fmla="*/ 2859683 w 4546203"/>
              <a:gd name="connsiteY57" fmla="*/ 4567295 h 5092591"/>
              <a:gd name="connsiteX58" fmla="*/ 2910223 w 4546203"/>
              <a:gd name="connsiteY58" fmla="*/ 4551775 h 5092591"/>
              <a:gd name="connsiteX59" fmla="*/ 2897488 w 4546203"/>
              <a:gd name="connsiteY59" fmla="*/ 4513571 h 5092591"/>
              <a:gd name="connsiteX60" fmla="*/ 1790386 w 4546203"/>
              <a:gd name="connsiteY60" fmla="*/ 4506408 h 5092591"/>
              <a:gd name="connsiteX61" fmla="*/ 1779641 w 4546203"/>
              <a:gd name="connsiteY61" fmla="*/ 4549785 h 5092591"/>
              <a:gd name="connsiteX62" fmla="*/ 1872364 w 4546203"/>
              <a:gd name="connsiteY62" fmla="*/ 4570080 h 5092591"/>
              <a:gd name="connsiteX63" fmla="*/ 1881119 w 4546203"/>
              <a:gd name="connsiteY63" fmla="*/ 4525908 h 5092591"/>
              <a:gd name="connsiteX64" fmla="*/ 1790386 w 4546203"/>
              <a:gd name="connsiteY64" fmla="*/ 4506408 h 5092591"/>
              <a:gd name="connsiteX65" fmla="*/ 3136658 w 4546203"/>
              <a:gd name="connsiteY65" fmla="*/ 4499245 h 5092591"/>
              <a:gd name="connsiteX66" fmla="*/ 3148995 w 4546203"/>
              <a:gd name="connsiteY66" fmla="*/ 4525908 h 5092591"/>
              <a:gd name="connsiteX67" fmla="*/ 3106414 w 4546203"/>
              <a:gd name="connsiteY67" fmla="*/ 4531877 h 5092591"/>
              <a:gd name="connsiteX68" fmla="*/ 3096863 w 4546203"/>
              <a:gd name="connsiteY68" fmla="*/ 4534662 h 5092591"/>
              <a:gd name="connsiteX69" fmla="*/ 2926936 w 4546203"/>
              <a:gd name="connsiteY69" fmla="*/ 4597142 h 5092591"/>
              <a:gd name="connsiteX70" fmla="*/ 2917784 w 4546203"/>
              <a:gd name="connsiteY70" fmla="*/ 4602714 h 5092591"/>
              <a:gd name="connsiteX71" fmla="*/ 2920569 w 4546203"/>
              <a:gd name="connsiteY71" fmla="*/ 4609479 h 5092591"/>
              <a:gd name="connsiteX72" fmla="*/ 3112383 w 4546203"/>
              <a:gd name="connsiteY72" fmla="*/ 4539439 h 5092591"/>
              <a:gd name="connsiteX73" fmla="*/ 3126311 w 4546203"/>
              <a:gd name="connsiteY73" fmla="*/ 4570877 h 5092591"/>
              <a:gd name="connsiteX74" fmla="*/ 2931314 w 4546203"/>
              <a:gd name="connsiteY74" fmla="*/ 4642907 h 5092591"/>
              <a:gd name="connsiteX75" fmla="*/ 2918977 w 4546203"/>
              <a:gd name="connsiteY75" fmla="*/ 4609876 h 5092591"/>
              <a:gd name="connsiteX76" fmla="*/ 2888335 w 4546203"/>
              <a:gd name="connsiteY76" fmla="*/ 4617040 h 5092591"/>
              <a:gd name="connsiteX77" fmla="*/ 2881570 w 4546203"/>
              <a:gd name="connsiteY77" fmla="*/ 4593560 h 5092591"/>
              <a:gd name="connsiteX78" fmla="*/ 3136658 w 4546203"/>
              <a:gd name="connsiteY78" fmla="*/ 4499245 h 5092591"/>
              <a:gd name="connsiteX79" fmla="*/ 2955987 w 4546203"/>
              <a:gd name="connsiteY79" fmla="*/ 4494470 h 5092591"/>
              <a:gd name="connsiteX80" fmla="*/ 2905845 w 4546203"/>
              <a:gd name="connsiteY80" fmla="*/ 4511184 h 5092591"/>
              <a:gd name="connsiteX81" fmla="*/ 2919376 w 4546203"/>
              <a:gd name="connsiteY81" fmla="*/ 4549387 h 5092591"/>
              <a:gd name="connsiteX82" fmla="*/ 2969119 w 4546203"/>
              <a:gd name="connsiteY82" fmla="*/ 4532275 h 5092591"/>
              <a:gd name="connsiteX83" fmla="*/ 2955987 w 4546203"/>
              <a:gd name="connsiteY83" fmla="*/ 4494470 h 5092591"/>
              <a:gd name="connsiteX84" fmla="*/ 2254398 w 4546203"/>
              <a:gd name="connsiteY84" fmla="*/ 4476562 h 5092591"/>
              <a:gd name="connsiteX85" fmla="*/ 2254398 w 4546203"/>
              <a:gd name="connsiteY85" fmla="*/ 4538244 h 5092591"/>
              <a:gd name="connsiteX86" fmla="*/ 2320060 w 4546203"/>
              <a:gd name="connsiteY86" fmla="*/ 4538244 h 5092591"/>
              <a:gd name="connsiteX87" fmla="*/ 2320060 w 4546203"/>
              <a:gd name="connsiteY87" fmla="*/ 4476562 h 5092591"/>
              <a:gd name="connsiteX88" fmla="*/ 2254398 w 4546203"/>
              <a:gd name="connsiteY88" fmla="*/ 4476562 h 5092591"/>
              <a:gd name="connsiteX89" fmla="*/ 3013292 w 4546203"/>
              <a:gd name="connsiteY89" fmla="*/ 4472980 h 5092591"/>
              <a:gd name="connsiteX90" fmla="*/ 2964344 w 4546203"/>
              <a:gd name="connsiteY90" fmla="*/ 4491286 h 5092591"/>
              <a:gd name="connsiteX91" fmla="*/ 2977874 w 4546203"/>
              <a:gd name="connsiteY91" fmla="*/ 4529489 h 5092591"/>
              <a:gd name="connsiteX92" fmla="*/ 3028016 w 4546203"/>
              <a:gd name="connsiteY92" fmla="*/ 4510388 h 5092591"/>
              <a:gd name="connsiteX93" fmla="*/ 3013292 w 4546203"/>
              <a:gd name="connsiteY93" fmla="*/ 4472980 h 5092591"/>
              <a:gd name="connsiteX94" fmla="*/ 2156104 w 4546203"/>
              <a:gd name="connsiteY94" fmla="*/ 4472582 h 5092591"/>
              <a:gd name="connsiteX95" fmla="*/ 2152920 w 4546203"/>
              <a:gd name="connsiteY95" fmla="*/ 4537051 h 5092591"/>
              <a:gd name="connsiteX96" fmla="*/ 2222164 w 4546203"/>
              <a:gd name="connsiteY96" fmla="*/ 4537051 h 5092591"/>
              <a:gd name="connsiteX97" fmla="*/ 2222164 w 4546203"/>
              <a:gd name="connsiteY97" fmla="*/ 4475766 h 5092591"/>
              <a:gd name="connsiteX98" fmla="*/ 2156104 w 4546203"/>
              <a:gd name="connsiteY98" fmla="*/ 4472582 h 5092591"/>
              <a:gd name="connsiteX99" fmla="*/ 2059401 w 4546203"/>
              <a:gd name="connsiteY99" fmla="*/ 4465021 h 5092591"/>
              <a:gd name="connsiteX100" fmla="*/ 2052636 w 4546203"/>
              <a:gd name="connsiteY100" fmla="*/ 4528295 h 5092591"/>
              <a:gd name="connsiteX101" fmla="*/ 2121482 w 4546203"/>
              <a:gd name="connsiteY101" fmla="*/ 4534265 h 5092591"/>
              <a:gd name="connsiteX102" fmla="*/ 2126257 w 4546203"/>
              <a:gd name="connsiteY102" fmla="*/ 4470990 h 5092591"/>
              <a:gd name="connsiteX103" fmla="*/ 2059401 w 4546203"/>
              <a:gd name="connsiteY103" fmla="*/ 4465021 h 5092591"/>
              <a:gd name="connsiteX104" fmla="*/ 2881172 w 4546203"/>
              <a:gd name="connsiteY104" fmla="*/ 4462236 h 5092591"/>
              <a:gd name="connsiteX105" fmla="*/ 2833020 w 4546203"/>
              <a:gd name="connsiteY105" fmla="*/ 4477358 h 5092591"/>
              <a:gd name="connsiteX106" fmla="*/ 2842571 w 4546203"/>
              <a:gd name="connsiteY106" fmla="*/ 4511184 h 5092591"/>
              <a:gd name="connsiteX107" fmla="*/ 2891917 w 4546203"/>
              <a:gd name="connsiteY107" fmla="*/ 4496061 h 5092591"/>
              <a:gd name="connsiteX108" fmla="*/ 2881172 w 4546203"/>
              <a:gd name="connsiteY108" fmla="*/ 4462236 h 5092591"/>
              <a:gd name="connsiteX109" fmla="*/ 3070199 w 4546203"/>
              <a:gd name="connsiteY109" fmla="*/ 4449899 h 5092591"/>
              <a:gd name="connsiteX110" fmla="*/ 3021649 w 4546203"/>
              <a:gd name="connsiteY110" fmla="*/ 4470195 h 5092591"/>
              <a:gd name="connsiteX111" fmla="*/ 3036373 w 4546203"/>
              <a:gd name="connsiteY111" fmla="*/ 4507602 h 5092591"/>
              <a:gd name="connsiteX112" fmla="*/ 3085719 w 4546203"/>
              <a:gd name="connsiteY112" fmla="*/ 4486908 h 5092591"/>
              <a:gd name="connsiteX113" fmla="*/ 3070199 w 4546203"/>
              <a:gd name="connsiteY113" fmla="*/ 4449899 h 5092591"/>
              <a:gd name="connsiteX114" fmla="*/ 2937283 w 4546203"/>
              <a:gd name="connsiteY114" fmla="*/ 4443134 h 5092591"/>
              <a:gd name="connsiteX115" fmla="*/ 2889131 w 4546203"/>
              <a:gd name="connsiteY115" fmla="*/ 4460644 h 5092591"/>
              <a:gd name="connsiteX116" fmla="*/ 2900672 w 4546203"/>
              <a:gd name="connsiteY116" fmla="*/ 4493276 h 5092591"/>
              <a:gd name="connsiteX117" fmla="*/ 2949620 w 4546203"/>
              <a:gd name="connsiteY117" fmla="*/ 4476562 h 5092591"/>
              <a:gd name="connsiteX118" fmla="*/ 2937283 w 4546203"/>
              <a:gd name="connsiteY118" fmla="*/ 4443134 h 5092591"/>
              <a:gd name="connsiteX119" fmla="*/ 1805906 w 4546203"/>
              <a:gd name="connsiteY119" fmla="*/ 4442736 h 5092591"/>
              <a:gd name="connsiteX120" fmla="*/ 1795161 w 4546203"/>
              <a:gd name="connsiteY120" fmla="*/ 4486510 h 5092591"/>
              <a:gd name="connsiteX121" fmla="*/ 1885098 w 4546203"/>
              <a:gd name="connsiteY121" fmla="*/ 4506010 h 5092591"/>
              <a:gd name="connsiteX122" fmla="*/ 1893455 w 4546203"/>
              <a:gd name="connsiteY122" fmla="*/ 4461838 h 5092591"/>
              <a:gd name="connsiteX123" fmla="*/ 1805906 w 4546203"/>
              <a:gd name="connsiteY123" fmla="*/ 4442736 h 5092591"/>
              <a:gd name="connsiteX124" fmla="*/ 3125515 w 4546203"/>
              <a:gd name="connsiteY124" fmla="*/ 4426022 h 5092591"/>
              <a:gd name="connsiteX125" fmla="*/ 3078158 w 4546203"/>
              <a:gd name="connsiteY125" fmla="*/ 4447113 h 5092591"/>
              <a:gd name="connsiteX126" fmla="*/ 3093678 w 4546203"/>
              <a:gd name="connsiteY126" fmla="*/ 4484123 h 5092591"/>
              <a:gd name="connsiteX127" fmla="*/ 3142626 w 4546203"/>
              <a:gd name="connsiteY127" fmla="*/ 4461838 h 5092591"/>
              <a:gd name="connsiteX128" fmla="*/ 3125515 w 4546203"/>
              <a:gd name="connsiteY128" fmla="*/ 4426022 h 5092591"/>
              <a:gd name="connsiteX129" fmla="*/ 1534503 w 4546203"/>
              <a:gd name="connsiteY129" fmla="*/ 4425226 h 5092591"/>
              <a:gd name="connsiteX130" fmla="*/ 1518187 w 4546203"/>
              <a:gd name="connsiteY130" fmla="*/ 4467011 h 5092591"/>
              <a:gd name="connsiteX131" fmla="*/ 1607328 w 4546203"/>
              <a:gd name="connsiteY131" fmla="*/ 4499643 h 5092591"/>
              <a:gd name="connsiteX132" fmla="*/ 1621654 w 4546203"/>
              <a:gd name="connsiteY132" fmla="*/ 4457062 h 5092591"/>
              <a:gd name="connsiteX133" fmla="*/ 1534503 w 4546203"/>
              <a:gd name="connsiteY133" fmla="*/ 4425226 h 5092591"/>
              <a:gd name="connsiteX134" fmla="*/ 2993394 w 4546203"/>
              <a:gd name="connsiteY134" fmla="*/ 4422440 h 5092591"/>
              <a:gd name="connsiteX135" fmla="*/ 2945640 w 4546203"/>
              <a:gd name="connsiteY135" fmla="*/ 4440746 h 5092591"/>
              <a:gd name="connsiteX136" fmla="*/ 2958375 w 4546203"/>
              <a:gd name="connsiteY136" fmla="*/ 4473378 h 5092591"/>
              <a:gd name="connsiteX137" fmla="*/ 3006527 w 4546203"/>
              <a:gd name="connsiteY137" fmla="*/ 4455072 h 5092591"/>
              <a:gd name="connsiteX138" fmla="*/ 2993394 w 4546203"/>
              <a:gd name="connsiteY138" fmla="*/ 4422440 h 5092591"/>
              <a:gd name="connsiteX139" fmla="*/ 1680949 w 4546203"/>
              <a:gd name="connsiteY139" fmla="*/ 4407318 h 5092591"/>
              <a:gd name="connsiteX140" fmla="*/ 1667817 w 4546203"/>
              <a:gd name="connsiteY140" fmla="*/ 4450297 h 5092591"/>
              <a:gd name="connsiteX141" fmla="*/ 1755764 w 4546203"/>
              <a:gd name="connsiteY141" fmla="*/ 4475766 h 5092591"/>
              <a:gd name="connsiteX142" fmla="*/ 1767305 w 4546203"/>
              <a:gd name="connsiteY142" fmla="*/ 4431991 h 5092591"/>
              <a:gd name="connsiteX143" fmla="*/ 1680949 w 4546203"/>
              <a:gd name="connsiteY143" fmla="*/ 4407318 h 5092591"/>
              <a:gd name="connsiteX144" fmla="*/ 3048710 w 4546203"/>
              <a:gd name="connsiteY144" fmla="*/ 4400155 h 5092591"/>
              <a:gd name="connsiteX145" fmla="*/ 3001752 w 4546203"/>
              <a:gd name="connsiteY145" fmla="*/ 4420451 h 5092591"/>
              <a:gd name="connsiteX146" fmla="*/ 3014884 w 4546203"/>
              <a:gd name="connsiteY146" fmla="*/ 4452685 h 5092591"/>
              <a:gd name="connsiteX147" fmla="*/ 3062638 w 4546203"/>
              <a:gd name="connsiteY147" fmla="*/ 4433185 h 5092591"/>
              <a:gd name="connsiteX148" fmla="*/ 3048710 w 4546203"/>
              <a:gd name="connsiteY148" fmla="*/ 4400155 h 5092591"/>
              <a:gd name="connsiteX149" fmla="*/ 2161277 w 4546203"/>
              <a:gd name="connsiteY149" fmla="*/ 4383043 h 5092591"/>
              <a:gd name="connsiteX150" fmla="*/ 2158094 w 4546203"/>
              <a:gd name="connsiteY150" fmla="*/ 4444328 h 5092591"/>
              <a:gd name="connsiteX151" fmla="*/ 2224153 w 4546203"/>
              <a:gd name="connsiteY151" fmla="*/ 4444328 h 5092591"/>
              <a:gd name="connsiteX152" fmla="*/ 2224153 w 4546203"/>
              <a:gd name="connsiteY152" fmla="*/ 4383043 h 5092591"/>
              <a:gd name="connsiteX153" fmla="*/ 2161277 w 4546203"/>
              <a:gd name="connsiteY153" fmla="*/ 4383043 h 5092591"/>
              <a:gd name="connsiteX154" fmla="*/ 2411191 w 4546203"/>
              <a:gd name="connsiteY154" fmla="*/ 4378666 h 5092591"/>
              <a:gd name="connsiteX155" fmla="*/ 2346723 w 4546203"/>
              <a:gd name="connsiteY155" fmla="*/ 4382247 h 5092591"/>
              <a:gd name="connsiteX156" fmla="*/ 2349906 w 4546203"/>
              <a:gd name="connsiteY156" fmla="*/ 4445920 h 5092591"/>
              <a:gd name="connsiteX157" fmla="*/ 2415170 w 4546203"/>
              <a:gd name="connsiteY157" fmla="*/ 4441940 h 5092591"/>
              <a:gd name="connsiteX158" fmla="*/ 2411191 w 4546203"/>
              <a:gd name="connsiteY158" fmla="*/ 4378666 h 5092591"/>
              <a:gd name="connsiteX159" fmla="*/ 3103229 w 4546203"/>
              <a:gd name="connsiteY159" fmla="*/ 4376676 h 5092591"/>
              <a:gd name="connsiteX160" fmla="*/ 3056669 w 4546203"/>
              <a:gd name="connsiteY160" fmla="*/ 4397369 h 5092591"/>
              <a:gd name="connsiteX161" fmla="*/ 3070995 w 4546203"/>
              <a:gd name="connsiteY161" fmla="*/ 4430001 h 5092591"/>
              <a:gd name="connsiteX162" fmla="*/ 3118351 w 4546203"/>
              <a:gd name="connsiteY162" fmla="*/ 4408512 h 5092591"/>
              <a:gd name="connsiteX163" fmla="*/ 3103229 w 4546203"/>
              <a:gd name="connsiteY163" fmla="*/ 4376676 h 5092591"/>
              <a:gd name="connsiteX164" fmla="*/ 1411933 w 4546203"/>
              <a:gd name="connsiteY164" fmla="*/ 4372696 h 5092591"/>
              <a:gd name="connsiteX165" fmla="*/ 1392832 w 4546203"/>
              <a:gd name="connsiteY165" fmla="*/ 4413287 h 5092591"/>
              <a:gd name="connsiteX166" fmla="*/ 1479187 w 4546203"/>
              <a:gd name="connsiteY166" fmla="*/ 4451491 h 5092591"/>
              <a:gd name="connsiteX167" fmla="*/ 1496697 w 4546203"/>
              <a:gd name="connsiteY167" fmla="*/ 4410104 h 5092591"/>
              <a:gd name="connsiteX168" fmla="*/ 1411933 w 4546203"/>
              <a:gd name="connsiteY168" fmla="*/ 4372696 h 5092591"/>
              <a:gd name="connsiteX169" fmla="*/ 1558778 w 4546203"/>
              <a:gd name="connsiteY169" fmla="*/ 4364339 h 5092591"/>
              <a:gd name="connsiteX170" fmla="*/ 1542462 w 4546203"/>
              <a:gd name="connsiteY170" fmla="*/ 4406522 h 5092591"/>
              <a:gd name="connsiteX171" fmla="*/ 1628817 w 4546203"/>
              <a:gd name="connsiteY171" fmla="*/ 4437961 h 5092591"/>
              <a:gd name="connsiteX172" fmla="*/ 1642746 w 4546203"/>
              <a:gd name="connsiteY172" fmla="*/ 4394982 h 5092591"/>
              <a:gd name="connsiteX173" fmla="*/ 1558778 w 4546203"/>
              <a:gd name="connsiteY173" fmla="*/ 4364339 h 5092591"/>
              <a:gd name="connsiteX174" fmla="*/ 2904253 w 4546203"/>
              <a:gd name="connsiteY174" fmla="*/ 4347227 h 5092591"/>
              <a:gd name="connsiteX175" fmla="*/ 2858489 w 4546203"/>
              <a:gd name="connsiteY175" fmla="*/ 4362350 h 5092591"/>
              <a:gd name="connsiteX176" fmla="*/ 2887539 w 4546203"/>
              <a:gd name="connsiteY176" fmla="*/ 4452287 h 5092591"/>
              <a:gd name="connsiteX177" fmla="*/ 2935691 w 4546203"/>
              <a:gd name="connsiteY177" fmla="*/ 4435573 h 5092591"/>
              <a:gd name="connsiteX178" fmla="*/ 2904253 w 4546203"/>
              <a:gd name="connsiteY178" fmla="*/ 4347227 h 5092591"/>
              <a:gd name="connsiteX179" fmla="*/ 2956783 w 4546203"/>
              <a:gd name="connsiteY179" fmla="*/ 4327330 h 5092591"/>
              <a:gd name="connsiteX180" fmla="*/ 2911416 w 4546203"/>
              <a:gd name="connsiteY180" fmla="*/ 4344442 h 5092591"/>
              <a:gd name="connsiteX181" fmla="*/ 2943253 w 4546203"/>
              <a:gd name="connsiteY181" fmla="*/ 4433185 h 5092591"/>
              <a:gd name="connsiteX182" fmla="*/ 2991007 w 4546203"/>
              <a:gd name="connsiteY182" fmla="*/ 4415277 h 5092591"/>
              <a:gd name="connsiteX183" fmla="*/ 2956783 w 4546203"/>
              <a:gd name="connsiteY183" fmla="*/ 4327330 h 5092591"/>
              <a:gd name="connsiteX184" fmla="*/ 1836150 w 4546203"/>
              <a:gd name="connsiteY184" fmla="*/ 4315789 h 5092591"/>
              <a:gd name="connsiteX185" fmla="*/ 1826599 w 4546203"/>
              <a:gd name="connsiteY185" fmla="*/ 4359564 h 5092591"/>
              <a:gd name="connsiteX186" fmla="*/ 1909771 w 4546203"/>
              <a:gd name="connsiteY186" fmla="*/ 4377870 h 5092591"/>
              <a:gd name="connsiteX187" fmla="*/ 1918128 w 4546203"/>
              <a:gd name="connsiteY187" fmla="*/ 4333299 h 5092591"/>
              <a:gd name="connsiteX188" fmla="*/ 1836150 w 4546203"/>
              <a:gd name="connsiteY188" fmla="*/ 4315789 h 5092591"/>
              <a:gd name="connsiteX189" fmla="*/ 3009313 w 4546203"/>
              <a:gd name="connsiteY189" fmla="*/ 4306239 h 5092591"/>
              <a:gd name="connsiteX190" fmla="*/ 2964344 w 4546203"/>
              <a:gd name="connsiteY190" fmla="*/ 4324544 h 5092591"/>
              <a:gd name="connsiteX191" fmla="*/ 2998966 w 4546203"/>
              <a:gd name="connsiteY191" fmla="*/ 4412094 h 5092591"/>
              <a:gd name="connsiteX192" fmla="*/ 3045924 w 4546203"/>
              <a:gd name="connsiteY192" fmla="*/ 4392992 h 5092591"/>
              <a:gd name="connsiteX193" fmla="*/ 3009313 w 4546203"/>
              <a:gd name="connsiteY193" fmla="*/ 4306239 h 5092591"/>
              <a:gd name="connsiteX194" fmla="*/ 2166848 w 4546203"/>
              <a:gd name="connsiteY194" fmla="*/ 4291116 h 5092591"/>
              <a:gd name="connsiteX195" fmla="*/ 2163267 w 4546203"/>
              <a:gd name="connsiteY195" fmla="*/ 4352003 h 5092591"/>
              <a:gd name="connsiteX196" fmla="*/ 2226143 w 4546203"/>
              <a:gd name="connsiteY196" fmla="*/ 4352003 h 5092591"/>
              <a:gd name="connsiteX197" fmla="*/ 2225745 w 4546203"/>
              <a:gd name="connsiteY197" fmla="*/ 4291116 h 5092591"/>
              <a:gd name="connsiteX198" fmla="*/ 2166848 w 4546203"/>
              <a:gd name="connsiteY198" fmla="*/ 4291116 h 5092591"/>
              <a:gd name="connsiteX199" fmla="*/ 2297619 w 4546203"/>
              <a:gd name="connsiteY199" fmla="*/ 4290519 h 5092591"/>
              <a:gd name="connsiteX200" fmla="*/ 2259173 w 4546203"/>
              <a:gd name="connsiteY200" fmla="*/ 4292310 h 5092591"/>
              <a:gd name="connsiteX201" fmla="*/ 2255592 w 4546203"/>
              <a:gd name="connsiteY201" fmla="*/ 4293902 h 5092591"/>
              <a:gd name="connsiteX202" fmla="*/ 2255592 w 4546203"/>
              <a:gd name="connsiteY202" fmla="*/ 4353197 h 5092591"/>
              <a:gd name="connsiteX203" fmla="*/ 2316478 w 4546203"/>
              <a:gd name="connsiteY203" fmla="*/ 4353197 h 5092591"/>
              <a:gd name="connsiteX204" fmla="*/ 2297619 w 4546203"/>
              <a:gd name="connsiteY204" fmla="*/ 4290519 h 5092591"/>
              <a:gd name="connsiteX205" fmla="*/ 3061046 w 4546203"/>
              <a:gd name="connsiteY205" fmla="*/ 4283555 h 5092591"/>
              <a:gd name="connsiteX206" fmla="*/ 3016874 w 4546203"/>
              <a:gd name="connsiteY206" fmla="*/ 4303453 h 5092591"/>
              <a:gd name="connsiteX207" fmla="*/ 3053883 w 4546203"/>
              <a:gd name="connsiteY207" fmla="*/ 4390206 h 5092591"/>
              <a:gd name="connsiteX208" fmla="*/ 3100046 w 4546203"/>
              <a:gd name="connsiteY208" fmla="*/ 4369115 h 5092591"/>
              <a:gd name="connsiteX209" fmla="*/ 3061046 w 4546203"/>
              <a:gd name="connsiteY209" fmla="*/ 4283555 h 5092591"/>
              <a:gd name="connsiteX210" fmla="*/ 1719948 w 4546203"/>
              <a:gd name="connsiteY210" fmla="*/ 4283157 h 5092591"/>
              <a:gd name="connsiteX211" fmla="*/ 1706816 w 4546203"/>
              <a:gd name="connsiteY211" fmla="*/ 4326136 h 5092591"/>
              <a:gd name="connsiteX212" fmla="*/ 1788794 w 4546203"/>
              <a:gd name="connsiteY212" fmla="*/ 4350013 h 5092591"/>
              <a:gd name="connsiteX213" fmla="*/ 1800733 w 4546203"/>
              <a:gd name="connsiteY213" fmla="*/ 4306239 h 5092591"/>
              <a:gd name="connsiteX214" fmla="*/ 1719948 w 4546203"/>
              <a:gd name="connsiteY214" fmla="*/ 4283157 h 5092591"/>
              <a:gd name="connsiteX215" fmla="*/ 2079299 w 4546203"/>
              <a:gd name="connsiteY215" fmla="*/ 4281167 h 5092591"/>
              <a:gd name="connsiteX216" fmla="*/ 2072534 w 4546203"/>
              <a:gd name="connsiteY216" fmla="*/ 4344442 h 5092591"/>
              <a:gd name="connsiteX217" fmla="*/ 2135012 w 4546203"/>
              <a:gd name="connsiteY217" fmla="*/ 4350013 h 5092591"/>
              <a:gd name="connsiteX218" fmla="*/ 2139390 w 4546203"/>
              <a:gd name="connsiteY218" fmla="*/ 4287137 h 5092591"/>
              <a:gd name="connsiteX219" fmla="*/ 2079299 w 4546203"/>
              <a:gd name="connsiteY219" fmla="*/ 4281167 h 5092591"/>
              <a:gd name="connsiteX220" fmla="*/ 2819489 w 4546203"/>
              <a:gd name="connsiteY220" fmla="*/ 4267637 h 5092591"/>
              <a:gd name="connsiteX221" fmla="*/ 2775715 w 4546203"/>
              <a:gd name="connsiteY221" fmla="*/ 4281167 h 5092591"/>
              <a:gd name="connsiteX222" fmla="*/ 2801980 w 4546203"/>
              <a:gd name="connsiteY222" fmla="*/ 4371104 h 5092591"/>
              <a:gd name="connsiteX223" fmla="*/ 2848142 w 4546203"/>
              <a:gd name="connsiteY223" fmla="*/ 4357574 h 5092591"/>
              <a:gd name="connsiteX224" fmla="*/ 2819489 w 4546203"/>
              <a:gd name="connsiteY224" fmla="*/ 4267637 h 5092591"/>
              <a:gd name="connsiteX225" fmla="*/ 1467647 w 4546203"/>
              <a:gd name="connsiteY225" fmla="*/ 4254106 h 5092591"/>
              <a:gd name="connsiteX226" fmla="*/ 1448545 w 4546203"/>
              <a:gd name="connsiteY226" fmla="*/ 4295096 h 5092591"/>
              <a:gd name="connsiteX227" fmla="*/ 1529727 w 4546203"/>
              <a:gd name="connsiteY227" fmla="*/ 4330911 h 5092591"/>
              <a:gd name="connsiteX228" fmla="*/ 1546839 w 4546203"/>
              <a:gd name="connsiteY228" fmla="*/ 4289524 h 5092591"/>
              <a:gd name="connsiteX229" fmla="*/ 1467647 w 4546203"/>
              <a:gd name="connsiteY229" fmla="*/ 4254106 h 5092591"/>
              <a:gd name="connsiteX230" fmla="*/ 1851670 w 4546203"/>
              <a:gd name="connsiteY230" fmla="*/ 4251719 h 5092591"/>
              <a:gd name="connsiteX231" fmla="*/ 1842120 w 4546203"/>
              <a:gd name="connsiteY231" fmla="*/ 4295494 h 5092591"/>
              <a:gd name="connsiteX232" fmla="*/ 1922108 w 4546203"/>
              <a:gd name="connsiteY232" fmla="*/ 4313401 h 5092591"/>
              <a:gd name="connsiteX233" fmla="*/ 1930863 w 4546203"/>
              <a:gd name="connsiteY233" fmla="*/ 4268831 h 5092591"/>
              <a:gd name="connsiteX234" fmla="*/ 1851670 w 4546203"/>
              <a:gd name="connsiteY234" fmla="*/ 4251719 h 5092591"/>
              <a:gd name="connsiteX235" fmla="*/ 2870029 w 4546203"/>
              <a:gd name="connsiteY235" fmla="*/ 4250525 h 5092591"/>
              <a:gd name="connsiteX236" fmla="*/ 2826653 w 4546203"/>
              <a:gd name="connsiteY236" fmla="*/ 4265647 h 5092591"/>
              <a:gd name="connsiteX237" fmla="*/ 2856101 w 4546203"/>
              <a:gd name="connsiteY237" fmla="*/ 4355186 h 5092591"/>
              <a:gd name="connsiteX238" fmla="*/ 2901468 w 4546203"/>
              <a:gd name="connsiteY238" fmla="*/ 4338870 h 5092591"/>
              <a:gd name="connsiteX239" fmla="*/ 2870029 w 4546203"/>
              <a:gd name="connsiteY239" fmla="*/ 4250525 h 5092591"/>
              <a:gd name="connsiteX240" fmla="*/ 1606134 w 4546203"/>
              <a:gd name="connsiteY240" fmla="*/ 4242964 h 5092591"/>
              <a:gd name="connsiteX241" fmla="*/ 1589818 w 4546203"/>
              <a:gd name="connsiteY241" fmla="*/ 4284749 h 5092591"/>
              <a:gd name="connsiteX242" fmla="*/ 1670204 w 4546203"/>
              <a:gd name="connsiteY242" fmla="*/ 4314198 h 5092591"/>
              <a:gd name="connsiteX243" fmla="*/ 1684929 w 4546203"/>
              <a:gd name="connsiteY243" fmla="*/ 4271616 h 5092591"/>
              <a:gd name="connsiteX244" fmla="*/ 1606134 w 4546203"/>
              <a:gd name="connsiteY244" fmla="*/ 4242964 h 5092591"/>
              <a:gd name="connsiteX245" fmla="*/ 2919773 w 4546203"/>
              <a:gd name="connsiteY245" fmla="*/ 4232219 h 5092591"/>
              <a:gd name="connsiteX246" fmla="*/ 2877192 w 4546203"/>
              <a:gd name="connsiteY246" fmla="*/ 4248137 h 5092591"/>
              <a:gd name="connsiteX247" fmla="*/ 2909029 w 4546203"/>
              <a:gd name="connsiteY247" fmla="*/ 4336881 h 5092591"/>
              <a:gd name="connsiteX248" fmla="*/ 2953997 w 4546203"/>
              <a:gd name="connsiteY248" fmla="*/ 4320167 h 5092591"/>
              <a:gd name="connsiteX249" fmla="*/ 2919773 w 4546203"/>
              <a:gd name="connsiteY249" fmla="*/ 4232219 h 5092591"/>
              <a:gd name="connsiteX250" fmla="*/ 1739846 w 4546203"/>
              <a:gd name="connsiteY250" fmla="*/ 4221077 h 5092591"/>
              <a:gd name="connsiteX251" fmla="*/ 1726315 w 4546203"/>
              <a:gd name="connsiteY251" fmla="*/ 4264055 h 5092591"/>
              <a:gd name="connsiteX252" fmla="*/ 1806304 w 4546203"/>
              <a:gd name="connsiteY252" fmla="*/ 4286341 h 5092591"/>
              <a:gd name="connsiteX253" fmla="*/ 1817446 w 4546203"/>
              <a:gd name="connsiteY253" fmla="*/ 4242964 h 5092591"/>
              <a:gd name="connsiteX254" fmla="*/ 1739846 w 4546203"/>
              <a:gd name="connsiteY254" fmla="*/ 4221077 h 5092591"/>
              <a:gd name="connsiteX255" fmla="*/ 2969915 w 4546203"/>
              <a:gd name="connsiteY255" fmla="*/ 4211924 h 5092591"/>
              <a:gd name="connsiteX256" fmla="*/ 2927732 w 4546203"/>
              <a:gd name="connsiteY256" fmla="*/ 4229831 h 5092591"/>
              <a:gd name="connsiteX257" fmla="*/ 2961956 w 4546203"/>
              <a:gd name="connsiteY257" fmla="*/ 4317381 h 5092591"/>
              <a:gd name="connsiteX258" fmla="*/ 3006527 w 4546203"/>
              <a:gd name="connsiteY258" fmla="*/ 4298677 h 5092591"/>
              <a:gd name="connsiteX259" fmla="*/ 2969915 w 4546203"/>
              <a:gd name="connsiteY259" fmla="*/ 4211924 h 5092591"/>
              <a:gd name="connsiteX260" fmla="*/ 2171624 w 4546203"/>
              <a:gd name="connsiteY260" fmla="*/ 4197995 h 5092591"/>
              <a:gd name="connsiteX261" fmla="*/ 2168838 w 4546203"/>
              <a:gd name="connsiteY261" fmla="*/ 4259678 h 5092591"/>
              <a:gd name="connsiteX262" fmla="*/ 2228133 w 4546203"/>
              <a:gd name="connsiteY262" fmla="*/ 4259678 h 5092591"/>
              <a:gd name="connsiteX263" fmla="*/ 2227735 w 4546203"/>
              <a:gd name="connsiteY263" fmla="*/ 4197995 h 5092591"/>
              <a:gd name="connsiteX264" fmla="*/ 2171624 w 4546203"/>
              <a:gd name="connsiteY264" fmla="*/ 4197995 h 5092591"/>
              <a:gd name="connsiteX265" fmla="*/ 2396069 w 4546203"/>
              <a:gd name="connsiteY265" fmla="*/ 4194016 h 5092591"/>
              <a:gd name="connsiteX266" fmla="*/ 2341947 w 4546203"/>
              <a:gd name="connsiteY266" fmla="*/ 4197995 h 5092591"/>
              <a:gd name="connsiteX267" fmla="*/ 2341549 w 4546203"/>
              <a:gd name="connsiteY267" fmla="*/ 4261270 h 5092591"/>
              <a:gd name="connsiteX268" fmla="*/ 2401640 w 4546203"/>
              <a:gd name="connsiteY268" fmla="*/ 4257688 h 5092591"/>
              <a:gd name="connsiteX269" fmla="*/ 2396069 w 4546203"/>
              <a:gd name="connsiteY269" fmla="*/ 4194016 h 5092591"/>
              <a:gd name="connsiteX270" fmla="*/ 2089248 w 4546203"/>
              <a:gd name="connsiteY270" fmla="*/ 4189638 h 5092591"/>
              <a:gd name="connsiteX271" fmla="*/ 2082483 w 4546203"/>
              <a:gd name="connsiteY271" fmla="*/ 4252515 h 5092591"/>
              <a:gd name="connsiteX272" fmla="*/ 2141777 w 4546203"/>
              <a:gd name="connsiteY272" fmla="*/ 4258086 h 5092591"/>
              <a:gd name="connsiteX273" fmla="*/ 2146155 w 4546203"/>
              <a:gd name="connsiteY273" fmla="*/ 4194812 h 5092591"/>
              <a:gd name="connsiteX274" fmla="*/ 2089248 w 4546203"/>
              <a:gd name="connsiteY274" fmla="*/ 4189638 h 5092591"/>
              <a:gd name="connsiteX275" fmla="*/ 2687767 w 4546203"/>
              <a:gd name="connsiteY275" fmla="*/ 4183669 h 5092591"/>
              <a:gd name="connsiteX276" fmla="*/ 2649962 w 4546203"/>
              <a:gd name="connsiteY276" fmla="*/ 4193618 h 5092591"/>
              <a:gd name="connsiteX277" fmla="*/ 2659911 w 4546203"/>
              <a:gd name="connsiteY277" fmla="*/ 4233811 h 5092591"/>
              <a:gd name="connsiteX278" fmla="*/ 2697716 w 4546203"/>
              <a:gd name="connsiteY278" fmla="*/ 4224260 h 5092591"/>
              <a:gd name="connsiteX279" fmla="*/ 2687767 w 4546203"/>
              <a:gd name="connsiteY279" fmla="*/ 4183669 h 5092591"/>
              <a:gd name="connsiteX280" fmla="*/ 1630011 w 4546203"/>
              <a:gd name="connsiteY280" fmla="*/ 4182077 h 5092591"/>
              <a:gd name="connsiteX281" fmla="*/ 1614093 w 4546203"/>
              <a:gd name="connsiteY281" fmla="*/ 4223862 h 5092591"/>
              <a:gd name="connsiteX282" fmla="*/ 1691296 w 4546203"/>
              <a:gd name="connsiteY282" fmla="*/ 4252515 h 5092591"/>
              <a:gd name="connsiteX283" fmla="*/ 1706020 w 4546203"/>
              <a:gd name="connsiteY283" fmla="*/ 4209934 h 5092591"/>
              <a:gd name="connsiteX284" fmla="*/ 1630011 w 4546203"/>
              <a:gd name="connsiteY284" fmla="*/ 4182077 h 5092591"/>
              <a:gd name="connsiteX285" fmla="*/ 2788449 w 4546203"/>
              <a:gd name="connsiteY285" fmla="*/ 4170139 h 5092591"/>
              <a:gd name="connsiteX286" fmla="*/ 2747062 w 4546203"/>
              <a:gd name="connsiteY286" fmla="*/ 4183271 h 5092591"/>
              <a:gd name="connsiteX287" fmla="*/ 2773725 w 4546203"/>
              <a:gd name="connsiteY287" fmla="*/ 4273208 h 5092591"/>
              <a:gd name="connsiteX288" fmla="*/ 2817102 w 4546203"/>
              <a:gd name="connsiteY288" fmla="*/ 4259678 h 5092591"/>
              <a:gd name="connsiteX289" fmla="*/ 2788449 w 4546203"/>
              <a:gd name="connsiteY289" fmla="*/ 4170139 h 5092591"/>
              <a:gd name="connsiteX290" fmla="*/ 2836203 w 4546203"/>
              <a:gd name="connsiteY290" fmla="*/ 4154220 h 5092591"/>
              <a:gd name="connsiteX291" fmla="*/ 2794817 w 4546203"/>
              <a:gd name="connsiteY291" fmla="*/ 4167751 h 5092591"/>
              <a:gd name="connsiteX292" fmla="*/ 2824265 w 4546203"/>
              <a:gd name="connsiteY292" fmla="*/ 4257688 h 5092591"/>
              <a:gd name="connsiteX293" fmla="*/ 2867244 w 4546203"/>
              <a:gd name="connsiteY293" fmla="*/ 4242168 h 5092591"/>
              <a:gd name="connsiteX294" fmla="*/ 2836203 w 4546203"/>
              <a:gd name="connsiteY294" fmla="*/ 4154220 h 5092591"/>
              <a:gd name="connsiteX295" fmla="*/ 2599820 w 4546203"/>
              <a:gd name="connsiteY295" fmla="*/ 4145864 h 5092591"/>
              <a:gd name="connsiteX296" fmla="*/ 2563209 w 4546203"/>
              <a:gd name="connsiteY296" fmla="*/ 4152629 h 5092591"/>
              <a:gd name="connsiteX297" fmla="*/ 2571168 w 4546203"/>
              <a:gd name="connsiteY297" fmla="*/ 4194016 h 5092591"/>
              <a:gd name="connsiteX298" fmla="*/ 2608575 w 4546203"/>
              <a:gd name="connsiteY298" fmla="*/ 4186454 h 5092591"/>
              <a:gd name="connsiteX299" fmla="*/ 2599820 w 4546203"/>
              <a:gd name="connsiteY299" fmla="*/ 4145864 h 5092591"/>
              <a:gd name="connsiteX300" fmla="*/ 1522962 w 4546203"/>
              <a:gd name="connsiteY300" fmla="*/ 4135915 h 5092591"/>
              <a:gd name="connsiteX301" fmla="*/ 1504258 w 4546203"/>
              <a:gd name="connsiteY301" fmla="*/ 4176506 h 5092591"/>
              <a:gd name="connsiteX302" fmla="*/ 1579471 w 4546203"/>
              <a:gd name="connsiteY302" fmla="*/ 4209934 h 5092591"/>
              <a:gd name="connsiteX303" fmla="*/ 1596981 w 4546203"/>
              <a:gd name="connsiteY303" fmla="*/ 4168547 h 5092591"/>
              <a:gd name="connsiteX304" fmla="*/ 1522962 w 4546203"/>
              <a:gd name="connsiteY304" fmla="*/ 4135915 h 5092591"/>
              <a:gd name="connsiteX305" fmla="*/ 2773725 w 4546203"/>
              <a:gd name="connsiteY305" fmla="*/ 4125568 h 5092591"/>
              <a:gd name="connsiteX306" fmla="*/ 2734328 w 4546203"/>
              <a:gd name="connsiteY306" fmla="*/ 4138700 h 5092591"/>
              <a:gd name="connsiteX307" fmla="*/ 2745073 w 4546203"/>
              <a:gd name="connsiteY307" fmla="*/ 4175312 h 5092591"/>
              <a:gd name="connsiteX308" fmla="*/ 2786062 w 4546203"/>
              <a:gd name="connsiteY308" fmla="*/ 4162976 h 5092591"/>
              <a:gd name="connsiteX309" fmla="*/ 2773725 w 4546203"/>
              <a:gd name="connsiteY309" fmla="*/ 4125568 h 5092591"/>
              <a:gd name="connsiteX310" fmla="*/ 1883507 w 4546203"/>
              <a:gd name="connsiteY310" fmla="*/ 4125170 h 5092591"/>
              <a:gd name="connsiteX311" fmla="*/ 1872762 w 4546203"/>
              <a:gd name="connsiteY311" fmla="*/ 4168945 h 5092591"/>
              <a:gd name="connsiteX312" fmla="*/ 1947577 w 4546203"/>
              <a:gd name="connsiteY312" fmla="*/ 4185659 h 5092591"/>
              <a:gd name="connsiteX313" fmla="*/ 1956332 w 4546203"/>
              <a:gd name="connsiteY313" fmla="*/ 4141088 h 5092591"/>
              <a:gd name="connsiteX314" fmla="*/ 1883507 w 4546203"/>
              <a:gd name="connsiteY314" fmla="*/ 4125170 h 5092591"/>
              <a:gd name="connsiteX315" fmla="*/ 1996525 w 4546203"/>
              <a:gd name="connsiteY315" fmla="*/ 4124374 h 5092591"/>
              <a:gd name="connsiteX316" fmla="*/ 1982199 w 4546203"/>
              <a:gd name="connsiteY316" fmla="*/ 4207546 h 5092591"/>
              <a:gd name="connsiteX317" fmla="*/ 2047463 w 4546203"/>
              <a:gd name="connsiteY317" fmla="*/ 4217097 h 5092591"/>
              <a:gd name="connsiteX318" fmla="*/ 2058605 w 4546203"/>
              <a:gd name="connsiteY318" fmla="*/ 4133527 h 5092591"/>
              <a:gd name="connsiteX319" fmla="*/ 1996525 w 4546203"/>
              <a:gd name="connsiteY319" fmla="*/ 4124374 h 5092591"/>
              <a:gd name="connsiteX320" fmla="*/ 1653888 w 4546203"/>
              <a:gd name="connsiteY320" fmla="*/ 4120792 h 5092591"/>
              <a:gd name="connsiteX321" fmla="*/ 1637572 w 4546203"/>
              <a:gd name="connsiteY321" fmla="*/ 4162976 h 5092591"/>
              <a:gd name="connsiteX322" fmla="*/ 1712785 w 4546203"/>
              <a:gd name="connsiteY322" fmla="*/ 4190036 h 5092591"/>
              <a:gd name="connsiteX323" fmla="*/ 1726713 w 4546203"/>
              <a:gd name="connsiteY323" fmla="*/ 4147455 h 5092591"/>
              <a:gd name="connsiteX324" fmla="*/ 1653888 w 4546203"/>
              <a:gd name="connsiteY324" fmla="*/ 4120792 h 5092591"/>
              <a:gd name="connsiteX325" fmla="*/ 2930518 w 4546203"/>
              <a:gd name="connsiteY325" fmla="*/ 4117609 h 5092591"/>
              <a:gd name="connsiteX326" fmla="*/ 2890325 w 4546203"/>
              <a:gd name="connsiteY326" fmla="*/ 4133925 h 5092591"/>
              <a:gd name="connsiteX327" fmla="*/ 2924549 w 4546203"/>
              <a:gd name="connsiteY327" fmla="*/ 4221872 h 5092591"/>
              <a:gd name="connsiteX328" fmla="*/ 2967130 w 4546203"/>
              <a:gd name="connsiteY328" fmla="*/ 4204362 h 5092591"/>
              <a:gd name="connsiteX329" fmla="*/ 2930518 w 4546203"/>
              <a:gd name="connsiteY329" fmla="*/ 4117609 h 5092591"/>
              <a:gd name="connsiteX330" fmla="*/ 2820683 w 4546203"/>
              <a:gd name="connsiteY330" fmla="*/ 4110446 h 5092591"/>
              <a:gd name="connsiteX331" fmla="*/ 2780888 w 4546203"/>
              <a:gd name="connsiteY331" fmla="*/ 4123976 h 5092591"/>
              <a:gd name="connsiteX332" fmla="*/ 2792827 w 4546203"/>
              <a:gd name="connsiteY332" fmla="*/ 4160588 h 5092591"/>
              <a:gd name="connsiteX333" fmla="*/ 2833418 w 4546203"/>
              <a:gd name="connsiteY333" fmla="*/ 4146261 h 5092591"/>
              <a:gd name="connsiteX334" fmla="*/ 2820683 w 4546203"/>
              <a:gd name="connsiteY334" fmla="*/ 4110446 h 5092591"/>
              <a:gd name="connsiteX335" fmla="*/ 2256786 w 4546203"/>
              <a:gd name="connsiteY335" fmla="*/ 4107660 h 5092591"/>
              <a:gd name="connsiteX336" fmla="*/ 2256786 w 4546203"/>
              <a:gd name="connsiteY336" fmla="*/ 4168547 h 5092591"/>
              <a:gd name="connsiteX337" fmla="*/ 2310111 w 4546203"/>
              <a:gd name="connsiteY337" fmla="*/ 4168547 h 5092591"/>
              <a:gd name="connsiteX338" fmla="*/ 2310111 w 4546203"/>
              <a:gd name="connsiteY338" fmla="*/ 4107660 h 5092591"/>
              <a:gd name="connsiteX339" fmla="*/ 2256786 w 4546203"/>
              <a:gd name="connsiteY339" fmla="*/ 4107660 h 5092591"/>
              <a:gd name="connsiteX340" fmla="*/ 2177593 w 4546203"/>
              <a:gd name="connsiteY340" fmla="*/ 4104079 h 5092591"/>
              <a:gd name="connsiteX341" fmla="*/ 2173613 w 4546203"/>
              <a:gd name="connsiteY341" fmla="*/ 4167751 h 5092591"/>
              <a:gd name="connsiteX342" fmla="*/ 2230123 w 4546203"/>
              <a:gd name="connsiteY342" fmla="*/ 4167751 h 5092591"/>
              <a:gd name="connsiteX343" fmla="*/ 2230123 w 4546203"/>
              <a:gd name="connsiteY343" fmla="*/ 4106466 h 5092591"/>
              <a:gd name="connsiteX344" fmla="*/ 2177593 w 4546203"/>
              <a:gd name="connsiteY344" fmla="*/ 4104079 h 5092591"/>
              <a:gd name="connsiteX345" fmla="*/ 2389701 w 4546203"/>
              <a:gd name="connsiteY345" fmla="*/ 4102089 h 5092591"/>
              <a:gd name="connsiteX346" fmla="*/ 2335580 w 4546203"/>
              <a:gd name="connsiteY346" fmla="*/ 4105671 h 5092591"/>
              <a:gd name="connsiteX347" fmla="*/ 2338764 w 4546203"/>
              <a:gd name="connsiteY347" fmla="*/ 4169343 h 5092591"/>
              <a:gd name="connsiteX348" fmla="*/ 2394875 w 4546203"/>
              <a:gd name="connsiteY348" fmla="*/ 4165363 h 5092591"/>
              <a:gd name="connsiteX349" fmla="*/ 2389701 w 4546203"/>
              <a:gd name="connsiteY349" fmla="*/ 4102089 h 5092591"/>
              <a:gd name="connsiteX350" fmla="*/ 2514260 w 4546203"/>
              <a:gd name="connsiteY350" fmla="*/ 4101293 h 5092591"/>
              <a:gd name="connsiteX351" fmla="*/ 2478843 w 4546203"/>
              <a:gd name="connsiteY351" fmla="*/ 4105671 h 5092591"/>
              <a:gd name="connsiteX352" fmla="*/ 2485210 w 4546203"/>
              <a:gd name="connsiteY352" fmla="*/ 4147455 h 5092591"/>
              <a:gd name="connsiteX353" fmla="*/ 2521025 w 4546203"/>
              <a:gd name="connsiteY353" fmla="*/ 4141486 h 5092591"/>
              <a:gd name="connsiteX354" fmla="*/ 2514260 w 4546203"/>
              <a:gd name="connsiteY354" fmla="*/ 4101293 h 5092591"/>
              <a:gd name="connsiteX355" fmla="*/ 1067705 w 4546203"/>
              <a:gd name="connsiteY355" fmla="*/ 4101293 h 5092591"/>
              <a:gd name="connsiteX356" fmla="*/ 1037859 w 4546203"/>
              <a:gd name="connsiteY356" fmla="*/ 4140292 h 5092591"/>
              <a:gd name="connsiteX357" fmla="*/ 1081235 w 4546203"/>
              <a:gd name="connsiteY357" fmla="*/ 4172128 h 5092591"/>
              <a:gd name="connsiteX358" fmla="*/ 1109888 w 4546203"/>
              <a:gd name="connsiteY358" fmla="*/ 4133129 h 5092591"/>
              <a:gd name="connsiteX359" fmla="*/ 1067705 w 4546203"/>
              <a:gd name="connsiteY359" fmla="*/ 4101293 h 5092591"/>
              <a:gd name="connsiteX360" fmla="*/ 2975885 w 4546203"/>
              <a:gd name="connsiteY360" fmla="*/ 4097711 h 5092591"/>
              <a:gd name="connsiteX361" fmla="*/ 2936487 w 4546203"/>
              <a:gd name="connsiteY361" fmla="*/ 4115619 h 5092591"/>
              <a:gd name="connsiteX362" fmla="*/ 2973497 w 4546203"/>
              <a:gd name="connsiteY362" fmla="*/ 4201975 h 5092591"/>
              <a:gd name="connsiteX363" fmla="*/ 3015282 w 4546203"/>
              <a:gd name="connsiteY363" fmla="*/ 4183271 h 5092591"/>
              <a:gd name="connsiteX364" fmla="*/ 2975885 w 4546203"/>
              <a:gd name="connsiteY364" fmla="*/ 4097711 h 5092591"/>
              <a:gd name="connsiteX365" fmla="*/ 1779243 w 4546203"/>
              <a:gd name="connsiteY365" fmla="*/ 4096120 h 5092591"/>
              <a:gd name="connsiteX366" fmla="*/ 1766111 w 4546203"/>
              <a:gd name="connsiteY366" fmla="*/ 4139099 h 5092591"/>
              <a:gd name="connsiteX367" fmla="*/ 1839732 w 4546203"/>
              <a:gd name="connsiteY367" fmla="*/ 4159792 h 5092591"/>
              <a:gd name="connsiteX368" fmla="*/ 1850875 w 4546203"/>
              <a:gd name="connsiteY368" fmla="*/ 4116415 h 5092591"/>
              <a:gd name="connsiteX369" fmla="*/ 1779243 w 4546203"/>
              <a:gd name="connsiteY369" fmla="*/ 4096120 h 5092591"/>
              <a:gd name="connsiteX370" fmla="*/ 2866050 w 4546203"/>
              <a:gd name="connsiteY370" fmla="*/ 4093334 h 5092591"/>
              <a:gd name="connsiteX371" fmla="*/ 2827448 w 4546203"/>
              <a:gd name="connsiteY371" fmla="*/ 4108058 h 5092591"/>
              <a:gd name="connsiteX372" fmla="*/ 2840581 w 4546203"/>
              <a:gd name="connsiteY372" fmla="*/ 4144272 h 5092591"/>
              <a:gd name="connsiteX373" fmla="*/ 2880774 w 4546203"/>
              <a:gd name="connsiteY373" fmla="*/ 4128354 h 5092591"/>
              <a:gd name="connsiteX374" fmla="*/ 2866050 w 4546203"/>
              <a:gd name="connsiteY374" fmla="*/ 4093334 h 5092591"/>
              <a:gd name="connsiteX375" fmla="*/ 3548537 w 4546203"/>
              <a:gd name="connsiteY375" fmla="*/ 4083783 h 5092591"/>
              <a:gd name="connsiteX376" fmla="*/ 3509538 w 4546203"/>
              <a:gd name="connsiteY376" fmla="*/ 4115619 h 5092591"/>
              <a:gd name="connsiteX377" fmla="*/ 3533017 w 4546203"/>
              <a:gd name="connsiteY377" fmla="*/ 4145068 h 5092591"/>
              <a:gd name="connsiteX378" fmla="*/ 3572813 w 4546203"/>
              <a:gd name="connsiteY378" fmla="*/ 4112436 h 5092591"/>
              <a:gd name="connsiteX379" fmla="*/ 3548537 w 4546203"/>
              <a:gd name="connsiteY379" fmla="*/ 4083783 h 5092591"/>
              <a:gd name="connsiteX380" fmla="*/ 1550819 w 4546203"/>
              <a:gd name="connsiteY380" fmla="*/ 4077018 h 5092591"/>
              <a:gd name="connsiteX381" fmla="*/ 1531717 w 4546203"/>
              <a:gd name="connsiteY381" fmla="*/ 4117211 h 5092591"/>
              <a:gd name="connsiteX382" fmla="*/ 1604542 w 4546203"/>
              <a:gd name="connsiteY382" fmla="*/ 4149843 h 5092591"/>
              <a:gd name="connsiteX383" fmla="*/ 1622052 w 4546203"/>
              <a:gd name="connsiteY383" fmla="*/ 4108058 h 5092591"/>
              <a:gd name="connsiteX384" fmla="*/ 1550819 w 4546203"/>
              <a:gd name="connsiteY384" fmla="*/ 4077018 h 5092591"/>
              <a:gd name="connsiteX385" fmla="*/ 2911814 w 4546203"/>
              <a:gd name="connsiteY385" fmla="*/ 4075028 h 5092591"/>
              <a:gd name="connsiteX386" fmla="*/ 2873213 w 4546203"/>
              <a:gd name="connsiteY386" fmla="*/ 4090946 h 5092591"/>
              <a:gd name="connsiteX387" fmla="*/ 2887539 w 4546203"/>
              <a:gd name="connsiteY387" fmla="*/ 4127160 h 5092591"/>
              <a:gd name="connsiteX388" fmla="*/ 2926936 w 4546203"/>
              <a:gd name="connsiteY388" fmla="*/ 4110446 h 5092591"/>
              <a:gd name="connsiteX389" fmla="*/ 2911814 w 4546203"/>
              <a:gd name="connsiteY389" fmla="*/ 4075028 h 5092591"/>
              <a:gd name="connsiteX390" fmla="*/ 2757409 w 4546203"/>
              <a:gd name="connsiteY390" fmla="*/ 4073038 h 5092591"/>
              <a:gd name="connsiteX391" fmla="*/ 2718808 w 4546203"/>
              <a:gd name="connsiteY391" fmla="*/ 4084977 h 5092591"/>
              <a:gd name="connsiteX392" fmla="*/ 2729155 w 4546203"/>
              <a:gd name="connsiteY392" fmla="*/ 4119997 h 5092591"/>
              <a:gd name="connsiteX393" fmla="*/ 2768552 w 4546203"/>
              <a:gd name="connsiteY393" fmla="*/ 4108058 h 5092591"/>
              <a:gd name="connsiteX394" fmla="*/ 2757409 w 4546203"/>
              <a:gd name="connsiteY394" fmla="*/ 4073038 h 5092591"/>
              <a:gd name="connsiteX395" fmla="*/ 2801980 w 4546203"/>
              <a:gd name="connsiteY395" fmla="*/ 4057916 h 5092591"/>
              <a:gd name="connsiteX396" fmla="*/ 2763776 w 4546203"/>
              <a:gd name="connsiteY396" fmla="*/ 4071447 h 5092591"/>
              <a:gd name="connsiteX397" fmla="*/ 2775715 w 4546203"/>
              <a:gd name="connsiteY397" fmla="*/ 4106068 h 5092591"/>
              <a:gd name="connsiteX398" fmla="*/ 2814316 w 4546203"/>
              <a:gd name="connsiteY398" fmla="*/ 4092538 h 5092591"/>
              <a:gd name="connsiteX399" fmla="*/ 2801980 w 4546203"/>
              <a:gd name="connsiteY399" fmla="*/ 4057916 h 5092591"/>
              <a:gd name="connsiteX400" fmla="*/ 2956783 w 4546203"/>
              <a:gd name="connsiteY400" fmla="*/ 4055528 h 5092591"/>
              <a:gd name="connsiteX401" fmla="*/ 2918580 w 4546203"/>
              <a:gd name="connsiteY401" fmla="*/ 4072640 h 5092591"/>
              <a:gd name="connsiteX402" fmla="*/ 2934100 w 4546203"/>
              <a:gd name="connsiteY402" fmla="*/ 4107660 h 5092591"/>
              <a:gd name="connsiteX403" fmla="*/ 2973497 w 4546203"/>
              <a:gd name="connsiteY403" fmla="*/ 4090548 h 5092591"/>
              <a:gd name="connsiteX404" fmla="*/ 2956783 w 4546203"/>
              <a:gd name="connsiteY404" fmla="*/ 4055528 h 5092591"/>
              <a:gd name="connsiteX405" fmla="*/ 1008410 w 4546203"/>
              <a:gd name="connsiteY405" fmla="*/ 4053539 h 5092591"/>
              <a:gd name="connsiteX406" fmla="*/ 977370 w 4546203"/>
              <a:gd name="connsiteY406" fmla="*/ 4091344 h 5092591"/>
              <a:gd name="connsiteX407" fmla="*/ 1019155 w 4546203"/>
              <a:gd name="connsiteY407" fmla="*/ 4125170 h 5092591"/>
              <a:gd name="connsiteX408" fmla="*/ 1049399 w 4546203"/>
              <a:gd name="connsiteY408" fmla="*/ 4086966 h 5092591"/>
              <a:gd name="connsiteX409" fmla="*/ 1008410 w 4546203"/>
              <a:gd name="connsiteY409" fmla="*/ 4053539 h 5092591"/>
              <a:gd name="connsiteX410" fmla="*/ 1111082 w 4546203"/>
              <a:gd name="connsiteY410" fmla="*/ 4045182 h 5092591"/>
              <a:gd name="connsiteX411" fmla="*/ 1081235 w 4546203"/>
              <a:gd name="connsiteY411" fmla="*/ 4084181 h 5092591"/>
              <a:gd name="connsiteX412" fmla="*/ 1123020 w 4546203"/>
              <a:gd name="connsiteY412" fmla="*/ 4115221 h 5092591"/>
              <a:gd name="connsiteX413" fmla="*/ 1151673 w 4546203"/>
              <a:gd name="connsiteY413" fmla="*/ 4075824 h 5092591"/>
              <a:gd name="connsiteX414" fmla="*/ 1111082 w 4546203"/>
              <a:gd name="connsiteY414" fmla="*/ 4045182 h 5092591"/>
              <a:gd name="connsiteX415" fmla="*/ 2846152 w 4546203"/>
              <a:gd name="connsiteY415" fmla="*/ 4041600 h 5092591"/>
              <a:gd name="connsiteX416" fmla="*/ 2808745 w 4546203"/>
              <a:gd name="connsiteY416" fmla="*/ 4056722 h 5092591"/>
              <a:gd name="connsiteX417" fmla="*/ 2821081 w 4546203"/>
              <a:gd name="connsiteY417" fmla="*/ 4090946 h 5092591"/>
              <a:gd name="connsiteX418" fmla="*/ 2860081 w 4546203"/>
              <a:gd name="connsiteY418" fmla="*/ 4076222 h 5092591"/>
              <a:gd name="connsiteX419" fmla="*/ 2846152 w 4546203"/>
              <a:gd name="connsiteY419" fmla="*/ 4041600 h 5092591"/>
              <a:gd name="connsiteX420" fmla="*/ 3512722 w 4546203"/>
              <a:gd name="connsiteY420" fmla="*/ 4040008 h 5092591"/>
              <a:gd name="connsiteX421" fmla="*/ 3474518 w 4546203"/>
              <a:gd name="connsiteY421" fmla="*/ 4071447 h 5092591"/>
              <a:gd name="connsiteX422" fmla="*/ 3495610 w 4546203"/>
              <a:gd name="connsiteY422" fmla="*/ 4097314 h 5092591"/>
              <a:gd name="connsiteX423" fmla="*/ 3534211 w 4546203"/>
              <a:gd name="connsiteY423" fmla="*/ 4065875 h 5092591"/>
              <a:gd name="connsiteX424" fmla="*/ 3512722 w 4546203"/>
              <a:gd name="connsiteY424" fmla="*/ 4040008 h 5092591"/>
              <a:gd name="connsiteX425" fmla="*/ 2889927 w 4546203"/>
              <a:gd name="connsiteY425" fmla="*/ 4024090 h 5092591"/>
              <a:gd name="connsiteX426" fmla="*/ 2852917 w 4546203"/>
              <a:gd name="connsiteY426" fmla="*/ 4039610 h 5092591"/>
              <a:gd name="connsiteX427" fmla="*/ 2866448 w 4546203"/>
              <a:gd name="connsiteY427" fmla="*/ 4073834 h 5092591"/>
              <a:gd name="connsiteX428" fmla="*/ 2904651 w 4546203"/>
              <a:gd name="connsiteY428" fmla="*/ 4057518 h 5092591"/>
              <a:gd name="connsiteX429" fmla="*/ 2889927 w 4546203"/>
              <a:gd name="connsiteY429" fmla="*/ 4024090 h 5092591"/>
              <a:gd name="connsiteX430" fmla="*/ 2629667 w 4546203"/>
              <a:gd name="connsiteY430" fmla="*/ 4019713 h 5092591"/>
              <a:gd name="connsiteX431" fmla="*/ 2595841 w 4546203"/>
              <a:gd name="connsiteY431" fmla="*/ 4027672 h 5092591"/>
              <a:gd name="connsiteX432" fmla="*/ 2605391 w 4546203"/>
              <a:gd name="connsiteY432" fmla="*/ 4067865 h 5092591"/>
              <a:gd name="connsiteX433" fmla="*/ 2639615 w 4546203"/>
              <a:gd name="connsiteY433" fmla="*/ 4060304 h 5092591"/>
              <a:gd name="connsiteX434" fmla="*/ 2629667 w 4546203"/>
              <a:gd name="connsiteY434" fmla="*/ 4019713 h 5092591"/>
              <a:gd name="connsiteX435" fmla="*/ 2183562 w 4546203"/>
              <a:gd name="connsiteY435" fmla="*/ 4012152 h 5092591"/>
              <a:gd name="connsiteX436" fmla="*/ 2179583 w 4546203"/>
              <a:gd name="connsiteY436" fmla="*/ 4075426 h 5092591"/>
              <a:gd name="connsiteX437" fmla="*/ 2232908 w 4546203"/>
              <a:gd name="connsiteY437" fmla="*/ 4078212 h 5092591"/>
              <a:gd name="connsiteX438" fmla="*/ 2232908 w 4546203"/>
              <a:gd name="connsiteY438" fmla="*/ 4014539 h 5092591"/>
              <a:gd name="connsiteX439" fmla="*/ 2183562 w 4546203"/>
              <a:gd name="connsiteY439" fmla="*/ 4012152 h 5092591"/>
              <a:gd name="connsiteX440" fmla="*/ 2382538 w 4546203"/>
              <a:gd name="connsiteY440" fmla="*/ 4010162 h 5092591"/>
              <a:gd name="connsiteX441" fmla="*/ 2334386 w 4546203"/>
              <a:gd name="connsiteY441" fmla="*/ 4013346 h 5092591"/>
              <a:gd name="connsiteX442" fmla="*/ 2334386 w 4546203"/>
              <a:gd name="connsiteY442" fmla="*/ 4076620 h 5092591"/>
              <a:gd name="connsiteX443" fmla="*/ 2387712 w 4546203"/>
              <a:gd name="connsiteY443" fmla="*/ 4073834 h 5092591"/>
              <a:gd name="connsiteX444" fmla="*/ 2382538 w 4546203"/>
              <a:gd name="connsiteY444" fmla="*/ 4010162 h 5092591"/>
              <a:gd name="connsiteX445" fmla="*/ 2109145 w 4546203"/>
              <a:gd name="connsiteY445" fmla="*/ 4005387 h 5092591"/>
              <a:gd name="connsiteX446" fmla="*/ 2102380 w 4546203"/>
              <a:gd name="connsiteY446" fmla="*/ 4068661 h 5092591"/>
              <a:gd name="connsiteX447" fmla="*/ 2155308 w 4546203"/>
              <a:gd name="connsiteY447" fmla="*/ 4073436 h 5092591"/>
              <a:gd name="connsiteX448" fmla="*/ 2159685 w 4546203"/>
              <a:gd name="connsiteY448" fmla="*/ 4010162 h 5092591"/>
              <a:gd name="connsiteX449" fmla="*/ 2109145 w 4546203"/>
              <a:gd name="connsiteY449" fmla="*/ 4005387 h 5092591"/>
              <a:gd name="connsiteX450" fmla="*/ 2933702 w 4546203"/>
              <a:gd name="connsiteY450" fmla="*/ 4004988 h 5092591"/>
              <a:gd name="connsiteX451" fmla="*/ 2897090 w 4546203"/>
              <a:gd name="connsiteY451" fmla="*/ 4021305 h 5092591"/>
              <a:gd name="connsiteX452" fmla="*/ 2912212 w 4546203"/>
              <a:gd name="connsiteY452" fmla="*/ 4055528 h 5092591"/>
              <a:gd name="connsiteX453" fmla="*/ 2949620 w 4546203"/>
              <a:gd name="connsiteY453" fmla="*/ 4037621 h 5092591"/>
              <a:gd name="connsiteX454" fmla="*/ 2933702 w 4546203"/>
              <a:gd name="connsiteY454" fmla="*/ 4004988 h 5092591"/>
              <a:gd name="connsiteX455" fmla="*/ 951503 w 4546203"/>
              <a:gd name="connsiteY455" fmla="*/ 4003397 h 5092591"/>
              <a:gd name="connsiteX456" fmla="*/ 918473 w 4546203"/>
              <a:gd name="connsiteY456" fmla="*/ 4039610 h 5092591"/>
              <a:gd name="connsiteX457" fmla="*/ 959064 w 4546203"/>
              <a:gd name="connsiteY457" fmla="*/ 4075426 h 5092591"/>
              <a:gd name="connsiteX458" fmla="*/ 990900 w 4546203"/>
              <a:gd name="connsiteY458" fmla="*/ 4037621 h 5092591"/>
              <a:gd name="connsiteX459" fmla="*/ 951503 w 4546203"/>
              <a:gd name="connsiteY459" fmla="*/ 4003397 h 5092591"/>
              <a:gd name="connsiteX460" fmla="*/ 1701643 w 4546203"/>
              <a:gd name="connsiteY460" fmla="*/ 3999815 h 5092591"/>
              <a:gd name="connsiteX461" fmla="*/ 1685724 w 4546203"/>
              <a:gd name="connsiteY461" fmla="*/ 4041600 h 5092591"/>
              <a:gd name="connsiteX462" fmla="*/ 1754570 w 4546203"/>
              <a:gd name="connsiteY462" fmla="*/ 4066671 h 5092591"/>
              <a:gd name="connsiteX463" fmla="*/ 1768896 w 4546203"/>
              <a:gd name="connsiteY463" fmla="*/ 4024090 h 5092591"/>
              <a:gd name="connsiteX464" fmla="*/ 1701643 w 4546203"/>
              <a:gd name="connsiteY464" fmla="*/ 3999815 h 5092591"/>
              <a:gd name="connsiteX465" fmla="*/ 1054175 w 4546203"/>
              <a:gd name="connsiteY465" fmla="*/ 3999019 h 5092591"/>
              <a:gd name="connsiteX466" fmla="*/ 1022737 w 4546203"/>
              <a:gd name="connsiteY466" fmla="*/ 4036825 h 5092591"/>
              <a:gd name="connsiteX467" fmla="*/ 1062930 w 4546203"/>
              <a:gd name="connsiteY467" fmla="*/ 4069457 h 5092591"/>
              <a:gd name="connsiteX468" fmla="*/ 1093572 w 4546203"/>
              <a:gd name="connsiteY468" fmla="*/ 4031253 h 5092591"/>
              <a:gd name="connsiteX469" fmla="*/ 1054175 w 4546203"/>
              <a:gd name="connsiteY469" fmla="*/ 3999019 h 5092591"/>
              <a:gd name="connsiteX470" fmla="*/ 1914149 w 4546203"/>
              <a:gd name="connsiteY470" fmla="*/ 3997825 h 5092591"/>
              <a:gd name="connsiteX471" fmla="*/ 1903404 w 4546203"/>
              <a:gd name="connsiteY471" fmla="*/ 4041998 h 5092591"/>
              <a:gd name="connsiteX472" fmla="*/ 1972648 w 4546203"/>
              <a:gd name="connsiteY472" fmla="*/ 4056722 h 5092591"/>
              <a:gd name="connsiteX473" fmla="*/ 1980607 w 4546203"/>
              <a:gd name="connsiteY473" fmla="*/ 4012550 h 5092591"/>
              <a:gd name="connsiteX474" fmla="*/ 1914149 w 4546203"/>
              <a:gd name="connsiteY474" fmla="*/ 3997825 h 5092591"/>
              <a:gd name="connsiteX475" fmla="*/ 2515056 w 4546203"/>
              <a:gd name="connsiteY475" fmla="*/ 3993846 h 5092591"/>
              <a:gd name="connsiteX476" fmla="*/ 2482026 w 4546203"/>
              <a:gd name="connsiteY476" fmla="*/ 3999417 h 5092591"/>
              <a:gd name="connsiteX477" fmla="*/ 2487996 w 4546203"/>
              <a:gd name="connsiteY477" fmla="*/ 4040008 h 5092591"/>
              <a:gd name="connsiteX478" fmla="*/ 2521821 w 4546203"/>
              <a:gd name="connsiteY478" fmla="*/ 4035233 h 5092591"/>
              <a:gd name="connsiteX479" fmla="*/ 2515056 w 4546203"/>
              <a:gd name="connsiteY479" fmla="*/ 3993846 h 5092591"/>
              <a:gd name="connsiteX480" fmla="*/ 1266681 w 4546203"/>
              <a:gd name="connsiteY480" fmla="*/ 3993050 h 5092591"/>
              <a:gd name="connsiteX481" fmla="*/ 1253947 w 4546203"/>
              <a:gd name="connsiteY481" fmla="*/ 4010958 h 5092591"/>
              <a:gd name="connsiteX482" fmla="*/ 1340302 w 4546203"/>
              <a:gd name="connsiteY482" fmla="*/ 4067069 h 5092591"/>
              <a:gd name="connsiteX483" fmla="*/ 1350251 w 4546203"/>
              <a:gd name="connsiteY483" fmla="*/ 4047569 h 5092591"/>
              <a:gd name="connsiteX484" fmla="*/ 1266681 w 4546203"/>
              <a:gd name="connsiteY484" fmla="*/ 3993050 h 5092591"/>
              <a:gd name="connsiteX485" fmla="*/ 3163718 w 4546203"/>
              <a:gd name="connsiteY485" fmla="*/ 3989866 h 5092591"/>
              <a:gd name="connsiteX486" fmla="*/ 3135861 w 4546203"/>
              <a:gd name="connsiteY486" fmla="*/ 4006978 h 5092591"/>
              <a:gd name="connsiteX487" fmla="*/ 3154565 w 4546203"/>
              <a:gd name="connsiteY487" fmla="*/ 4038019 h 5092591"/>
              <a:gd name="connsiteX488" fmla="*/ 3183218 w 4546203"/>
              <a:gd name="connsiteY488" fmla="*/ 4020509 h 5092591"/>
              <a:gd name="connsiteX489" fmla="*/ 3163718 w 4546203"/>
              <a:gd name="connsiteY489" fmla="*/ 3989866 h 5092591"/>
              <a:gd name="connsiteX490" fmla="*/ 1154459 w 4546203"/>
              <a:gd name="connsiteY490" fmla="*/ 3989070 h 5092591"/>
              <a:gd name="connsiteX491" fmla="*/ 1125010 w 4546203"/>
              <a:gd name="connsiteY491" fmla="*/ 4027672 h 5092591"/>
              <a:gd name="connsiteX492" fmla="*/ 1164805 w 4546203"/>
              <a:gd name="connsiteY492" fmla="*/ 4057518 h 5092591"/>
              <a:gd name="connsiteX493" fmla="*/ 1193458 w 4546203"/>
              <a:gd name="connsiteY493" fmla="*/ 4018519 h 5092591"/>
              <a:gd name="connsiteX494" fmla="*/ 1154459 w 4546203"/>
              <a:gd name="connsiteY494" fmla="*/ 3989070 h 5092591"/>
              <a:gd name="connsiteX495" fmla="*/ 2726369 w 4546203"/>
              <a:gd name="connsiteY495" fmla="*/ 3975938 h 5092591"/>
              <a:gd name="connsiteX496" fmla="*/ 2690155 w 4546203"/>
              <a:gd name="connsiteY496" fmla="*/ 3987479 h 5092591"/>
              <a:gd name="connsiteX497" fmla="*/ 2716818 w 4546203"/>
              <a:gd name="connsiteY497" fmla="*/ 4077416 h 5092591"/>
              <a:gd name="connsiteX498" fmla="*/ 2755419 w 4546203"/>
              <a:gd name="connsiteY498" fmla="*/ 4065875 h 5092591"/>
              <a:gd name="connsiteX499" fmla="*/ 2726369 w 4546203"/>
              <a:gd name="connsiteY499" fmla="*/ 3975938 h 5092591"/>
              <a:gd name="connsiteX500" fmla="*/ 1818640 w 4546203"/>
              <a:gd name="connsiteY500" fmla="*/ 3971561 h 5092591"/>
              <a:gd name="connsiteX501" fmla="*/ 1805508 w 4546203"/>
              <a:gd name="connsiteY501" fmla="*/ 4014142 h 5092591"/>
              <a:gd name="connsiteX502" fmla="*/ 1873160 w 4546203"/>
              <a:gd name="connsiteY502" fmla="*/ 4033641 h 5092591"/>
              <a:gd name="connsiteX503" fmla="*/ 1884700 w 4546203"/>
              <a:gd name="connsiteY503" fmla="*/ 3990264 h 5092591"/>
              <a:gd name="connsiteX504" fmla="*/ 1818640 w 4546203"/>
              <a:gd name="connsiteY504" fmla="*/ 3971561 h 5092591"/>
              <a:gd name="connsiteX505" fmla="*/ 3108801 w 4546203"/>
              <a:gd name="connsiteY505" fmla="*/ 3966387 h 5092591"/>
              <a:gd name="connsiteX506" fmla="*/ 3081342 w 4546203"/>
              <a:gd name="connsiteY506" fmla="*/ 3983101 h 5092591"/>
              <a:gd name="connsiteX507" fmla="*/ 3099648 w 4546203"/>
              <a:gd name="connsiteY507" fmla="*/ 4014142 h 5092591"/>
              <a:gd name="connsiteX508" fmla="*/ 3127106 w 4546203"/>
              <a:gd name="connsiteY508" fmla="*/ 3997825 h 5092591"/>
              <a:gd name="connsiteX509" fmla="*/ 3108801 w 4546203"/>
              <a:gd name="connsiteY509" fmla="*/ 3966387 h 5092591"/>
              <a:gd name="connsiteX510" fmla="*/ 2768154 w 4546203"/>
              <a:gd name="connsiteY510" fmla="*/ 3961612 h 5092591"/>
              <a:gd name="connsiteX511" fmla="*/ 2732338 w 4546203"/>
              <a:gd name="connsiteY511" fmla="*/ 3973948 h 5092591"/>
              <a:gd name="connsiteX512" fmla="*/ 2761389 w 4546203"/>
              <a:gd name="connsiteY512" fmla="*/ 4063487 h 5092591"/>
              <a:gd name="connsiteX513" fmla="*/ 2799592 w 4546203"/>
              <a:gd name="connsiteY513" fmla="*/ 4050753 h 5092591"/>
              <a:gd name="connsiteX514" fmla="*/ 2768154 w 4546203"/>
              <a:gd name="connsiteY514" fmla="*/ 3961612 h 5092591"/>
              <a:gd name="connsiteX515" fmla="*/ 1606532 w 4546203"/>
              <a:gd name="connsiteY515" fmla="*/ 3958428 h 5092591"/>
              <a:gd name="connsiteX516" fmla="*/ 1587430 w 4546203"/>
              <a:gd name="connsiteY516" fmla="*/ 3999019 h 5092591"/>
              <a:gd name="connsiteX517" fmla="*/ 1654684 w 4546203"/>
              <a:gd name="connsiteY517" fmla="*/ 4028866 h 5092591"/>
              <a:gd name="connsiteX518" fmla="*/ 1672194 w 4546203"/>
              <a:gd name="connsiteY518" fmla="*/ 3987479 h 5092591"/>
              <a:gd name="connsiteX519" fmla="*/ 1606532 w 4546203"/>
              <a:gd name="connsiteY519" fmla="*/ 3958428 h 5092591"/>
              <a:gd name="connsiteX520" fmla="*/ 897780 w 4546203"/>
              <a:gd name="connsiteY520" fmla="*/ 3953653 h 5092591"/>
              <a:gd name="connsiteX521" fmla="*/ 861566 w 4546203"/>
              <a:gd name="connsiteY521" fmla="*/ 3986683 h 5092591"/>
              <a:gd name="connsiteX522" fmla="*/ 900565 w 4546203"/>
              <a:gd name="connsiteY522" fmla="*/ 4022896 h 5092591"/>
              <a:gd name="connsiteX523" fmla="*/ 933595 w 4546203"/>
              <a:gd name="connsiteY523" fmla="*/ 3987479 h 5092591"/>
              <a:gd name="connsiteX524" fmla="*/ 897780 w 4546203"/>
              <a:gd name="connsiteY524" fmla="*/ 3953653 h 5092591"/>
              <a:gd name="connsiteX525" fmla="*/ 998859 w 4546203"/>
              <a:gd name="connsiteY525" fmla="*/ 3950867 h 5092591"/>
              <a:gd name="connsiteX526" fmla="*/ 966227 w 4546203"/>
              <a:gd name="connsiteY526" fmla="*/ 3987479 h 5092591"/>
              <a:gd name="connsiteX527" fmla="*/ 1004829 w 4546203"/>
              <a:gd name="connsiteY527" fmla="*/ 4021703 h 5092591"/>
              <a:gd name="connsiteX528" fmla="*/ 1037063 w 4546203"/>
              <a:gd name="connsiteY528" fmla="*/ 3984693 h 5092591"/>
              <a:gd name="connsiteX529" fmla="*/ 998859 w 4546203"/>
              <a:gd name="connsiteY529" fmla="*/ 3950867 h 5092591"/>
              <a:gd name="connsiteX530" fmla="*/ 1099541 w 4546203"/>
              <a:gd name="connsiteY530" fmla="*/ 3944898 h 5092591"/>
              <a:gd name="connsiteX531" fmla="*/ 1068103 w 4546203"/>
              <a:gd name="connsiteY531" fmla="*/ 3982305 h 5092591"/>
              <a:gd name="connsiteX532" fmla="*/ 1107102 w 4546203"/>
              <a:gd name="connsiteY532" fmla="*/ 4013743 h 5092591"/>
              <a:gd name="connsiteX533" fmla="*/ 1137347 w 4546203"/>
              <a:gd name="connsiteY533" fmla="*/ 3975540 h 5092591"/>
              <a:gd name="connsiteX534" fmla="*/ 1099541 w 4546203"/>
              <a:gd name="connsiteY534" fmla="*/ 3944898 h 5092591"/>
              <a:gd name="connsiteX535" fmla="*/ 3234553 w 4546203"/>
              <a:gd name="connsiteY535" fmla="*/ 3943704 h 5092591"/>
              <a:gd name="connsiteX536" fmla="*/ 3207493 w 4546203"/>
              <a:gd name="connsiteY536" fmla="*/ 3962010 h 5092591"/>
              <a:gd name="connsiteX537" fmla="*/ 3227788 w 4546203"/>
              <a:gd name="connsiteY537" fmla="*/ 3992652 h 5092591"/>
              <a:gd name="connsiteX538" fmla="*/ 3254849 w 4546203"/>
              <a:gd name="connsiteY538" fmla="*/ 3971959 h 5092591"/>
              <a:gd name="connsiteX539" fmla="*/ 3234553 w 4546203"/>
              <a:gd name="connsiteY539" fmla="*/ 3943704 h 5092591"/>
              <a:gd name="connsiteX540" fmla="*/ 2712441 w 4546203"/>
              <a:gd name="connsiteY540" fmla="*/ 3932959 h 5092591"/>
              <a:gd name="connsiteX541" fmla="*/ 2677819 w 4546203"/>
              <a:gd name="connsiteY541" fmla="*/ 3943704 h 5092591"/>
              <a:gd name="connsiteX542" fmla="*/ 2688165 w 4546203"/>
              <a:gd name="connsiteY542" fmla="*/ 3979122 h 5092591"/>
              <a:gd name="connsiteX543" fmla="*/ 2723981 w 4546203"/>
              <a:gd name="connsiteY543" fmla="*/ 3967979 h 5092591"/>
              <a:gd name="connsiteX544" fmla="*/ 2712441 w 4546203"/>
              <a:gd name="connsiteY544" fmla="*/ 3932959 h 5092591"/>
              <a:gd name="connsiteX545" fmla="*/ 1197835 w 4546203"/>
              <a:gd name="connsiteY545" fmla="*/ 3932561 h 5092591"/>
              <a:gd name="connsiteX546" fmla="*/ 1168387 w 4546203"/>
              <a:gd name="connsiteY546" fmla="*/ 3971561 h 5092591"/>
              <a:gd name="connsiteX547" fmla="*/ 1206590 w 4546203"/>
              <a:gd name="connsiteY547" fmla="*/ 4000611 h 5092591"/>
              <a:gd name="connsiteX548" fmla="*/ 1235243 w 4546203"/>
              <a:gd name="connsiteY548" fmla="*/ 3960816 h 5092591"/>
              <a:gd name="connsiteX549" fmla="*/ 1197835 w 4546203"/>
              <a:gd name="connsiteY549" fmla="*/ 3932561 h 5092591"/>
              <a:gd name="connsiteX550" fmla="*/ 2850928 w 4546203"/>
              <a:gd name="connsiteY550" fmla="*/ 3929378 h 5092591"/>
              <a:gd name="connsiteX551" fmla="*/ 2815908 w 4546203"/>
              <a:gd name="connsiteY551" fmla="*/ 3944500 h 5092591"/>
              <a:gd name="connsiteX552" fmla="*/ 2850132 w 4546203"/>
              <a:gd name="connsiteY552" fmla="*/ 4032049 h 5092591"/>
              <a:gd name="connsiteX553" fmla="*/ 2887539 w 4546203"/>
              <a:gd name="connsiteY553" fmla="*/ 4016131 h 5092591"/>
              <a:gd name="connsiteX554" fmla="*/ 2850928 w 4546203"/>
              <a:gd name="connsiteY554" fmla="*/ 3929378 h 5092591"/>
              <a:gd name="connsiteX555" fmla="*/ 3171677 w 4546203"/>
              <a:gd name="connsiteY555" fmla="*/ 3928184 h 5092591"/>
              <a:gd name="connsiteX556" fmla="*/ 3145014 w 4546203"/>
              <a:gd name="connsiteY556" fmla="*/ 3945296 h 5092591"/>
              <a:gd name="connsiteX557" fmla="*/ 3164514 w 4546203"/>
              <a:gd name="connsiteY557" fmla="*/ 3975938 h 5092591"/>
              <a:gd name="connsiteX558" fmla="*/ 3191973 w 4546203"/>
              <a:gd name="connsiteY558" fmla="*/ 3958030 h 5092591"/>
              <a:gd name="connsiteX559" fmla="*/ 3171677 w 4546203"/>
              <a:gd name="connsiteY559" fmla="*/ 3928184 h 5092591"/>
              <a:gd name="connsiteX560" fmla="*/ 3480488 w 4546203"/>
              <a:gd name="connsiteY560" fmla="*/ 3921817 h 5092591"/>
              <a:gd name="connsiteX561" fmla="*/ 3445468 w 4546203"/>
              <a:gd name="connsiteY561" fmla="*/ 3952061 h 5092591"/>
              <a:gd name="connsiteX562" fmla="*/ 3468151 w 4546203"/>
              <a:gd name="connsiteY562" fmla="*/ 3979520 h 5092591"/>
              <a:gd name="connsiteX563" fmla="*/ 3504365 w 4546203"/>
              <a:gd name="connsiteY563" fmla="*/ 3948877 h 5092591"/>
              <a:gd name="connsiteX564" fmla="*/ 3480488 w 4546203"/>
              <a:gd name="connsiteY564" fmla="*/ 3921817 h 5092591"/>
              <a:gd name="connsiteX565" fmla="*/ 3055873 w 4546203"/>
              <a:gd name="connsiteY565" fmla="*/ 3919827 h 5092591"/>
              <a:gd name="connsiteX566" fmla="*/ 3029210 w 4546203"/>
              <a:gd name="connsiteY566" fmla="*/ 3934551 h 5092591"/>
              <a:gd name="connsiteX567" fmla="*/ 3047516 w 4546203"/>
              <a:gd name="connsiteY567" fmla="*/ 3966387 h 5092591"/>
              <a:gd name="connsiteX568" fmla="*/ 3074179 w 4546203"/>
              <a:gd name="connsiteY568" fmla="*/ 3950469 h 5092591"/>
              <a:gd name="connsiteX569" fmla="*/ 3055873 w 4546203"/>
              <a:gd name="connsiteY569" fmla="*/ 3919827 h 5092591"/>
              <a:gd name="connsiteX570" fmla="*/ 2753032 w 4546203"/>
              <a:gd name="connsiteY570" fmla="*/ 3919031 h 5092591"/>
              <a:gd name="connsiteX571" fmla="*/ 2718808 w 4546203"/>
              <a:gd name="connsiteY571" fmla="*/ 3931367 h 5092591"/>
              <a:gd name="connsiteX572" fmla="*/ 2729950 w 4546203"/>
              <a:gd name="connsiteY572" fmla="*/ 3966785 h 5092591"/>
              <a:gd name="connsiteX573" fmla="*/ 2765368 w 4546203"/>
              <a:gd name="connsiteY573" fmla="*/ 3953653 h 5092591"/>
              <a:gd name="connsiteX574" fmla="*/ 2753032 w 4546203"/>
              <a:gd name="connsiteY574" fmla="*/ 3919031 h 5092591"/>
              <a:gd name="connsiteX575" fmla="*/ 2032341 w 4546203"/>
              <a:gd name="connsiteY575" fmla="*/ 3917439 h 5092591"/>
              <a:gd name="connsiteX576" fmla="*/ 2002892 w 4546203"/>
              <a:gd name="connsiteY576" fmla="*/ 4087763 h 5092591"/>
              <a:gd name="connsiteX577" fmla="*/ 2063779 w 4546203"/>
              <a:gd name="connsiteY577" fmla="*/ 4096517 h 5092591"/>
              <a:gd name="connsiteX578" fmla="*/ 2086462 w 4546203"/>
              <a:gd name="connsiteY578" fmla="*/ 3925000 h 5092591"/>
              <a:gd name="connsiteX579" fmla="*/ 2032341 w 4546203"/>
              <a:gd name="connsiteY579" fmla="*/ 3917439 h 5092591"/>
              <a:gd name="connsiteX580" fmla="*/ 2891917 w 4546203"/>
              <a:gd name="connsiteY580" fmla="*/ 3911868 h 5092591"/>
              <a:gd name="connsiteX581" fmla="*/ 2856897 w 4546203"/>
              <a:gd name="connsiteY581" fmla="*/ 3926990 h 5092591"/>
              <a:gd name="connsiteX582" fmla="*/ 2894305 w 4546203"/>
              <a:gd name="connsiteY582" fmla="*/ 4014142 h 5092591"/>
              <a:gd name="connsiteX583" fmla="*/ 2930916 w 4546203"/>
              <a:gd name="connsiteY583" fmla="*/ 3996632 h 5092591"/>
              <a:gd name="connsiteX584" fmla="*/ 2891917 w 4546203"/>
              <a:gd name="connsiteY584" fmla="*/ 3911868 h 5092591"/>
              <a:gd name="connsiteX585" fmla="*/ 1838538 w 4546203"/>
              <a:gd name="connsiteY585" fmla="*/ 3909082 h 5092591"/>
              <a:gd name="connsiteX586" fmla="*/ 1825008 w 4546203"/>
              <a:gd name="connsiteY586" fmla="*/ 3952061 h 5092591"/>
              <a:gd name="connsiteX587" fmla="*/ 1889874 w 4546203"/>
              <a:gd name="connsiteY587" fmla="*/ 3970765 h 5092591"/>
              <a:gd name="connsiteX588" fmla="*/ 1901016 w 4546203"/>
              <a:gd name="connsiteY588" fmla="*/ 3926990 h 5092591"/>
              <a:gd name="connsiteX589" fmla="*/ 1838538 w 4546203"/>
              <a:gd name="connsiteY589" fmla="*/ 3909082 h 5092591"/>
              <a:gd name="connsiteX590" fmla="*/ 2793225 w 4546203"/>
              <a:gd name="connsiteY590" fmla="*/ 3904307 h 5092591"/>
              <a:gd name="connsiteX591" fmla="*/ 2759001 w 4546203"/>
              <a:gd name="connsiteY591" fmla="*/ 3917041 h 5092591"/>
              <a:gd name="connsiteX592" fmla="*/ 2771735 w 4546203"/>
              <a:gd name="connsiteY592" fmla="*/ 3952061 h 5092591"/>
              <a:gd name="connsiteX593" fmla="*/ 2806755 w 4546203"/>
              <a:gd name="connsiteY593" fmla="*/ 3938929 h 5092591"/>
              <a:gd name="connsiteX594" fmla="*/ 2793225 w 4546203"/>
              <a:gd name="connsiteY594" fmla="*/ 3904307 h 5092591"/>
              <a:gd name="connsiteX595" fmla="*/ 949115 w 4546203"/>
              <a:gd name="connsiteY595" fmla="*/ 3904307 h 5092591"/>
              <a:gd name="connsiteX596" fmla="*/ 911708 w 4546203"/>
              <a:gd name="connsiteY596" fmla="*/ 3936143 h 5092591"/>
              <a:gd name="connsiteX597" fmla="*/ 948717 w 4546203"/>
              <a:gd name="connsiteY597" fmla="*/ 3971561 h 5092591"/>
              <a:gd name="connsiteX598" fmla="*/ 982145 w 4546203"/>
              <a:gd name="connsiteY598" fmla="*/ 3935745 h 5092591"/>
              <a:gd name="connsiteX599" fmla="*/ 949115 w 4546203"/>
              <a:gd name="connsiteY599" fmla="*/ 3904307 h 5092591"/>
              <a:gd name="connsiteX600" fmla="*/ 2983844 w 4546203"/>
              <a:gd name="connsiteY600" fmla="*/ 3899531 h 5092591"/>
              <a:gd name="connsiteX601" fmla="*/ 2930916 w 4546203"/>
              <a:gd name="connsiteY601" fmla="*/ 3926592 h 5092591"/>
              <a:gd name="connsiteX602" fmla="*/ 2977874 w 4546203"/>
              <a:gd name="connsiteY602" fmla="*/ 4024090 h 5092591"/>
              <a:gd name="connsiteX603" fmla="*/ 3034782 w 4546203"/>
              <a:gd name="connsiteY603" fmla="*/ 3995040 h 5092591"/>
              <a:gd name="connsiteX604" fmla="*/ 2983844 w 4546203"/>
              <a:gd name="connsiteY604" fmla="*/ 3899531 h 5092591"/>
              <a:gd name="connsiteX605" fmla="*/ 1046216 w 4546203"/>
              <a:gd name="connsiteY605" fmla="*/ 3898337 h 5092591"/>
              <a:gd name="connsiteX606" fmla="*/ 1013982 w 4546203"/>
              <a:gd name="connsiteY606" fmla="*/ 3934949 h 5092591"/>
              <a:gd name="connsiteX607" fmla="*/ 1051389 w 4546203"/>
              <a:gd name="connsiteY607" fmla="*/ 3967979 h 5092591"/>
              <a:gd name="connsiteX608" fmla="*/ 1082827 w 4546203"/>
              <a:gd name="connsiteY608" fmla="*/ 3930174 h 5092591"/>
              <a:gd name="connsiteX609" fmla="*/ 1046216 w 4546203"/>
              <a:gd name="connsiteY609" fmla="*/ 3898337 h 5092591"/>
              <a:gd name="connsiteX610" fmla="*/ 1145306 w 4546203"/>
              <a:gd name="connsiteY610" fmla="*/ 3890378 h 5092591"/>
              <a:gd name="connsiteX611" fmla="*/ 1113868 w 4546203"/>
              <a:gd name="connsiteY611" fmla="*/ 3928184 h 5092591"/>
              <a:gd name="connsiteX612" fmla="*/ 1151673 w 4546203"/>
              <a:gd name="connsiteY612" fmla="*/ 3958428 h 5092591"/>
              <a:gd name="connsiteX613" fmla="*/ 1181519 w 4546203"/>
              <a:gd name="connsiteY613" fmla="*/ 3920225 h 5092591"/>
              <a:gd name="connsiteX614" fmla="*/ 1145306 w 4546203"/>
              <a:gd name="connsiteY614" fmla="*/ 3890378 h 5092591"/>
              <a:gd name="connsiteX615" fmla="*/ 3438902 w 4546203"/>
              <a:gd name="connsiteY615" fmla="*/ 3889384 h 5092591"/>
              <a:gd name="connsiteX616" fmla="*/ 3408856 w 4546203"/>
              <a:gd name="connsiteY616" fmla="*/ 3908684 h 5092591"/>
              <a:gd name="connsiteX617" fmla="*/ 3429948 w 4546203"/>
              <a:gd name="connsiteY617" fmla="*/ 3934153 h 5092591"/>
              <a:gd name="connsiteX618" fmla="*/ 3452233 w 4546203"/>
              <a:gd name="connsiteY618" fmla="*/ 3915449 h 5092591"/>
              <a:gd name="connsiteX619" fmla="*/ 3464172 w 4546203"/>
              <a:gd name="connsiteY619" fmla="*/ 3905899 h 5092591"/>
              <a:gd name="connsiteX620" fmla="*/ 3438902 w 4546203"/>
              <a:gd name="connsiteY620" fmla="*/ 3889384 h 5092591"/>
              <a:gd name="connsiteX621" fmla="*/ 2833418 w 4546203"/>
              <a:gd name="connsiteY621" fmla="*/ 3888389 h 5092591"/>
              <a:gd name="connsiteX622" fmla="*/ 2799592 w 4546203"/>
              <a:gd name="connsiteY622" fmla="*/ 3902317 h 5092591"/>
              <a:gd name="connsiteX623" fmla="*/ 2813520 w 4546203"/>
              <a:gd name="connsiteY623" fmla="*/ 3936541 h 5092591"/>
              <a:gd name="connsiteX624" fmla="*/ 2848142 w 4546203"/>
              <a:gd name="connsiteY624" fmla="*/ 3922215 h 5092591"/>
              <a:gd name="connsiteX625" fmla="*/ 2833418 w 4546203"/>
              <a:gd name="connsiteY625" fmla="*/ 3888389 h 5092591"/>
              <a:gd name="connsiteX626" fmla="*/ 2694135 w 4546203"/>
              <a:gd name="connsiteY626" fmla="*/ 3878440 h 5092591"/>
              <a:gd name="connsiteX627" fmla="*/ 2661503 w 4546203"/>
              <a:gd name="connsiteY627" fmla="*/ 3889185 h 5092591"/>
              <a:gd name="connsiteX628" fmla="*/ 2672645 w 4546203"/>
              <a:gd name="connsiteY628" fmla="*/ 3925398 h 5092591"/>
              <a:gd name="connsiteX629" fmla="*/ 2707267 w 4546203"/>
              <a:gd name="connsiteY629" fmla="*/ 3915449 h 5092591"/>
              <a:gd name="connsiteX630" fmla="*/ 2694135 w 4546203"/>
              <a:gd name="connsiteY630" fmla="*/ 3878440 h 5092591"/>
              <a:gd name="connsiteX631" fmla="*/ 1749397 w 4546203"/>
              <a:gd name="connsiteY631" fmla="*/ 3877644 h 5092591"/>
              <a:gd name="connsiteX632" fmla="*/ 1733081 w 4546203"/>
              <a:gd name="connsiteY632" fmla="*/ 3919827 h 5092591"/>
              <a:gd name="connsiteX633" fmla="*/ 1796355 w 4546203"/>
              <a:gd name="connsiteY633" fmla="*/ 3942908 h 5092591"/>
              <a:gd name="connsiteX634" fmla="*/ 1810681 w 4546203"/>
              <a:gd name="connsiteY634" fmla="*/ 3900327 h 5092591"/>
              <a:gd name="connsiteX635" fmla="*/ 1749397 w 4546203"/>
              <a:gd name="connsiteY635" fmla="*/ 3877644 h 5092591"/>
              <a:gd name="connsiteX636" fmla="*/ 1241610 w 4546203"/>
              <a:gd name="connsiteY636" fmla="*/ 3876848 h 5092591"/>
              <a:gd name="connsiteX637" fmla="*/ 1211366 w 4546203"/>
              <a:gd name="connsiteY637" fmla="*/ 3915449 h 5092591"/>
              <a:gd name="connsiteX638" fmla="*/ 1248773 w 4546203"/>
              <a:gd name="connsiteY638" fmla="*/ 3943306 h 5092591"/>
              <a:gd name="connsiteX639" fmla="*/ 1277028 w 4546203"/>
              <a:gd name="connsiteY639" fmla="*/ 3903511 h 5092591"/>
              <a:gd name="connsiteX640" fmla="*/ 1241610 w 4546203"/>
              <a:gd name="connsiteY640" fmla="*/ 3876848 h 5092591"/>
              <a:gd name="connsiteX641" fmla="*/ 2872815 w 4546203"/>
              <a:gd name="connsiteY641" fmla="*/ 3870879 h 5092591"/>
              <a:gd name="connsiteX642" fmla="*/ 2839387 w 4546203"/>
              <a:gd name="connsiteY642" fmla="*/ 3885603 h 5092591"/>
              <a:gd name="connsiteX643" fmla="*/ 2854111 w 4546203"/>
              <a:gd name="connsiteY643" fmla="*/ 3920225 h 5092591"/>
              <a:gd name="connsiteX644" fmla="*/ 2888335 w 4546203"/>
              <a:gd name="connsiteY644" fmla="*/ 3904307 h 5092591"/>
              <a:gd name="connsiteX645" fmla="*/ 2872815 w 4546203"/>
              <a:gd name="connsiteY645" fmla="*/ 3870879 h 5092591"/>
              <a:gd name="connsiteX646" fmla="*/ 3182024 w 4546203"/>
              <a:gd name="connsiteY646" fmla="*/ 3868093 h 5092591"/>
              <a:gd name="connsiteX647" fmla="*/ 3156953 w 4546203"/>
              <a:gd name="connsiteY647" fmla="*/ 3885603 h 5092591"/>
              <a:gd name="connsiteX648" fmla="*/ 3177248 w 4546203"/>
              <a:gd name="connsiteY648" fmla="*/ 3915847 h 5092591"/>
              <a:gd name="connsiteX649" fmla="*/ 3203115 w 4546203"/>
              <a:gd name="connsiteY649" fmla="*/ 3897541 h 5092591"/>
              <a:gd name="connsiteX650" fmla="*/ 3182024 w 4546203"/>
              <a:gd name="connsiteY650" fmla="*/ 3868093 h 5092591"/>
              <a:gd name="connsiteX651" fmla="*/ 2734328 w 4546203"/>
              <a:gd name="connsiteY651" fmla="*/ 3865307 h 5092591"/>
              <a:gd name="connsiteX652" fmla="*/ 2701696 w 4546203"/>
              <a:gd name="connsiteY652" fmla="*/ 3876848 h 5092591"/>
              <a:gd name="connsiteX653" fmla="*/ 2713236 w 4546203"/>
              <a:gd name="connsiteY653" fmla="*/ 3913062 h 5092591"/>
              <a:gd name="connsiteX654" fmla="*/ 2747460 w 4546203"/>
              <a:gd name="connsiteY654" fmla="*/ 3901521 h 5092591"/>
              <a:gd name="connsiteX655" fmla="*/ 2734328 w 4546203"/>
              <a:gd name="connsiteY655" fmla="*/ 3865307 h 5092591"/>
              <a:gd name="connsiteX656" fmla="*/ 997268 w 4546203"/>
              <a:gd name="connsiteY656" fmla="*/ 3852573 h 5092591"/>
              <a:gd name="connsiteX657" fmla="*/ 960258 w 4546203"/>
              <a:gd name="connsiteY657" fmla="*/ 3884807 h 5092591"/>
              <a:gd name="connsiteX658" fmla="*/ 996870 w 4546203"/>
              <a:gd name="connsiteY658" fmla="*/ 3919429 h 5092591"/>
              <a:gd name="connsiteX659" fmla="*/ 1030298 w 4546203"/>
              <a:gd name="connsiteY659" fmla="*/ 3883613 h 5092591"/>
              <a:gd name="connsiteX660" fmla="*/ 997268 w 4546203"/>
              <a:gd name="connsiteY660" fmla="*/ 3852573 h 5092591"/>
              <a:gd name="connsiteX661" fmla="*/ 3121933 w 4546203"/>
              <a:gd name="connsiteY661" fmla="*/ 3850981 h 5092591"/>
              <a:gd name="connsiteX662" fmla="*/ 3096862 w 4546203"/>
              <a:gd name="connsiteY662" fmla="*/ 3867695 h 5092591"/>
              <a:gd name="connsiteX663" fmla="*/ 3115964 w 4546203"/>
              <a:gd name="connsiteY663" fmla="*/ 3897940 h 5092591"/>
              <a:gd name="connsiteX664" fmla="*/ 3141433 w 4546203"/>
              <a:gd name="connsiteY664" fmla="*/ 3881623 h 5092591"/>
              <a:gd name="connsiteX665" fmla="*/ 3121933 w 4546203"/>
              <a:gd name="connsiteY665" fmla="*/ 3850981 h 5092591"/>
              <a:gd name="connsiteX666" fmla="*/ 2772531 w 4546203"/>
              <a:gd name="connsiteY666" fmla="*/ 3850583 h 5092591"/>
              <a:gd name="connsiteX667" fmla="*/ 2739899 w 4546203"/>
              <a:gd name="connsiteY667" fmla="*/ 3863318 h 5092591"/>
              <a:gd name="connsiteX668" fmla="*/ 2753032 w 4546203"/>
              <a:gd name="connsiteY668" fmla="*/ 3899531 h 5092591"/>
              <a:gd name="connsiteX669" fmla="*/ 2786459 w 4546203"/>
              <a:gd name="connsiteY669" fmla="*/ 3886399 h 5092591"/>
              <a:gd name="connsiteX670" fmla="*/ 2772531 w 4546203"/>
              <a:gd name="connsiteY670" fmla="*/ 3850583 h 5092591"/>
              <a:gd name="connsiteX671" fmla="*/ 3039159 w 4546203"/>
              <a:gd name="connsiteY671" fmla="*/ 3848593 h 5092591"/>
              <a:gd name="connsiteX672" fmla="*/ 3014088 w 4546203"/>
              <a:gd name="connsiteY672" fmla="*/ 3863318 h 5092591"/>
              <a:gd name="connsiteX673" fmla="*/ 3031996 w 4546203"/>
              <a:gd name="connsiteY673" fmla="*/ 3894358 h 5092591"/>
              <a:gd name="connsiteX674" fmla="*/ 3057863 w 4546203"/>
              <a:gd name="connsiteY674" fmla="*/ 3879634 h 5092591"/>
              <a:gd name="connsiteX675" fmla="*/ 3039159 w 4546203"/>
              <a:gd name="connsiteY675" fmla="*/ 3848593 h 5092591"/>
              <a:gd name="connsiteX676" fmla="*/ 1093970 w 4546203"/>
              <a:gd name="connsiteY676" fmla="*/ 3846206 h 5092591"/>
              <a:gd name="connsiteX677" fmla="*/ 1061338 w 4546203"/>
              <a:gd name="connsiteY677" fmla="*/ 3882419 h 5092591"/>
              <a:gd name="connsiteX678" fmla="*/ 1097551 w 4546203"/>
              <a:gd name="connsiteY678" fmla="*/ 3913858 h 5092591"/>
              <a:gd name="connsiteX679" fmla="*/ 1129388 w 4546203"/>
              <a:gd name="connsiteY679" fmla="*/ 3876848 h 5092591"/>
              <a:gd name="connsiteX680" fmla="*/ 1093970 w 4546203"/>
              <a:gd name="connsiteY680" fmla="*/ 3846206 h 5092591"/>
              <a:gd name="connsiteX681" fmla="*/ 1662245 w 4546203"/>
              <a:gd name="connsiteY681" fmla="*/ 3840237 h 5092591"/>
              <a:gd name="connsiteX682" fmla="*/ 1643144 w 4546203"/>
              <a:gd name="connsiteY682" fmla="*/ 3880828 h 5092591"/>
              <a:gd name="connsiteX683" fmla="*/ 1705224 w 4546203"/>
              <a:gd name="connsiteY683" fmla="*/ 3908286 h 5092591"/>
              <a:gd name="connsiteX684" fmla="*/ 1722336 w 4546203"/>
              <a:gd name="connsiteY684" fmla="*/ 3866899 h 5092591"/>
              <a:gd name="connsiteX685" fmla="*/ 1662245 w 4546203"/>
              <a:gd name="connsiteY685" fmla="*/ 3840237 h 5092591"/>
              <a:gd name="connsiteX686" fmla="*/ 1190274 w 4546203"/>
              <a:gd name="connsiteY686" fmla="*/ 3836257 h 5092591"/>
              <a:gd name="connsiteX687" fmla="*/ 1159234 w 4546203"/>
              <a:gd name="connsiteY687" fmla="*/ 3873664 h 5092591"/>
              <a:gd name="connsiteX688" fmla="*/ 1195448 w 4546203"/>
              <a:gd name="connsiteY688" fmla="*/ 3902317 h 5092591"/>
              <a:gd name="connsiteX689" fmla="*/ 1225692 w 4546203"/>
              <a:gd name="connsiteY689" fmla="*/ 3864114 h 5092591"/>
              <a:gd name="connsiteX690" fmla="*/ 1190274 w 4546203"/>
              <a:gd name="connsiteY690" fmla="*/ 3836257 h 5092591"/>
              <a:gd name="connsiteX691" fmla="*/ 2810337 w 4546203"/>
              <a:gd name="connsiteY691" fmla="*/ 3835859 h 5092591"/>
              <a:gd name="connsiteX692" fmla="*/ 2778500 w 4546203"/>
              <a:gd name="connsiteY692" fmla="*/ 3848992 h 5092591"/>
              <a:gd name="connsiteX693" fmla="*/ 2792827 w 4546203"/>
              <a:gd name="connsiteY693" fmla="*/ 3884807 h 5092591"/>
              <a:gd name="connsiteX694" fmla="*/ 2826255 w 4546203"/>
              <a:gd name="connsiteY694" fmla="*/ 3870481 h 5092591"/>
              <a:gd name="connsiteX695" fmla="*/ 2810337 w 4546203"/>
              <a:gd name="connsiteY695" fmla="*/ 3835859 h 5092591"/>
              <a:gd name="connsiteX696" fmla="*/ 3191574 w 4546203"/>
              <a:gd name="connsiteY696" fmla="*/ 3828298 h 5092591"/>
              <a:gd name="connsiteX697" fmla="*/ 3188789 w 4546203"/>
              <a:gd name="connsiteY697" fmla="*/ 3831879 h 5092591"/>
              <a:gd name="connsiteX698" fmla="*/ 3287481 w 4546203"/>
              <a:gd name="connsiteY698" fmla="*/ 3969571 h 5092591"/>
              <a:gd name="connsiteX699" fmla="*/ 3340806 w 4546203"/>
              <a:gd name="connsiteY699" fmla="*/ 3929378 h 5092591"/>
              <a:gd name="connsiteX700" fmla="*/ 3254053 w 4546203"/>
              <a:gd name="connsiteY700" fmla="*/ 3854961 h 5092591"/>
              <a:gd name="connsiteX701" fmla="*/ 3205105 w 4546203"/>
              <a:gd name="connsiteY701" fmla="*/ 3833471 h 5092591"/>
              <a:gd name="connsiteX702" fmla="*/ 3191574 w 4546203"/>
              <a:gd name="connsiteY702" fmla="*/ 3828298 h 5092591"/>
              <a:gd name="connsiteX703" fmla="*/ 1284987 w 4546203"/>
              <a:gd name="connsiteY703" fmla="*/ 3820737 h 5092591"/>
              <a:gd name="connsiteX704" fmla="*/ 1255140 w 4546203"/>
              <a:gd name="connsiteY704" fmla="*/ 3859338 h 5092591"/>
              <a:gd name="connsiteX705" fmla="*/ 1290956 w 4546203"/>
              <a:gd name="connsiteY705" fmla="*/ 3885603 h 5092591"/>
              <a:gd name="connsiteX706" fmla="*/ 1319609 w 4546203"/>
              <a:gd name="connsiteY706" fmla="*/ 3846604 h 5092591"/>
              <a:gd name="connsiteX707" fmla="*/ 1284987 w 4546203"/>
              <a:gd name="connsiteY707" fmla="*/ 3820737 h 5092591"/>
              <a:gd name="connsiteX708" fmla="*/ 2848938 w 4546203"/>
              <a:gd name="connsiteY708" fmla="*/ 3818747 h 5092591"/>
              <a:gd name="connsiteX709" fmla="*/ 2816704 w 4546203"/>
              <a:gd name="connsiteY709" fmla="*/ 3833073 h 5092591"/>
              <a:gd name="connsiteX710" fmla="*/ 2832224 w 4546203"/>
              <a:gd name="connsiteY710" fmla="*/ 3868491 h 5092591"/>
              <a:gd name="connsiteX711" fmla="*/ 2864856 w 4546203"/>
              <a:gd name="connsiteY711" fmla="*/ 3853369 h 5092591"/>
              <a:gd name="connsiteX712" fmla="*/ 2848938 w 4546203"/>
              <a:gd name="connsiteY712" fmla="*/ 3818747 h 5092591"/>
              <a:gd name="connsiteX713" fmla="*/ 1048205 w 4546203"/>
              <a:gd name="connsiteY713" fmla="*/ 3802829 h 5092591"/>
              <a:gd name="connsiteX714" fmla="*/ 1010400 w 4546203"/>
              <a:gd name="connsiteY714" fmla="*/ 3834665 h 5092591"/>
              <a:gd name="connsiteX715" fmla="*/ 1045420 w 4546203"/>
              <a:gd name="connsiteY715" fmla="*/ 3867695 h 5092591"/>
              <a:gd name="connsiteX716" fmla="*/ 1078450 w 4546203"/>
              <a:gd name="connsiteY716" fmla="*/ 3831482 h 5092591"/>
              <a:gd name="connsiteX717" fmla="*/ 1048205 w 4546203"/>
              <a:gd name="connsiteY717" fmla="*/ 3802829 h 5092591"/>
              <a:gd name="connsiteX718" fmla="*/ 3237339 w 4546203"/>
              <a:gd name="connsiteY718" fmla="*/ 3794870 h 5092591"/>
              <a:gd name="connsiteX719" fmla="*/ 3208289 w 4546203"/>
              <a:gd name="connsiteY719" fmla="*/ 3817553 h 5092591"/>
              <a:gd name="connsiteX720" fmla="*/ 3269573 w 4546203"/>
              <a:gd name="connsiteY720" fmla="*/ 3844216 h 5092591"/>
              <a:gd name="connsiteX721" fmla="*/ 3273155 w 4546203"/>
              <a:gd name="connsiteY721" fmla="*/ 3841032 h 5092591"/>
              <a:gd name="connsiteX722" fmla="*/ 3237339 w 4546203"/>
              <a:gd name="connsiteY722" fmla="*/ 3794870 h 5092591"/>
              <a:gd name="connsiteX723" fmla="*/ 1141326 w 4546203"/>
              <a:gd name="connsiteY723" fmla="*/ 3792880 h 5092591"/>
              <a:gd name="connsiteX724" fmla="*/ 1108694 w 4546203"/>
              <a:gd name="connsiteY724" fmla="*/ 3829492 h 5092591"/>
              <a:gd name="connsiteX725" fmla="*/ 1143714 w 4546203"/>
              <a:gd name="connsiteY725" fmla="*/ 3859736 h 5092591"/>
              <a:gd name="connsiteX726" fmla="*/ 1175550 w 4546203"/>
              <a:gd name="connsiteY726" fmla="*/ 3822727 h 5092591"/>
              <a:gd name="connsiteX727" fmla="*/ 1141326 w 4546203"/>
              <a:gd name="connsiteY727" fmla="*/ 3792880 h 5092591"/>
              <a:gd name="connsiteX728" fmla="*/ 3128698 w 4546203"/>
              <a:gd name="connsiteY728" fmla="*/ 3790890 h 5092591"/>
              <a:gd name="connsiteX729" fmla="*/ 3105219 w 4546203"/>
              <a:gd name="connsiteY729" fmla="*/ 3808002 h 5092591"/>
              <a:gd name="connsiteX730" fmla="*/ 3125515 w 4546203"/>
              <a:gd name="connsiteY730" fmla="*/ 3837451 h 5092591"/>
              <a:gd name="connsiteX731" fmla="*/ 3150188 w 4546203"/>
              <a:gd name="connsiteY731" fmla="*/ 3820737 h 5092591"/>
              <a:gd name="connsiteX732" fmla="*/ 3128698 w 4546203"/>
              <a:gd name="connsiteY732" fmla="*/ 3790890 h 5092591"/>
              <a:gd name="connsiteX733" fmla="*/ 1236437 w 4546203"/>
              <a:gd name="connsiteY733" fmla="*/ 3781340 h 5092591"/>
              <a:gd name="connsiteX734" fmla="*/ 1205396 w 4546203"/>
              <a:gd name="connsiteY734" fmla="*/ 3819145 h 5092591"/>
              <a:gd name="connsiteX735" fmla="*/ 1239620 w 4546203"/>
              <a:gd name="connsiteY735" fmla="*/ 3847002 h 5092591"/>
              <a:gd name="connsiteX736" fmla="*/ 1269865 w 4546203"/>
              <a:gd name="connsiteY736" fmla="*/ 3808798 h 5092591"/>
              <a:gd name="connsiteX737" fmla="*/ 1236437 w 4546203"/>
              <a:gd name="connsiteY737" fmla="*/ 3781340 h 5092591"/>
              <a:gd name="connsiteX738" fmla="*/ 2919376 w 4546203"/>
              <a:gd name="connsiteY738" fmla="*/ 3776166 h 5092591"/>
              <a:gd name="connsiteX739" fmla="*/ 2872019 w 4546203"/>
              <a:gd name="connsiteY739" fmla="*/ 3800839 h 5092591"/>
              <a:gd name="connsiteX740" fmla="*/ 2920171 w 4546203"/>
              <a:gd name="connsiteY740" fmla="*/ 3901123 h 5092591"/>
              <a:gd name="connsiteX741" fmla="*/ 2971507 w 4546203"/>
              <a:gd name="connsiteY741" fmla="*/ 3874858 h 5092591"/>
              <a:gd name="connsiteX742" fmla="*/ 2919376 w 4546203"/>
              <a:gd name="connsiteY742" fmla="*/ 3776166 h 5092591"/>
              <a:gd name="connsiteX743" fmla="*/ 3070199 w 4546203"/>
              <a:gd name="connsiteY743" fmla="*/ 3772983 h 5092591"/>
              <a:gd name="connsiteX744" fmla="*/ 3046720 w 4546203"/>
              <a:gd name="connsiteY744" fmla="*/ 3788503 h 5092591"/>
              <a:gd name="connsiteX745" fmla="*/ 3065822 w 4546203"/>
              <a:gd name="connsiteY745" fmla="*/ 3819145 h 5092591"/>
              <a:gd name="connsiteX746" fmla="*/ 3090097 w 4546203"/>
              <a:gd name="connsiteY746" fmla="*/ 3803227 h 5092591"/>
              <a:gd name="connsiteX747" fmla="*/ 3070199 w 4546203"/>
              <a:gd name="connsiteY747" fmla="*/ 3772983 h 5092591"/>
              <a:gd name="connsiteX748" fmla="*/ 1328364 w 4546203"/>
              <a:gd name="connsiteY748" fmla="*/ 3764626 h 5092591"/>
              <a:gd name="connsiteX749" fmla="*/ 1298517 w 4546203"/>
              <a:gd name="connsiteY749" fmla="*/ 3803227 h 5092591"/>
              <a:gd name="connsiteX750" fmla="*/ 1332741 w 4546203"/>
              <a:gd name="connsiteY750" fmla="*/ 3828696 h 5092591"/>
              <a:gd name="connsiteX751" fmla="*/ 1360996 w 4546203"/>
              <a:gd name="connsiteY751" fmla="*/ 3789697 h 5092591"/>
              <a:gd name="connsiteX752" fmla="*/ 1328364 w 4546203"/>
              <a:gd name="connsiteY752" fmla="*/ 3764626 h 5092591"/>
              <a:gd name="connsiteX753" fmla="*/ 3011302 w 4546203"/>
              <a:gd name="connsiteY753" fmla="*/ 3758656 h 5092591"/>
              <a:gd name="connsiteX754" fmla="*/ 2987823 w 4546203"/>
              <a:gd name="connsiteY754" fmla="*/ 3772983 h 5092591"/>
              <a:gd name="connsiteX755" fmla="*/ 3006925 w 4546203"/>
              <a:gd name="connsiteY755" fmla="*/ 3804023 h 5092591"/>
              <a:gd name="connsiteX756" fmla="*/ 3030404 w 4546203"/>
              <a:gd name="connsiteY756" fmla="*/ 3789299 h 5092591"/>
              <a:gd name="connsiteX757" fmla="*/ 3011302 w 4546203"/>
              <a:gd name="connsiteY757" fmla="*/ 3758656 h 5092591"/>
              <a:gd name="connsiteX758" fmla="*/ 3476508 w 4546203"/>
              <a:gd name="connsiteY758" fmla="*/ 3754279 h 5092591"/>
              <a:gd name="connsiteX759" fmla="*/ 3445468 w 4546203"/>
              <a:gd name="connsiteY759" fmla="*/ 3783727 h 5092591"/>
              <a:gd name="connsiteX760" fmla="*/ 3469345 w 4546203"/>
              <a:gd name="connsiteY760" fmla="*/ 3807604 h 5092591"/>
              <a:gd name="connsiteX761" fmla="*/ 3497202 w 4546203"/>
              <a:gd name="connsiteY761" fmla="*/ 3776166 h 5092591"/>
              <a:gd name="connsiteX762" fmla="*/ 3476508 w 4546203"/>
              <a:gd name="connsiteY762" fmla="*/ 3754279 h 5092591"/>
              <a:gd name="connsiteX763" fmla="*/ 1097153 w 4546203"/>
              <a:gd name="connsiteY763" fmla="*/ 3751891 h 5092591"/>
              <a:gd name="connsiteX764" fmla="*/ 1060542 w 4546203"/>
              <a:gd name="connsiteY764" fmla="*/ 3784523 h 5092591"/>
              <a:gd name="connsiteX765" fmla="*/ 1093572 w 4546203"/>
              <a:gd name="connsiteY765" fmla="*/ 3815563 h 5092591"/>
              <a:gd name="connsiteX766" fmla="*/ 1126602 w 4546203"/>
              <a:gd name="connsiteY766" fmla="*/ 3779748 h 5092591"/>
              <a:gd name="connsiteX767" fmla="*/ 1097153 w 4546203"/>
              <a:gd name="connsiteY767" fmla="*/ 3751891 h 5092591"/>
              <a:gd name="connsiteX768" fmla="*/ 3299420 w 4546203"/>
              <a:gd name="connsiteY768" fmla="*/ 3746718 h 5092591"/>
              <a:gd name="connsiteX769" fmla="*/ 3268777 w 4546203"/>
              <a:gd name="connsiteY769" fmla="*/ 3772585 h 5092591"/>
              <a:gd name="connsiteX770" fmla="*/ 3293052 w 4546203"/>
              <a:gd name="connsiteY770" fmla="*/ 3802033 h 5092591"/>
              <a:gd name="connsiteX771" fmla="*/ 3324093 w 4546203"/>
              <a:gd name="connsiteY771" fmla="*/ 3774972 h 5092591"/>
              <a:gd name="connsiteX772" fmla="*/ 3299420 w 4546203"/>
              <a:gd name="connsiteY772" fmla="*/ 3746718 h 5092591"/>
              <a:gd name="connsiteX773" fmla="*/ 1189478 w 4546203"/>
              <a:gd name="connsiteY773" fmla="*/ 3740350 h 5092591"/>
              <a:gd name="connsiteX774" fmla="*/ 1156448 w 4546203"/>
              <a:gd name="connsiteY774" fmla="*/ 3776962 h 5092591"/>
              <a:gd name="connsiteX775" fmla="*/ 1190672 w 4546203"/>
              <a:gd name="connsiteY775" fmla="*/ 3805615 h 5092591"/>
              <a:gd name="connsiteX776" fmla="*/ 1221713 w 4546203"/>
              <a:gd name="connsiteY776" fmla="*/ 3769003 h 5092591"/>
              <a:gd name="connsiteX777" fmla="*/ 1189478 w 4546203"/>
              <a:gd name="connsiteY777" fmla="*/ 3740350 h 5092591"/>
              <a:gd name="connsiteX778" fmla="*/ 1281405 w 4546203"/>
              <a:gd name="connsiteY778" fmla="*/ 3727218 h 5092591"/>
              <a:gd name="connsiteX779" fmla="*/ 1250365 w 4546203"/>
              <a:gd name="connsiteY779" fmla="*/ 3765024 h 5092591"/>
              <a:gd name="connsiteX780" fmla="*/ 1283395 w 4546203"/>
              <a:gd name="connsiteY780" fmla="*/ 3791686 h 5092591"/>
              <a:gd name="connsiteX781" fmla="*/ 1313639 w 4546203"/>
              <a:gd name="connsiteY781" fmla="*/ 3753085 h 5092591"/>
              <a:gd name="connsiteX782" fmla="*/ 1281405 w 4546203"/>
              <a:gd name="connsiteY782" fmla="*/ 3727218 h 5092591"/>
              <a:gd name="connsiteX783" fmla="*/ 3161728 w 4546203"/>
              <a:gd name="connsiteY783" fmla="*/ 3709708 h 5092591"/>
              <a:gd name="connsiteX784" fmla="*/ 3119147 w 4546203"/>
              <a:gd name="connsiteY784" fmla="*/ 3741942 h 5092591"/>
              <a:gd name="connsiteX785" fmla="*/ 3187197 w 4546203"/>
              <a:gd name="connsiteY785" fmla="*/ 3809594 h 5092591"/>
              <a:gd name="connsiteX786" fmla="*/ 3219829 w 4546203"/>
              <a:gd name="connsiteY786" fmla="*/ 3784921 h 5092591"/>
              <a:gd name="connsiteX787" fmla="*/ 3161728 w 4546203"/>
              <a:gd name="connsiteY787" fmla="*/ 3709708 h 5092591"/>
              <a:gd name="connsiteX788" fmla="*/ 3433529 w 4546203"/>
              <a:gd name="connsiteY788" fmla="*/ 3708116 h 5092591"/>
              <a:gd name="connsiteX789" fmla="*/ 3405673 w 4546203"/>
              <a:gd name="connsiteY789" fmla="*/ 3739953 h 5092591"/>
              <a:gd name="connsiteX790" fmla="*/ 3428356 w 4546203"/>
              <a:gd name="connsiteY790" fmla="*/ 3763830 h 5092591"/>
              <a:gd name="connsiteX791" fmla="*/ 3460192 w 4546203"/>
              <a:gd name="connsiteY791" fmla="*/ 3734779 h 5092591"/>
              <a:gd name="connsiteX792" fmla="*/ 3433529 w 4546203"/>
              <a:gd name="connsiteY792" fmla="*/ 3708116 h 5092591"/>
              <a:gd name="connsiteX793" fmla="*/ 3263206 w 4546203"/>
              <a:gd name="connsiteY793" fmla="*/ 3704535 h 5092591"/>
              <a:gd name="connsiteX794" fmla="*/ 3233359 w 4546203"/>
              <a:gd name="connsiteY794" fmla="*/ 3729208 h 5092591"/>
              <a:gd name="connsiteX795" fmla="*/ 3254849 w 4546203"/>
              <a:gd name="connsiteY795" fmla="*/ 3754677 h 5092591"/>
              <a:gd name="connsiteX796" fmla="*/ 3284695 w 4546203"/>
              <a:gd name="connsiteY796" fmla="*/ 3729208 h 5092591"/>
              <a:gd name="connsiteX797" fmla="*/ 3263206 w 4546203"/>
              <a:gd name="connsiteY797" fmla="*/ 3704535 h 5092591"/>
              <a:gd name="connsiteX798" fmla="*/ 1146500 w 4546203"/>
              <a:gd name="connsiteY798" fmla="*/ 3700555 h 5092591"/>
              <a:gd name="connsiteX799" fmla="*/ 1109888 w 4546203"/>
              <a:gd name="connsiteY799" fmla="*/ 3732789 h 5092591"/>
              <a:gd name="connsiteX800" fmla="*/ 1142520 w 4546203"/>
              <a:gd name="connsiteY800" fmla="*/ 3763432 h 5092591"/>
              <a:gd name="connsiteX801" fmla="*/ 1171571 w 4546203"/>
              <a:gd name="connsiteY801" fmla="*/ 3731198 h 5092591"/>
              <a:gd name="connsiteX802" fmla="*/ 1146500 w 4546203"/>
              <a:gd name="connsiteY802" fmla="*/ 3700555 h 5092591"/>
              <a:gd name="connsiteX803" fmla="*/ 1236835 w 4546203"/>
              <a:gd name="connsiteY803" fmla="*/ 3687821 h 5092591"/>
              <a:gd name="connsiteX804" fmla="*/ 1204600 w 4546203"/>
              <a:gd name="connsiteY804" fmla="*/ 3724432 h 5092591"/>
              <a:gd name="connsiteX805" fmla="*/ 1236437 w 4546203"/>
              <a:gd name="connsiteY805" fmla="*/ 3752289 h 5092591"/>
              <a:gd name="connsiteX806" fmla="*/ 1267875 w 4546203"/>
              <a:gd name="connsiteY806" fmla="*/ 3714882 h 5092591"/>
              <a:gd name="connsiteX807" fmla="*/ 1236835 w 4546203"/>
              <a:gd name="connsiteY807" fmla="*/ 3687821 h 5092591"/>
              <a:gd name="connsiteX808" fmla="*/ 3141433 w 4546203"/>
              <a:gd name="connsiteY808" fmla="*/ 3683045 h 5092591"/>
              <a:gd name="connsiteX809" fmla="*/ 3108801 w 4546203"/>
              <a:gd name="connsiteY809" fmla="*/ 3700157 h 5092591"/>
              <a:gd name="connsiteX810" fmla="*/ 3102035 w 4546203"/>
              <a:gd name="connsiteY810" fmla="*/ 3712096 h 5092591"/>
              <a:gd name="connsiteX811" fmla="*/ 3107607 w 4546203"/>
              <a:gd name="connsiteY811" fmla="*/ 3715678 h 5092591"/>
              <a:gd name="connsiteX812" fmla="*/ 3143025 w 4546203"/>
              <a:gd name="connsiteY812" fmla="*/ 3689413 h 5092591"/>
              <a:gd name="connsiteX813" fmla="*/ 3141433 w 4546203"/>
              <a:gd name="connsiteY813" fmla="*/ 3683045 h 5092591"/>
              <a:gd name="connsiteX814" fmla="*/ 1195050 w 4546203"/>
              <a:gd name="connsiteY814" fmla="*/ 3647628 h 5092591"/>
              <a:gd name="connsiteX815" fmla="*/ 1158438 w 4546203"/>
              <a:gd name="connsiteY815" fmla="*/ 3681852 h 5092591"/>
              <a:gd name="connsiteX816" fmla="*/ 1190274 w 4546203"/>
              <a:gd name="connsiteY816" fmla="*/ 3711300 h 5092591"/>
              <a:gd name="connsiteX817" fmla="*/ 1222110 w 4546203"/>
              <a:gd name="connsiteY817" fmla="*/ 3677076 h 5092591"/>
              <a:gd name="connsiteX818" fmla="*/ 1195050 w 4546203"/>
              <a:gd name="connsiteY818" fmla="*/ 3647628 h 5092591"/>
              <a:gd name="connsiteX819" fmla="*/ 3344786 w 4546203"/>
              <a:gd name="connsiteY819" fmla="*/ 3613006 h 5092591"/>
              <a:gd name="connsiteX820" fmla="*/ 3318123 w 4546203"/>
              <a:gd name="connsiteY820" fmla="*/ 3637679 h 5092591"/>
              <a:gd name="connsiteX821" fmla="*/ 3343990 w 4546203"/>
              <a:gd name="connsiteY821" fmla="*/ 3666331 h 5092591"/>
              <a:gd name="connsiteX822" fmla="*/ 3369857 w 4546203"/>
              <a:gd name="connsiteY822" fmla="*/ 3640067 h 5092591"/>
              <a:gd name="connsiteX823" fmla="*/ 3344786 w 4546203"/>
              <a:gd name="connsiteY823" fmla="*/ 3613006 h 5092591"/>
              <a:gd name="connsiteX824" fmla="*/ 947922 w 4546203"/>
              <a:gd name="connsiteY824" fmla="*/ 3587537 h 5092591"/>
              <a:gd name="connsiteX825" fmla="*/ 915289 w 4546203"/>
              <a:gd name="connsiteY825" fmla="*/ 3613802 h 5092591"/>
              <a:gd name="connsiteX826" fmla="*/ 939962 w 4546203"/>
              <a:gd name="connsiteY826" fmla="*/ 3644444 h 5092591"/>
              <a:gd name="connsiteX827" fmla="*/ 972197 w 4546203"/>
              <a:gd name="connsiteY827" fmla="*/ 3617781 h 5092591"/>
              <a:gd name="connsiteX828" fmla="*/ 947922 w 4546203"/>
              <a:gd name="connsiteY828" fmla="*/ 3587537 h 5092591"/>
              <a:gd name="connsiteX829" fmla="*/ 3303797 w 4546203"/>
              <a:gd name="connsiteY829" fmla="*/ 3572017 h 5092591"/>
              <a:gd name="connsiteX830" fmla="*/ 3277532 w 4546203"/>
              <a:gd name="connsiteY830" fmla="*/ 3598282 h 5092591"/>
              <a:gd name="connsiteX831" fmla="*/ 3299021 w 4546203"/>
              <a:gd name="connsiteY831" fmla="*/ 3620965 h 5092591"/>
              <a:gd name="connsiteX832" fmla="*/ 3325286 w 4546203"/>
              <a:gd name="connsiteY832" fmla="*/ 3595496 h 5092591"/>
              <a:gd name="connsiteX833" fmla="*/ 3303797 w 4546203"/>
              <a:gd name="connsiteY833" fmla="*/ 3572017 h 5092591"/>
              <a:gd name="connsiteX834" fmla="*/ 951901 w 4546203"/>
              <a:gd name="connsiteY834" fmla="*/ 3509538 h 5092591"/>
              <a:gd name="connsiteX835" fmla="*/ 918075 w 4546203"/>
              <a:gd name="connsiteY835" fmla="*/ 3535007 h 5092591"/>
              <a:gd name="connsiteX836" fmla="*/ 941156 w 4546203"/>
              <a:gd name="connsiteY836" fmla="*/ 3565252 h 5092591"/>
              <a:gd name="connsiteX837" fmla="*/ 974186 w 4546203"/>
              <a:gd name="connsiteY837" fmla="*/ 3539385 h 5092591"/>
              <a:gd name="connsiteX838" fmla="*/ 951901 w 4546203"/>
              <a:gd name="connsiteY838" fmla="*/ 3509538 h 5092591"/>
              <a:gd name="connsiteX839" fmla="*/ 1078848 w 4546203"/>
              <a:gd name="connsiteY839" fmla="*/ 3484070 h 5092591"/>
              <a:gd name="connsiteX840" fmla="*/ 1046216 w 4546203"/>
              <a:gd name="connsiteY840" fmla="*/ 3510334 h 5092591"/>
              <a:gd name="connsiteX841" fmla="*/ 1068501 w 4546203"/>
              <a:gd name="connsiteY841" fmla="*/ 3538191 h 5092591"/>
              <a:gd name="connsiteX842" fmla="*/ 1100337 w 4546203"/>
              <a:gd name="connsiteY842" fmla="*/ 3510732 h 5092591"/>
              <a:gd name="connsiteX843" fmla="*/ 1078848 w 4546203"/>
              <a:gd name="connsiteY843" fmla="*/ 3484070 h 5092591"/>
              <a:gd name="connsiteX844" fmla="*/ 1236437 w 4546203"/>
              <a:gd name="connsiteY844" fmla="*/ 3478896 h 5092591"/>
              <a:gd name="connsiteX845" fmla="*/ 1230467 w 4546203"/>
              <a:gd name="connsiteY845" fmla="*/ 3485263 h 5092591"/>
              <a:gd name="connsiteX846" fmla="*/ 1268671 w 4546203"/>
              <a:gd name="connsiteY846" fmla="*/ 3525456 h 5092591"/>
              <a:gd name="connsiteX847" fmla="*/ 1275436 w 4546203"/>
              <a:gd name="connsiteY847" fmla="*/ 3518293 h 5092591"/>
              <a:gd name="connsiteX848" fmla="*/ 1236437 w 4546203"/>
              <a:gd name="connsiteY848" fmla="*/ 3478896 h 5092591"/>
              <a:gd name="connsiteX849" fmla="*/ 957074 w 4546203"/>
              <a:gd name="connsiteY849" fmla="*/ 3412836 h 5092591"/>
              <a:gd name="connsiteX850" fmla="*/ 922453 w 4546203"/>
              <a:gd name="connsiteY850" fmla="*/ 3436713 h 5092591"/>
              <a:gd name="connsiteX851" fmla="*/ 943146 w 4546203"/>
              <a:gd name="connsiteY851" fmla="*/ 3466958 h 5092591"/>
              <a:gd name="connsiteX852" fmla="*/ 977370 w 4546203"/>
              <a:gd name="connsiteY852" fmla="*/ 3442682 h 5092591"/>
              <a:gd name="connsiteX853" fmla="*/ 957074 w 4546203"/>
              <a:gd name="connsiteY853" fmla="*/ 3412836 h 5092591"/>
              <a:gd name="connsiteX854" fmla="*/ 3465366 w 4546203"/>
              <a:gd name="connsiteY854" fmla="*/ 3410050 h 5092591"/>
              <a:gd name="connsiteX855" fmla="*/ 3363092 w 4546203"/>
              <a:gd name="connsiteY855" fmla="*/ 3535405 h 5092591"/>
              <a:gd name="connsiteX856" fmla="*/ 3300613 w 4546203"/>
              <a:gd name="connsiteY856" fmla="*/ 3480090 h 5092591"/>
              <a:gd name="connsiteX857" fmla="*/ 3278726 w 4546203"/>
              <a:gd name="connsiteY857" fmla="*/ 3503967 h 5092591"/>
              <a:gd name="connsiteX858" fmla="*/ 3619373 w 4546203"/>
              <a:gd name="connsiteY858" fmla="*/ 3826706 h 5092591"/>
              <a:gd name="connsiteX859" fmla="*/ 3638475 w 4546203"/>
              <a:gd name="connsiteY859" fmla="*/ 3829094 h 5092591"/>
              <a:gd name="connsiteX860" fmla="*/ 3701351 w 4546203"/>
              <a:gd name="connsiteY860" fmla="*/ 3800043 h 5092591"/>
              <a:gd name="connsiteX861" fmla="*/ 3697372 w 4546203"/>
              <a:gd name="connsiteY861" fmla="*/ 3796064 h 5092591"/>
              <a:gd name="connsiteX862" fmla="*/ 3706922 w 4546203"/>
              <a:gd name="connsiteY862" fmla="*/ 3775370 h 5092591"/>
              <a:gd name="connsiteX863" fmla="*/ 3785319 w 4546203"/>
              <a:gd name="connsiteY863" fmla="*/ 3678270 h 5092591"/>
              <a:gd name="connsiteX864" fmla="*/ 3769799 w 4546203"/>
              <a:gd name="connsiteY864" fmla="*/ 3668719 h 5092591"/>
              <a:gd name="connsiteX865" fmla="*/ 3677474 w 4546203"/>
              <a:gd name="connsiteY865" fmla="*/ 3782135 h 5092591"/>
              <a:gd name="connsiteX866" fmla="*/ 3615393 w 4546203"/>
              <a:gd name="connsiteY866" fmla="*/ 3727218 h 5092591"/>
              <a:gd name="connsiteX867" fmla="*/ 3700555 w 4546203"/>
              <a:gd name="connsiteY867" fmla="*/ 3622159 h 5092591"/>
              <a:gd name="connsiteX868" fmla="*/ 3679464 w 4546203"/>
              <a:gd name="connsiteY868" fmla="*/ 3621363 h 5092591"/>
              <a:gd name="connsiteX869" fmla="*/ 3598679 w 4546203"/>
              <a:gd name="connsiteY869" fmla="*/ 3721647 h 5092591"/>
              <a:gd name="connsiteX870" fmla="*/ 3534211 w 4546203"/>
              <a:gd name="connsiteY870" fmla="*/ 3664740 h 5092591"/>
              <a:gd name="connsiteX871" fmla="*/ 3548936 w 4546203"/>
              <a:gd name="connsiteY871" fmla="*/ 3646434 h 5092591"/>
              <a:gd name="connsiteX872" fmla="*/ 3613802 w 4546203"/>
              <a:gd name="connsiteY872" fmla="*/ 3566048 h 5092591"/>
              <a:gd name="connsiteX873" fmla="*/ 3616587 w 4546203"/>
              <a:gd name="connsiteY873" fmla="*/ 3549732 h 5092591"/>
              <a:gd name="connsiteX874" fmla="*/ 3610618 w 4546203"/>
              <a:gd name="connsiteY874" fmla="*/ 3548936 h 5092591"/>
              <a:gd name="connsiteX875" fmla="*/ 3519089 w 4546203"/>
              <a:gd name="connsiteY875" fmla="*/ 3659566 h 5092591"/>
              <a:gd name="connsiteX876" fmla="*/ 3454621 w 4546203"/>
              <a:gd name="connsiteY876" fmla="*/ 3601863 h 5092591"/>
              <a:gd name="connsiteX877" fmla="*/ 3536997 w 4546203"/>
              <a:gd name="connsiteY877" fmla="*/ 3498794 h 5092591"/>
              <a:gd name="connsiteX878" fmla="*/ 3542568 w 4546203"/>
              <a:gd name="connsiteY878" fmla="*/ 3483274 h 5092591"/>
              <a:gd name="connsiteX879" fmla="*/ 3536997 w 4546203"/>
              <a:gd name="connsiteY879" fmla="*/ 3480886 h 5092591"/>
              <a:gd name="connsiteX880" fmla="*/ 3440693 w 4546203"/>
              <a:gd name="connsiteY880" fmla="*/ 3597884 h 5092591"/>
              <a:gd name="connsiteX881" fmla="*/ 3373837 w 4546203"/>
              <a:gd name="connsiteY881" fmla="*/ 3538191 h 5092591"/>
              <a:gd name="connsiteX882" fmla="*/ 3426366 w 4546203"/>
              <a:gd name="connsiteY882" fmla="*/ 3475315 h 5092591"/>
              <a:gd name="connsiteX883" fmla="*/ 3465366 w 4546203"/>
              <a:gd name="connsiteY883" fmla="*/ 3410050 h 5092591"/>
              <a:gd name="connsiteX884" fmla="*/ 1053777 w 4546203"/>
              <a:gd name="connsiteY884" fmla="*/ 3369459 h 5092591"/>
              <a:gd name="connsiteX885" fmla="*/ 1019155 w 4546203"/>
              <a:gd name="connsiteY885" fmla="*/ 3392938 h 5092591"/>
              <a:gd name="connsiteX886" fmla="*/ 1039053 w 4546203"/>
              <a:gd name="connsiteY886" fmla="*/ 3421193 h 5092591"/>
              <a:gd name="connsiteX887" fmla="*/ 1072879 w 4546203"/>
              <a:gd name="connsiteY887" fmla="*/ 3396520 h 5092591"/>
              <a:gd name="connsiteX888" fmla="*/ 1053777 w 4546203"/>
              <a:gd name="connsiteY888" fmla="*/ 3369459 h 5092591"/>
              <a:gd name="connsiteX889" fmla="*/ 3675484 w 4546203"/>
              <a:gd name="connsiteY889" fmla="*/ 3152177 h 5092591"/>
              <a:gd name="connsiteX890" fmla="*/ 3667127 w 4546203"/>
              <a:gd name="connsiteY890" fmla="*/ 3170085 h 5092591"/>
              <a:gd name="connsiteX891" fmla="*/ 3689412 w 4546203"/>
              <a:gd name="connsiteY891" fmla="*/ 3179636 h 5092591"/>
              <a:gd name="connsiteX892" fmla="*/ 3697769 w 4546203"/>
              <a:gd name="connsiteY892" fmla="*/ 3161330 h 5092591"/>
              <a:gd name="connsiteX893" fmla="*/ 3675484 w 4546203"/>
              <a:gd name="connsiteY893" fmla="*/ 3152177 h 5092591"/>
              <a:gd name="connsiteX894" fmla="*/ 784363 w 4546203"/>
              <a:gd name="connsiteY894" fmla="*/ 3125913 h 5092591"/>
              <a:gd name="connsiteX895" fmla="*/ 779190 w 4546203"/>
              <a:gd name="connsiteY895" fmla="*/ 3141831 h 5092591"/>
              <a:gd name="connsiteX896" fmla="*/ 820577 w 4546203"/>
              <a:gd name="connsiteY896" fmla="*/ 3236146 h 5092591"/>
              <a:gd name="connsiteX897" fmla="*/ 828934 w 4546203"/>
              <a:gd name="connsiteY897" fmla="*/ 3242115 h 5092591"/>
              <a:gd name="connsiteX898" fmla="*/ 831322 w 4546203"/>
              <a:gd name="connsiteY898" fmla="*/ 3232166 h 5092591"/>
              <a:gd name="connsiteX899" fmla="*/ 784363 w 4546203"/>
              <a:gd name="connsiteY899" fmla="*/ 3125913 h 5092591"/>
              <a:gd name="connsiteX900" fmla="*/ 3741146 w 4546203"/>
              <a:gd name="connsiteY900" fmla="*/ 3119943 h 5092591"/>
              <a:gd name="connsiteX901" fmla="*/ 3732789 w 4546203"/>
              <a:gd name="connsiteY901" fmla="*/ 3138647 h 5092591"/>
              <a:gd name="connsiteX902" fmla="*/ 3755871 w 4546203"/>
              <a:gd name="connsiteY902" fmla="*/ 3147800 h 5092591"/>
              <a:gd name="connsiteX903" fmla="*/ 3763034 w 4546203"/>
              <a:gd name="connsiteY903" fmla="*/ 3128300 h 5092591"/>
              <a:gd name="connsiteX904" fmla="*/ 3741146 w 4546203"/>
              <a:gd name="connsiteY904" fmla="*/ 3119943 h 5092591"/>
              <a:gd name="connsiteX905" fmla="*/ 828536 w 4546203"/>
              <a:gd name="connsiteY905" fmla="*/ 3115964 h 5092591"/>
              <a:gd name="connsiteX906" fmla="*/ 819781 w 4546203"/>
              <a:gd name="connsiteY906" fmla="*/ 3118352 h 5092591"/>
              <a:gd name="connsiteX907" fmla="*/ 855597 w 4546203"/>
              <a:gd name="connsiteY907" fmla="*/ 3207891 h 5092591"/>
              <a:gd name="connsiteX908" fmla="*/ 867137 w 4546203"/>
              <a:gd name="connsiteY908" fmla="*/ 3224207 h 5092591"/>
              <a:gd name="connsiteX909" fmla="*/ 873505 w 4546203"/>
              <a:gd name="connsiteY909" fmla="*/ 3219829 h 5092591"/>
              <a:gd name="connsiteX910" fmla="*/ 828536 w 4546203"/>
              <a:gd name="connsiteY910" fmla="*/ 3115964 h 5092591"/>
              <a:gd name="connsiteX911" fmla="*/ 3607335 w 4546203"/>
              <a:gd name="connsiteY911" fmla="*/ 3108154 h 5092591"/>
              <a:gd name="connsiteX912" fmla="*/ 3595894 w 4546203"/>
              <a:gd name="connsiteY912" fmla="*/ 3123923 h 5092591"/>
              <a:gd name="connsiteX913" fmla="*/ 3617383 w 4546203"/>
              <a:gd name="connsiteY913" fmla="*/ 3133076 h 5092591"/>
              <a:gd name="connsiteX914" fmla="*/ 3624148 w 4546203"/>
              <a:gd name="connsiteY914" fmla="*/ 3115964 h 5092591"/>
              <a:gd name="connsiteX915" fmla="*/ 3607335 w 4546203"/>
              <a:gd name="connsiteY915" fmla="*/ 3108154 h 5092591"/>
              <a:gd name="connsiteX916" fmla="*/ 903351 w 4546203"/>
              <a:gd name="connsiteY916" fmla="*/ 3093679 h 5092591"/>
              <a:gd name="connsiteX917" fmla="*/ 897382 w 4546203"/>
              <a:gd name="connsiteY917" fmla="*/ 3096464 h 5092591"/>
              <a:gd name="connsiteX918" fmla="*/ 986523 w 4546203"/>
              <a:gd name="connsiteY918" fmla="*/ 3279920 h 5092591"/>
              <a:gd name="connsiteX919" fmla="*/ 992492 w 4546203"/>
              <a:gd name="connsiteY919" fmla="*/ 3277135 h 5092591"/>
              <a:gd name="connsiteX920" fmla="*/ 903351 w 4546203"/>
              <a:gd name="connsiteY920" fmla="*/ 3093679 h 5092591"/>
              <a:gd name="connsiteX921" fmla="*/ 3796461 w 4546203"/>
              <a:gd name="connsiteY921" fmla="*/ 3085322 h 5092591"/>
              <a:gd name="connsiteX922" fmla="*/ 3790094 w 4546203"/>
              <a:gd name="connsiteY922" fmla="*/ 3106015 h 5092591"/>
              <a:gd name="connsiteX923" fmla="*/ 3812379 w 4546203"/>
              <a:gd name="connsiteY923" fmla="*/ 3113576 h 5092591"/>
              <a:gd name="connsiteX924" fmla="*/ 3819543 w 4546203"/>
              <a:gd name="connsiteY924" fmla="*/ 3093679 h 5092591"/>
              <a:gd name="connsiteX925" fmla="*/ 3796461 w 4546203"/>
              <a:gd name="connsiteY925" fmla="*/ 3085322 h 5092591"/>
              <a:gd name="connsiteX926" fmla="*/ 975778 w 4546203"/>
              <a:gd name="connsiteY926" fmla="*/ 3063036 h 5092591"/>
              <a:gd name="connsiteX927" fmla="*/ 969013 w 4546203"/>
              <a:gd name="connsiteY927" fmla="*/ 3066220 h 5092591"/>
              <a:gd name="connsiteX928" fmla="*/ 1037063 w 4546203"/>
              <a:gd name="connsiteY928" fmla="*/ 3215054 h 5092591"/>
              <a:gd name="connsiteX929" fmla="*/ 1013584 w 4546203"/>
              <a:gd name="connsiteY929" fmla="*/ 3227788 h 5092591"/>
              <a:gd name="connsiteX930" fmla="*/ 942748 w 4546203"/>
              <a:gd name="connsiteY930" fmla="*/ 3076169 h 5092591"/>
              <a:gd name="connsiteX931" fmla="*/ 936381 w 4546203"/>
              <a:gd name="connsiteY931" fmla="*/ 3079352 h 5092591"/>
              <a:gd name="connsiteX932" fmla="*/ 1023134 w 4546203"/>
              <a:gd name="connsiteY932" fmla="*/ 3261216 h 5092591"/>
              <a:gd name="connsiteX933" fmla="*/ 1060940 w 4546203"/>
              <a:gd name="connsiteY933" fmla="*/ 3238533 h 5092591"/>
              <a:gd name="connsiteX934" fmla="*/ 975778 w 4546203"/>
              <a:gd name="connsiteY934" fmla="*/ 3063036 h 5092591"/>
              <a:gd name="connsiteX935" fmla="*/ 734221 w 4546203"/>
              <a:gd name="connsiteY935" fmla="*/ 3062240 h 5092591"/>
              <a:gd name="connsiteX936" fmla="*/ 711538 w 4546203"/>
              <a:gd name="connsiteY936" fmla="*/ 3069801 h 5092591"/>
              <a:gd name="connsiteX937" fmla="*/ 719497 w 4546203"/>
              <a:gd name="connsiteY937" fmla="*/ 3089699 h 5092591"/>
              <a:gd name="connsiteX938" fmla="*/ 742180 w 4546203"/>
              <a:gd name="connsiteY938" fmla="*/ 3081342 h 5092591"/>
              <a:gd name="connsiteX939" fmla="*/ 734221 w 4546203"/>
              <a:gd name="connsiteY939" fmla="*/ 3062240 h 5092591"/>
              <a:gd name="connsiteX940" fmla="*/ 3673842 w 4546203"/>
              <a:gd name="connsiteY940" fmla="*/ 3042592 h 5092591"/>
              <a:gd name="connsiteX941" fmla="*/ 3663943 w 4546203"/>
              <a:gd name="connsiteY941" fmla="*/ 3059057 h 5092591"/>
              <a:gd name="connsiteX942" fmla="*/ 3685831 w 4546203"/>
              <a:gd name="connsiteY942" fmla="*/ 3067414 h 5092591"/>
              <a:gd name="connsiteX943" fmla="*/ 3691800 w 4546203"/>
              <a:gd name="connsiteY943" fmla="*/ 3049108 h 5092591"/>
              <a:gd name="connsiteX944" fmla="*/ 3673842 w 4546203"/>
              <a:gd name="connsiteY944" fmla="*/ 3042592 h 5092591"/>
              <a:gd name="connsiteX945" fmla="*/ 862760 w 4546203"/>
              <a:gd name="connsiteY945" fmla="*/ 3018466 h 5092591"/>
              <a:gd name="connsiteX946" fmla="*/ 840077 w 4546203"/>
              <a:gd name="connsiteY946" fmla="*/ 3027221 h 5092591"/>
              <a:gd name="connsiteX947" fmla="*/ 847638 w 4546203"/>
              <a:gd name="connsiteY947" fmla="*/ 3045129 h 5092591"/>
              <a:gd name="connsiteX948" fmla="*/ 869525 w 4546203"/>
              <a:gd name="connsiteY948" fmla="*/ 3036374 h 5092591"/>
              <a:gd name="connsiteX949" fmla="*/ 862760 w 4546203"/>
              <a:gd name="connsiteY949" fmla="*/ 3018466 h 5092591"/>
              <a:gd name="connsiteX950" fmla="*/ 755711 w 4546203"/>
              <a:gd name="connsiteY950" fmla="*/ 2994986 h 5092591"/>
              <a:gd name="connsiteX951" fmla="*/ 732630 w 4546203"/>
              <a:gd name="connsiteY951" fmla="*/ 3002548 h 5092591"/>
              <a:gd name="connsiteX952" fmla="*/ 739793 w 4546203"/>
              <a:gd name="connsiteY952" fmla="*/ 3022047 h 5092591"/>
              <a:gd name="connsiteX953" fmla="*/ 761680 w 4546203"/>
              <a:gd name="connsiteY953" fmla="*/ 3014884 h 5092591"/>
              <a:gd name="connsiteX954" fmla="*/ 755711 w 4546203"/>
              <a:gd name="connsiteY954" fmla="*/ 2994986 h 5092591"/>
              <a:gd name="connsiteX955" fmla="*/ 936182 w 4546203"/>
              <a:gd name="connsiteY955" fmla="*/ 2987376 h 5092591"/>
              <a:gd name="connsiteX956" fmla="*/ 916085 w 4546203"/>
              <a:gd name="connsiteY956" fmla="*/ 2994986 h 5092591"/>
              <a:gd name="connsiteX957" fmla="*/ 922453 w 4546203"/>
              <a:gd name="connsiteY957" fmla="*/ 3010905 h 5092591"/>
              <a:gd name="connsiteX958" fmla="*/ 943146 w 4546203"/>
              <a:gd name="connsiteY958" fmla="*/ 3003344 h 5092591"/>
              <a:gd name="connsiteX959" fmla="*/ 936182 w 4546203"/>
              <a:gd name="connsiteY959" fmla="*/ 2987376 h 5092591"/>
              <a:gd name="connsiteX960" fmla="*/ 695620 w 4546203"/>
              <a:gd name="connsiteY960" fmla="*/ 2958375 h 5092591"/>
              <a:gd name="connsiteX961" fmla="*/ 672937 w 4546203"/>
              <a:gd name="connsiteY961" fmla="*/ 2965538 h 5092591"/>
              <a:gd name="connsiteX962" fmla="*/ 679304 w 4546203"/>
              <a:gd name="connsiteY962" fmla="*/ 2985834 h 5092591"/>
              <a:gd name="connsiteX963" fmla="*/ 702783 w 4546203"/>
              <a:gd name="connsiteY963" fmla="*/ 2978272 h 5092591"/>
              <a:gd name="connsiteX964" fmla="*/ 695620 w 4546203"/>
              <a:gd name="connsiteY964" fmla="*/ 2958375 h 5092591"/>
              <a:gd name="connsiteX965" fmla="*/ 787149 w 4546203"/>
              <a:gd name="connsiteY965" fmla="*/ 2935294 h 5092591"/>
              <a:gd name="connsiteX966" fmla="*/ 766058 w 4546203"/>
              <a:gd name="connsiteY966" fmla="*/ 2941263 h 5092591"/>
              <a:gd name="connsiteX967" fmla="*/ 771231 w 4546203"/>
              <a:gd name="connsiteY967" fmla="*/ 2960365 h 5092591"/>
              <a:gd name="connsiteX968" fmla="*/ 787149 w 4546203"/>
              <a:gd name="connsiteY968" fmla="*/ 2935294 h 5092591"/>
              <a:gd name="connsiteX969" fmla="*/ 875096 w 4546203"/>
              <a:gd name="connsiteY969" fmla="*/ 2926141 h 5092591"/>
              <a:gd name="connsiteX970" fmla="*/ 852811 w 4546203"/>
              <a:gd name="connsiteY970" fmla="*/ 2932508 h 5092591"/>
              <a:gd name="connsiteX971" fmla="*/ 856791 w 4546203"/>
              <a:gd name="connsiteY971" fmla="*/ 2950814 h 5092591"/>
              <a:gd name="connsiteX972" fmla="*/ 880270 w 4546203"/>
              <a:gd name="connsiteY972" fmla="*/ 2944447 h 5092591"/>
              <a:gd name="connsiteX973" fmla="*/ 875096 w 4546203"/>
              <a:gd name="connsiteY973" fmla="*/ 2926141 h 5092591"/>
              <a:gd name="connsiteX974" fmla="*/ 3823920 w 4546203"/>
              <a:gd name="connsiteY974" fmla="*/ 2903060 h 5092591"/>
              <a:gd name="connsiteX975" fmla="*/ 3792084 w 4546203"/>
              <a:gd name="connsiteY975" fmla="*/ 3022047 h 5092591"/>
              <a:gd name="connsiteX976" fmla="*/ 3823920 w 4546203"/>
              <a:gd name="connsiteY976" fmla="*/ 2903060 h 5092591"/>
              <a:gd name="connsiteX977" fmla="*/ 3792880 w 4546203"/>
              <a:gd name="connsiteY977" fmla="*/ 2894305 h 5092591"/>
              <a:gd name="connsiteX978" fmla="*/ 3779748 w 4546203"/>
              <a:gd name="connsiteY978" fmla="*/ 2898682 h 5092591"/>
              <a:gd name="connsiteX979" fmla="*/ 3751493 w 4546203"/>
              <a:gd name="connsiteY979" fmla="*/ 3002150 h 5092591"/>
              <a:gd name="connsiteX980" fmla="*/ 3755075 w 4546203"/>
              <a:gd name="connsiteY980" fmla="*/ 3010507 h 5092591"/>
              <a:gd name="connsiteX981" fmla="*/ 3762238 w 4546203"/>
              <a:gd name="connsiteY981" fmla="*/ 3007721 h 5092591"/>
              <a:gd name="connsiteX982" fmla="*/ 3792880 w 4546203"/>
              <a:gd name="connsiteY982" fmla="*/ 2894305 h 5092591"/>
              <a:gd name="connsiteX983" fmla="*/ 3723238 w 4546203"/>
              <a:gd name="connsiteY983" fmla="*/ 2776909 h 5092591"/>
              <a:gd name="connsiteX984" fmla="*/ 3677872 w 4546203"/>
              <a:gd name="connsiteY984" fmla="*/ 2975089 h 5092591"/>
              <a:gd name="connsiteX985" fmla="*/ 3684239 w 4546203"/>
              <a:gd name="connsiteY985" fmla="*/ 2976681 h 5092591"/>
              <a:gd name="connsiteX986" fmla="*/ 3730004 w 4546203"/>
              <a:gd name="connsiteY986" fmla="*/ 2778899 h 5092591"/>
              <a:gd name="connsiteX987" fmla="*/ 3723238 w 4546203"/>
              <a:gd name="connsiteY987" fmla="*/ 2776909 h 5092591"/>
              <a:gd name="connsiteX988" fmla="*/ 3684239 w 4546203"/>
              <a:gd name="connsiteY988" fmla="*/ 2770144 h 5092591"/>
              <a:gd name="connsiteX989" fmla="*/ 3639270 w 4546203"/>
              <a:gd name="connsiteY989" fmla="*/ 2966334 h 5092591"/>
              <a:gd name="connsiteX990" fmla="*/ 3684239 w 4546203"/>
              <a:gd name="connsiteY990" fmla="*/ 2770144 h 5092591"/>
              <a:gd name="connsiteX991" fmla="*/ 3803227 w 4546203"/>
              <a:gd name="connsiteY991" fmla="*/ 2767358 h 5092591"/>
              <a:gd name="connsiteX992" fmla="*/ 3785319 w 4546203"/>
              <a:gd name="connsiteY992" fmla="*/ 2872019 h 5092591"/>
              <a:gd name="connsiteX993" fmla="*/ 3833869 w 4546203"/>
              <a:gd name="connsiteY993" fmla="*/ 2882366 h 5092591"/>
              <a:gd name="connsiteX994" fmla="*/ 3832675 w 4546203"/>
              <a:gd name="connsiteY994" fmla="*/ 2885152 h 5092591"/>
              <a:gd name="connsiteX995" fmla="*/ 3872868 w 4546203"/>
              <a:gd name="connsiteY995" fmla="*/ 2885152 h 5092591"/>
              <a:gd name="connsiteX996" fmla="*/ 3835461 w 4546203"/>
              <a:gd name="connsiteY996" fmla="*/ 3030802 h 5092591"/>
              <a:gd name="connsiteX997" fmla="*/ 3886001 w 4546203"/>
              <a:gd name="connsiteY997" fmla="*/ 3047516 h 5092591"/>
              <a:gd name="connsiteX998" fmla="*/ 3872868 w 4546203"/>
              <a:gd name="connsiteY998" fmla="*/ 3090495 h 5092591"/>
              <a:gd name="connsiteX999" fmla="*/ 3913062 w 4546203"/>
              <a:gd name="connsiteY999" fmla="*/ 3106015 h 5092591"/>
              <a:gd name="connsiteX1000" fmla="*/ 3859338 w 4546203"/>
              <a:gd name="connsiteY1000" fmla="*/ 3242513 h 5092591"/>
              <a:gd name="connsiteX1001" fmla="*/ 3819941 w 4546203"/>
              <a:gd name="connsiteY1001" fmla="*/ 3226197 h 5092591"/>
              <a:gd name="connsiteX1002" fmla="*/ 3798053 w 4546203"/>
              <a:gd name="connsiteY1002" fmla="*/ 3271961 h 5092591"/>
              <a:gd name="connsiteX1003" fmla="*/ 3526252 w 4546203"/>
              <a:gd name="connsiteY1003" fmla="*/ 3142627 h 5092591"/>
              <a:gd name="connsiteX1004" fmla="*/ 3509140 w 4546203"/>
              <a:gd name="connsiteY1004" fmla="*/ 3178044 h 5092591"/>
              <a:gd name="connsiteX1005" fmla="*/ 3582761 w 4546203"/>
              <a:gd name="connsiteY1005" fmla="*/ 3216646 h 5092591"/>
              <a:gd name="connsiteX1006" fmla="*/ 3501181 w 4546203"/>
              <a:gd name="connsiteY1006" fmla="*/ 3357123 h 5092591"/>
              <a:gd name="connsiteX1007" fmla="*/ 3507548 w 4546203"/>
              <a:gd name="connsiteY1007" fmla="*/ 3361102 h 5092591"/>
              <a:gd name="connsiteX1008" fmla="*/ 3588731 w 4546203"/>
              <a:gd name="connsiteY1008" fmla="*/ 3225799 h 5092591"/>
              <a:gd name="connsiteX1009" fmla="*/ 3668321 w 4546203"/>
              <a:gd name="connsiteY1009" fmla="*/ 3267186 h 5092591"/>
              <a:gd name="connsiteX1010" fmla="*/ 3592312 w 4546203"/>
              <a:gd name="connsiteY1010" fmla="*/ 3399306 h 5092591"/>
              <a:gd name="connsiteX1011" fmla="*/ 3596292 w 4546203"/>
              <a:gd name="connsiteY1011" fmla="*/ 3404081 h 5092591"/>
              <a:gd name="connsiteX1012" fmla="*/ 3609026 w 4546203"/>
              <a:gd name="connsiteY1012" fmla="*/ 3392938 h 5092591"/>
              <a:gd name="connsiteX1013" fmla="*/ 3677076 w 4546203"/>
              <a:gd name="connsiteY1013" fmla="*/ 3278328 h 5092591"/>
              <a:gd name="connsiteX1014" fmla="*/ 3754279 w 4546203"/>
              <a:gd name="connsiteY1014" fmla="*/ 3318919 h 5092591"/>
              <a:gd name="connsiteX1015" fmla="*/ 3687423 w 4546203"/>
              <a:gd name="connsiteY1015" fmla="*/ 3432734 h 5092591"/>
              <a:gd name="connsiteX1016" fmla="*/ 3693790 w 4546203"/>
              <a:gd name="connsiteY1016" fmla="*/ 3451437 h 5092591"/>
              <a:gd name="connsiteX1017" fmla="*/ 3764227 w 4546203"/>
              <a:gd name="connsiteY1017" fmla="*/ 3330858 h 5092591"/>
              <a:gd name="connsiteX1018" fmla="*/ 3839440 w 4546203"/>
              <a:gd name="connsiteY1018" fmla="*/ 3370653 h 5092591"/>
              <a:gd name="connsiteX1019" fmla="*/ 3767411 w 4546203"/>
              <a:gd name="connsiteY1019" fmla="*/ 3495212 h 5092591"/>
              <a:gd name="connsiteX1020" fmla="*/ 3780543 w 4546203"/>
              <a:gd name="connsiteY1020" fmla="*/ 3504763 h 5092591"/>
              <a:gd name="connsiteX1021" fmla="*/ 3851379 w 4546203"/>
              <a:gd name="connsiteY1021" fmla="*/ 3384183 h 5092591"/>
              <a:gd name="connsiteX1022" fmla="*/ 3924602 w 4546203"/>
              <a:gd name="connsiteY1022" fmla="*/ 3423183 h 5092591"/>
              <a:gd name="connsiteX1023" fmla="*/ 3849787 w 4546203"/>
              <a:gd name="connsiteY1023" fmla="*/ 3552517 h 5092591"/>
              <a:gd name="connsiteX1024" fmla="*/ 3864909 w 4546203"/>
              <a:gd name="connsiteY1024" fmla="*/ 3562466 h 5092591"/>
              <a:gd name="connsiteX1025" fmla="*/ 3937734 w 4546203"/>
              <a:gd name="connsiteY1025" fmla="*/ 3438305 h 5092591"/>
              <a:gd name="connsiteX1026" fmla="*/ 3992254 w 4546203"/>
              <a:gd name="connsiteY1026" fmla="*/ 3466560 h 5092591"/>
              <a:gd name="connsiteX1027" fmla="*/ 3803227 w 4546203"/>
              <a:gd name="connsiteY1027" fmla="*/ 2767358 h 5092591"/>
              <a:gd name="connsiteX1028" fmla="*/ 3645638 w 4546203"/>
              <a:gd name="connsiteY1028" fmla="*/ 2764970 h 5092591"/>
              <a:gd name="connsiteX1029" fmla="*/ 3602659 w 4546203"/>
              <a:gd name="connsiteY1029" fmla="*/ 2952406 h 5092591"/>
              <a:gd name="connsiteX1030" fmla="*/ 3645638 w 4546203"/>
              <a:gd name="connsiteY1030" fmla="*/ 2764970 h 5092591"/>
              <a:gd name="connsiteX1031" fmla="*/ 805057 w 4546203"/>
              <a:gd name="connsiteY1031" fmla="*/ 2683390 h 5092591"/>
              <a:gd name="connsiteX1032" fmla="*/ 798292 w 4546203"/>
              <a:gd name="connsiteY1032" fmla="*/ 2684186 h 5092591"/>
              <a:gd name="connsiteX1033" fmla="*/ 830924 w 4546203"/>
              <a:gd name="connsiteY1033" fmla="*/ 2885152 h 5092591"/>
              <a:gd name="connsiteX1034" fmla="*/ 837291 w 4546203"/>
              <a:gd name="connsiteY1034" fmla="*/ 2883958 h 5092591"/>
              <a:gd name="connsiteX1035" fmla="*/ 805057 w 4546203"/>
              <a:gd name="connsiteY1035" fmla="*/ 2683390 h 5092591"/>
              <a:gd name="connsiteX1036" fmla="*/ 844454 w 4546203"/>
              <a:gd name="connsiteY1036" fmla="*/ 2679808 h 5092591"/>
              <a:gd name="connsiteX1037" fmla="*/ 875892 w 4546203"/>
              <a:gd name="connsiteY1037" fmla="*/ 2875203 h 5092591"/>
              <a:gd name="connsiteX1038" fmla="*/ 844454 w 4546203"/>
              <a:gd name="connsiteY1038" fmla="*/ 2679808 h 5092591"/>
              <a:gd name="connsiteX1039" fmla="*/ 883055 w 4546203"/>
              <a:gd name="connsiteY1039" fmla="*/ 2676227 h 5092591"/>
              <a:gd name="connsiteX1040" fmla="*/ 913698 w 4546203"/>
              <a:gd name="connsiteY1040" fmla="*/ 2866448 h 5092591"/>
              <a:gd name="connsiteX1041" fmla="*/ 883055 w 4546203"/>
              <a:gd name="connsiteY1041" fmla="*/ 2676227 h 5092591"/>
              <a:gd name="connsiteX1042" fmla="*/ 3626138 w 4546203"/>
              <a:gd name="connsiteY1042" fmla="*/ 2225745 h 5092591"/>
              <a:gd name="connsiteX1043" fmla="*/ 3656780 w 4546203"/>
              <a:gd name="connsiteY1043" fmla="*/ 2415966 h 5092591"/>
              <a:gd name="connsiteX1044" fmla="*/ 3626138 w 4546203"/>
              <a:gd name="connsiteY1044" fmla="*/ 2225745 h 5092591"/>
              <a:gd name="connsiteX1045" fmla="*/ 3671107 w 4546203"/>
              <a:gd name="connsiteY1045" fmla="*/ 2215797 h 5092591"/>
              <a:gd name="connsiteX1046" fmla="*/ 3663943 w 4546203"/>
              <a:gd name="connsiteY1046" fmla="*/ 2216990 h 5092591"/>
              <a:gd name="connsiteX1047" fmla="*/ 3695382 w 4546203"/>
              <a:gd name="connsiteY1047" fmla="*/ 2412385 h 5092591"/>
              <a:gd name="connsiteX1048" fmla="*/ 3702545 w 4546203"/>
              <a:gd name="connsiteY1048" fmla="*/ 2411191 h 5092591"/>
              <a:gd name="connsiteX1049" fmla="*/ 3671107 w 4546203"/>
              <a:gd name="connsiteY1049" fmla="*/ 2215797 h 5092591"/>
              <a:gd name="connsiteX1050" fmla="*/ 3709310 w 4546203"/>
              <a:gd name="connsiteY1050" fmla="*/ 2207838 h 5092591"/>
              <a:gd name="connsiteX1051" fmla="*/ 3702545 w 4546203"/>
              <a:gd name="connsiteY1051" fmla="*/ 2208634 h 5092591"/>
              <a:gd name="connsiteX1052" fmla="*/ 3734779 w 4546203"/>
              <a:gd name="connsiteY1052" fmla="*/ 2409201 h 5092591"/>
              <a:gd name="connsiteX1053" fmla="*/ 3741544 w 4546203"/>
              <a:gd name="connsiteY1053" fmla="*/ 2408007 h 5092591"/>
              <a:gd name="connsiteX1054" fmla="*/ 3709310 w 4546203"/>
              <a:gd name="connsiteY1054" fmla="*/ 2207838 h 5092591"/>
              <a:gd name="connsiteX1055" fmla="*/ 3682647 w 4546203"/>
              <a:gd name="connsiteY1055" fmla="*/ 2141380 h 5092591"/>
              <a:gd name="connsiteX1056" fmla="*/ 3657576 w 4546203"/>
              <a:gd name="connsiteY1056" fmla="*/ 2148941 h 5092591"/>
              <a:gd name="connsiteX1057" fmla="*/ 3669117 w 4546203"/>
              <a:gd name="connsiteY1057" fmla="*/ 2164063 h 5092591"/>
              <a:gd name="connsiteX1058" fmla="*/ 3687821 w 4546203"/>
              <a:gd name="connsiteY1058" fmla="*/ 2159685 h 5092591"/>
              <a:gd name="connsiteX1059" fmla="*/ 3682647 w 4546203"/>
              <a:gd name="connsiteY1059" fmla="*/ 2141380 h 5092591"/>
              <a:gd name="connsiteX1060" fmla="*/ 930412 w 4546203"/>
              <a:gd name="connsiteY1060" fmla="*/ 2138594 h 5092591"/>
              <a:gd name="connsiteX1061" fmla="*/ 887433 w 4546203"/>
              <a:gd name="connsiteY1061" fmla="*/ 2326029 h 5092591"/>
              <a:gd name="connsiteX1062" fmla="*/ 894198 w 4546203"/>
              <a:gd name="connsiteY1062" fmla="*/ 2326825 h 5092591"/>
              <a:gd name="connsiteX1063" fmla="*/ 936779 w 4546203"/>
              <a:gd name="connsiteY1063" fmla="*/ 2140186 h 5092591"/>
              <a:gd name="connsiteX1064" fmla="*/ 930412 w 4546203"/>
              <a:gd name="connsiteY1064" fmla="*/ 2138594 h 5092591"/>
              <a:gd name="connsiteX1065" fmla="*/ 3768207 w 4546203"/>
              <a:gd name="connsiteY1065" fmla="*/ 2131033 h 5092591"/>
              <a:gd name="connsiteX1066" fmla="*/ 3744728 w 4546203"/>
              <a:gd name="connsiteY1066" fmla="*/ 2138594 h 5092591"/>
              <a:gd name="connsiteX1067" fmla="*/ 3751493 w 4546203"/>
              <a:gd name="connsiteY1067" fmla="*/ 2157696 h 5092591"/>
              <a:gd name="connsiteX1068" fmla="*/ 3773778 w 4546203"/>
              <a:gd name="connsiteY1068" fmla="*/ 2150532 h 5092591"/>
              <a:gd name="connsiteX1069" fmla="*/ 3768207 w 4546203"/>
              <a:gd name="connsiteY1069" fmla="*/ 2131033 h 5092591"/>
              <a:gd name="connsiteX1070" fmla="*/ 899769 w 4546203"/>
              <a:gd name="connsiteY1070" fmla="*/ 2128645 h 5092591"/>
              <a:gd name="connsiteX1071" fmla="*/ 855597 w 4546203"/>
              <a:gd name="connsiteY1071" fmla="*/ 2322050 h 5092591"/>
              <a:gd name="connsiteX1072" fmla="*/ 899769 w 4546203"/>
              <a:gd name="connsiteY1072" fmla="*/ 2128645 h 5092591"/>
              <a:gd name="connsiteX1073" fmla="*/ 855199 w 4546203"/>
              <a:gd name="connsiteY1073" fmla="*/ 2115911 h 5092591"/>
              <a:gd name="connsiteX1074" fmla="*/ 809832 w 4546203"/>
              <a:gd name="connsiteY1074" fmla="*/ 2313693 h 5092591"/>
              <a:gd name="connsiteX1075" fmla="*/ 816199 w 4546203"/>
              <a:gd name="connsiteY1075" fmla="*/ 2315285 h 5092591"/>
              <a:gd name="connsiteX1076" fmla="*/ 861566 w 4546203"/>
              <a:gd name="connsiteY1076" fmla="*/ 2117502 h 5092591"/>
              <a:gd name="connsiteX1077" fmla="*/ 855199 w 4546203"/>
              <a:gd name="connsiteY1077" fmla="*/ 2115911 h 5092591"/>
              <a:gd name="connsiteX1078" fmla="*/ 3860532 w 4546203"/>
              <a:gd name="connsiteY1078" fmla="*/ 2106758 h 5092591"/>
              <a:gd name="connsiteX1079" fmla="*/ 3837451 w 4546203"/>
              <a:gd name="connsiteY1079" fmla="*/ 2113125 h 5092591"/>
              <a:gd name="connsiteX1080" fmla="*/ 3843818 w 4546203"/>
              <a:gd name="connsiteY1080" fmla="*/ 2133420 h 5092591"/>
              <a:gd name="connsiteX1081" fmla="*/ 3867297 w 4546203"/>
              <a:gd name="connsiteY1081" fmla="*/ 2126655 h 5092591"/>
              <a:gd name="connsiteX1082" fmla="*/ 3860532 w 4546203"/>
              <a:gd name="connsiteY1082" fmla="*/ 2106758 h 5092591"/>
              <a:gd name="connsiteX1083" fmla="*/ 3617383 w 4546203"/>
              <a:gd name="connsiteY1083" fmla="*/ 2080891 h 5092591"/>
              <a:gd name="connsiteX1084" fmla="*/ 3591516 w 4546203"/>
              <a:gd name="connsiteY1084" fmla="*/ 2090840 h 5092591"/>
              <a:gd name="connsiteX1085" fmla="*/ 3607832 w 4546203"/>
              <a:gd name="connsiteY1085" fmla="*/ 2103574 h 5092591"/>
              <a:gd name="connsiteX1086" fmla="*/ 3624148 w 4546203"/>
              <a:gd name="connsiteY1086" fmla="*/ 2097605 h 5092591"/>
              <a:gd name="connsiteX1087" fmla="*/ 3617383 w 4546203"/>
              <a:gd name="connsiteY1087" fmla="*/ 2080891 h 5092591"/>
              <a:gd name="connsiteX1088" fmla="*/ 778394 w 4546203"/>
              <a:gd name="connsiteY1088" fmla="*/ 2080493 h 5092591"/>
              <a:gd name="connsiteX1089" fmla="*/ 747354 w 4546203"/>
              <a:gd name="connsiteY1089" fmla="*/ 2197491 h 5092591"/>
              <a:gd name="connsiteX1090" fmla="*/ 787945 w 4546203"/>
              <a:gd name="connsiteY1090" fmla="*/ 2091635 h 5092591"/>
              <a:gd name="connsiteX1091" fmla="*/ 778394 w 4546203"/>
              <a:gd name="connsiteY1091" fmla="*/ 2080493 h 5092591"/>
              <a:gd name="connsiteX1092" fmla="*/ 737405 w 4546203"/>
              <a:gd name="connsiteY1092" fmla="*/ 2071340 h 5092591"/>
              <a:gd name="connsiteX1093" fmla="*/ 707559 w 4546203"/>
              <a:gd name="connsiteY1093" fmla="*/ 2175205 h 5092591"/>
              <a:gd name="connsiteX1094" fmla="*/ 711140 w 4546203"/>
              <a:gd name="connsiteY1094" fmla="*/ 2187940 h 5092591"/>
              <a:gd name="connsiteX1095" fmla="*/ 716314 w 4546203"/>
              <a:gd name="connsiteY1095" fmla="*/ 2187144 h 5092591"/>
              <a:gd name="connsiteX1096" fmla="*/ 746956 w 4546203"/>
              <a:gd name="connsiteY1096" fmla="*/ 2074126 h 5092591"/>
              <a:gd name="connsiteX1097" fmla="*/ 737405 w 4546203"/>
              <a:gd name="connsiteY1097" fmla="*/ 2071340 h 5092591"/>
              <a:gd name="connsiteX1098" fmla="*/ 3800441 w 4546203"/>
              <a:gd name="connsiteY1098" fmla="*/ 2070146 h 5092591"/>
              <a:gd name="connsiteX1099" fmla="*/ 3776962 w 4546203"/>
              <a:gd name="connsiteY1099" fmla="*/ 2077309 h 5092591"/>
              <a:gd name="connsiteX1100" fmla="*/ 3784125 w 4546203"/>
              <a:gd name="connsiteY1100" fmla="*/ 2097207 h 5092591"/>
              <a:gd name="connsiteX1101" fmla="*/ 3806410 w 4546203"/>
              <a:gd name="connsiteY1101" fmla="*/ 2089646 h 5092591"/>
              <a:gd name="connsiteX1102" fmla="*/ 3800441 w 4546203"/>
              <a:gd name="connsiteY1102" fmla="*/ 2070146 h 5092591"/>
              <a:gd name="connsiteX1103" fmla="*/ 3692994 w 4546203"/>
              <a:gd name="connsiteY1103" fmla="*/ 2047065 h 5092591"/>
              <a:gd name="connsiteX1104" fmla="*/ 3671107 w 4546203"/>
              <a:gd name="connsiteY1104" fmla="*/ 2055422 h 5092591"/>
              <a:gd name="connsiteX1105" fmla="*/ 3677474 w 4546203"/>
              <a:gd name="connsiteY1105" fmla="*/ 2073728 h 5092591"/>
              <a:gd name="connsiteX1106" fmla="*/ 3700555 w 4546203"/>
              <a:gd name="connsiteY1106" fmla="*/ 2065769 h 5092591"/>
              <a:gd name="connsiteX1107" fmla="*/ 3692994 w 4546203"/>
              <a:gd name="connsiteY1107" fmla="*/ 2047065 h 5092591"/>
              <a:gd name="connsiteX1108" fmla="*/ 854005 w 4546203"/>
              <a:gd name="connsiteY1108" fmla="*/ 2025178 h 5092591"/>
              <a:gd name="connsiteX1109" fmla="*/ 847638 w 4546203"/>
              <a:gd name="connsiteY1109" fmla="*/ 2043881 h 5092591"/>
              <a:gd name="connsiteX1110" fmla="*/ 870321 w 4546203"/>
              <a:gd name="connsiteY1110" fmla="*/ 2051442 h 5092591"/>
              <a:gd name="connsiteX1111" fmla="*/ 876688 w 4546203"/>
              <a:gd name="connsiteY1111" fmla="*/ 2033137 h 5092591"/>
              <a:gd name="connsiteX1112" fmla="*/ 854005 w 4546203"/>
              <a:gd name="connsiteY1112" fmla="*/ 2025178 h 5092591"/>
              <a:gd name="connsiteX1113" fmla="*/ 3819941 w 4546203"/>
              <a:gd name="connsiteY1113" fmla="*/ 2002494 h 5092591"/>
              <a:gd name="connsiteX1114" fmla="*/ 3797655 w 4546203"/>
              <a:gd name="connsiteY1114" fmla="*/ 2010851 h 5092591"/>
              <a:gd name="connsiteX1115" fmla="*/ 3806410 w 4546203"/>
              <a:gd name="connsiteY1115" fmla="*/ 2030749 h 5092591"/>
              <a:gd name="connsiteX1116" fmla="*/ 3828298 w 4546203"/>
              <a:gd name="connsiteY1116" fmla="*/ 2021994 h 5092591"/>
              <a:gd name="connsiteX1117" fmla="*/ 3819941 w 4546203"/>
              <a:gd name="connsiteY1117" fmla="*/ 2002494 h 5092591"/>
              <a:gd name="connsiteX1118" fmla="*/ 727058 w 4546203"/>
              <a:gd name="connsiteY1118" fmla="*/ 1979015 h 5092591"/>
              <a:gd name="connsiteX1119" fmla="*/ 720691 w 4546203"/>
              <a:gd name="connsiteY1119" fmla="*/ 1999311 h 5092591"/>
              <a:gd name="connsiteX1120" fmla="*/ 742976 w 4546203"/>
              <a:gd name="connsiteY1120" fmla="*/ 2006474 h 5092591"/>
              <a:gd name="connsiteX1121" fmla="*/ 750537 w 4546203"/>
              <a:gd name="connsiteY1121" fmla="*/ 1986576 h 5092591"/>
              <a:gd name="connsiteX1122" fmla="*/ 727058 w 4546203"/>
              <a:gd name="connsiteY1122" fmla="*/ 1979015 h 5092591"/>
              <a:gd name="connsiteX1123" fmla="*/ 922851 w 4546203"/>
              <a:gd name="connsiteY1123" fmla="*/ 1959118 h 5092591"/>
              <a:gd name="connsiteX1124" fmla="*/ 916085 w 4546203"/>
              <a:gd name="connsiteY1124" fmla="*/ 1975036 h 5092591"/>
              <a:gd name="connsiteX1125" fmla="*/ 943146 w 4546203"/>
              <a:gd name="connsiteY1125" fmla="*/ 1968270 h 5092591"/>
              <a:gd name="connsiteX1126" fmla="*/ 922851 w 4546203"/>
              <a:gd name="connsiteY1126" fmla="*/ 1959118 h 5092591"/>
              <a:gd name="connsiteX1127" fmla="*/ 784363 w 4546203"/>
              <a:gd name="connsiteY1127" fmla="*/ 1944393 h 5092591"/>
              <a:gd name="connsiteX1128" fmla="*/ 776802 w 4546203"/>
              <a:gd name="connsiteY1128" fmla="*/ 1963893 h 5092591"/>
              <a:gd name="connsiteX1129" fmla="*/ 799087 w 4546203"/>
              <a:gd name="connsiteY1129" fmla="*/ 1972648 h 5092591"/>
              <a:gd name="connsiteX1130" fmla="*/ 806649 w 4546203"/>
              <a:gd name="connsiteY1130" fmla="*/ 1953546 h 5092591"/>
              <a:gd name="connsiteX1131" fmla="*/ 784363 w 4546203"/>
              <a:gd name="connsiteY1131" fmla="*/ 1944393 h 5092591"/>
              <a:gd name="connsiteX1132" fmla="*/ 850423 w 4546203"/>
              <a:gd name="connsiteY1132" fmla="*/ 1912159 h 5092591"/>
              <a:gd name="connsiteX1133" fmla="*/ 842066 w 4546203"/>
              <a:gd name="connsiteY1133" fmla="*/ 1930863 h 5092591"/>
              <a:gd name="connsiteX1134" fmla="*/ 865148 w 4546203"/>
              <a:gd name="connsiteY1134" fmla="*/ 1939618 h 5092591"/>
              <a:gd name="connsiteX1135" fmla="*/ 872311 w 4546203"/>
              <a:gd name="connsiteY1135" fmla="*/ 1921710 h 5092591"/>
              <a:gd name="connsiteX1136" fmla="*/ 850423 w 4546203"/>
              <a:gd name="connsiteY1136" fmla="*/ 1912159 h 5092591"/>
              <a:gd name="connsiteX1137" fmla="*/ 3665933 w 4546203"/>
              <a:gd name="connsiteY1137" fmla="*/ 1871568 h 5092591"/>
              <a:gd name="connsiteX1138" fmla="*/ 3711698 w 4546203"/>
              <a:gd name="connsiteY1138" fmla="*/ 1976229 h 5092591"/>
              <a:gd name="connsiteX1139" fmla="*/ 3718463 w 4546203"/>
              <a:gd name="connsiteY1139" fmla="*/ 1975434 h 5092591"/>
              <a:gd name="connsiteX1140" fmla="*/ 3717269 w 4546203"/>
              <a:gd name="connsiteY1140" fmla="*/ 1959913 h 5092591"/>
              <a:gd name="connsiteX1141" fmla="*/ 3665933 w 4546203"/>
              <a:gd name="connsiteY1141" fmla="*/ 1871568 h 5092591"/>
              <a:gd name="connsiteX1142" fmla="*/ 3709708 w 4546203"/>
              <a:gd name="connsiteY1142" fmla="*/ 1850875 h 5092591"/>
              <a:gd name="connsiteX1143" fmla="*/ 3708514 w 4546203"/>
              <a:gd name="connsiteY1143" fmla="*/ 1859630 h 5092591"/>
              <a:gd name="connsiteX1144" fmla="*/ 3754676 w 4546203"/>
              <a:gd name="connsiteY1144" fmla="*/ 1963495 h 5092591"/>
              <a:gd name="connsiteX1145" fmla="*/ 3761840 w 4546203"/>
              <a:gd name="connsiteY1145" fmla="*/ 1954740 h 5092591"/>
              <a:gd name="connsiteX1146" fmla="*/ 3718065 w 4546203"/>
              <a:gd name="connsiteY1146" fmla="*/ 1852864 h 5092591"/>
              <a:gd name="connsiteX1147" fmla="*/ 3709708 w 4546203"/>
              <a:gd name="connsiteY1147" fmla="*/ 1850875 h 5092591"/>
              <a:gd name="connsiteX1148" fmla="*/ 3516701 w 4546203"/>
              <a:gd name="connsiteY1148" fmla="*/ 1831375 h 5092591"/>
              <a:gd name="connsiteX1149" fmla="*/ 3478896 w 4546203"/>
              <a:gd name="connsiteY1149" fmla="*/ 1853660 h 5092591"/>
              <a:gd name="connsiteX1150" fmla="*/ 3564058 w 4546203"/>
              <a:gd name="connsiteY1150" fmla="*/ 2028759 h 5092591"/>
              <a:gd name="connsiteX1151" fmla="*/ 3570823 w 4546203"/>
              <a:gd name="connsiteY1151" fmla="*/ 2025576 h 5092591"/>
              <a:gd name="connsiteX1152" fmla="*/ 3502375 w 4546203"/>
              <a:gd name="connsiteY1152" fmla="*/ 1877139 h 5092591"/>
              <a:gd name="connsiteX1153" fmla="*/ 3525854 w 4546203"/>
              <a:gd name="connsiteY1153" fmla="*/ 1864803 h 5092591"/>
              <a:gd name="connsiteX1154" fmla="*/ 3597088 w 4546203"/>
              <a:gd name="connsiteY1154" fmla="*/ 2016025 h 5092591"/>
              <a:gd name="connsiteX1155" fmla="*/ 3603455 w 4546203"/>
              <a:gd name="connsiteY1155" fmla="*/ 2012841 h 5092591"/>
              <a:gd name="connsiteX1156" fmla="*/ 3516701 w 4546203"/>
              <a:gd name="connsiteY1156" fmla="*/ 1831375 h 5092591"/>
              <a:gd name="connsiteX1157" fmla="*/ 3553711 w 4546203"/>
              <a:gd name="connsiteY1157" fmla="*/ 1812671 h 5092591"/>
              <a:gd name="connsiteX1158" fmla="*/ 3547344 w 4546203"/>
              <a:gd name="connsiteY1158" fmla="*/ 1815457 h 5092591"/>
              <a:gd name="connsiteX1159" fmla="*/ 3636485 w 4546203"/>
              <a:gd name="connsiteY1159" fmla="*/ 1999311 h 5092591"/>
              <a:gd name="connsiteX1160" fmla="*/ 3642454 w 4546203"/>
              <a:gd name="connsiteY1160" fmla="*/ 1996525 h 5092591"/>
              <a:gd name="connsiteX1161" fmla="*/ 3553711 w 4546203"/>
              <a:gd name="connsiteY1161" fmla="*/ 1812671 h 5092591"/>
              <a:gd name="connsiteX1162" fmla="*/ 3500783 w 4546203"/>
              <a:gd name="connsiteY1162" fmla="*/ 1671000 h 5092591"/>
              <a:gd name="connsiteX1163" fmla="*/ 3466559 w 4546203"/>
              <a:gd name="connsiteY1163" fmla="*/ 1695275 h 5092591"/>
              <a:gd name="connsiteX1164" fmla="*/ 3486457 w 4546203"/>
              <a:gd name="connsiteY1164" fmla="*/ 1722734 h 5092591"/>
              <a:gd name="connsiteX1165" fmla="*/ 3520681 w 4546203"/>
              <a:gd name="connsiteY1165" fmla="*/ 1699255 h 5092591"/>
              <a:gd name="connsiteX1166" fmla="*/ 3500783 w 4546203"/>
              <a:gd name="connsiteY1166" fmla="*/ 1671000 h 5092591"/>
              <a:gd name="connsiteX1167" fmla="*/ 3596690 w 4546203"/>
              <a:gd name="connsiteY1167" fmla="*/ 1625236 h 5092591"/>
              <a:gd name="connsiteX1168" fmla="*/ 3562864 w 4546203"/>
              <a:gd name="connsiteY1168" fmla="*/ 1649511 h 5092591"/>
              <a:gd name="connsiteX1169" fmla="*/ 3583159 w 4546203"/>
              <a:gd name="connsiteY1169" fmla="*/ 1678959 h 5092591"/>
              <a:gd name="connsiteX1170" fmla="*/ 3617781 w 4546203"/>
              <a:gd name="connsiteY1170" fmla="*/ 1655878 h 5092591"/>
              <a:gd name="connsiteX1171" fmla="*/ 3596690 w 4546203"/>
              <a:gd name="connsiteY1171" fmla="*/ 1625236 h 5092591"/>
              <a:gd name="connsiteX1172" fmla="*/ 3271165 w 4546203"/>
              <a:gd name="connsiteY1172" fmla="*/ 1567135 h 5092591"/>
              <a:gd name="connsiteX1173" fmla="*/ 3264400 w 4546203"/>
              <a:gd name="connsiteY1173" fmla="*/ 1573502 h 5092591"/>
              <a:gd name="connsiteX1174" fmla="*/ 3302603 w 4546203"/>
              <a:gd name="connsiteY1174" fmla="*/ 1612899 h 5092591"/>
              <a:gd name="connsiteX1175" fmla="*/ 3308970 w 4546203"/>
              <a:gd name="connsiteY1175" fmla="*/ 1606930 h 5092591"/>
              <a:gd name="connsiteX1176" fmla="*/ 3271165 w 4546203"/>
              <a:gd name="connsiteY1176" fmla="*/ 1567135 h 5092591"/>
              <a:gd name="connsiteX1177" fmla="*/ 3471335 w 4546203"/>
              <a:gd name="connsiteY1177" fmla="*/ 1554002 h 5092591"/>
              <a:gd name="connsiteX1178" fmla="*/ 3439101 w 4546203"/>
              <a:gd name="connsiteY1178" fmla="*/ 1581063 h 5092591"/>
              <a:gd name="connsiteX1179" fmla="*/ 3460988 w 4546203"/>
              <a:gd name="connsiteY1179" fmla="*/ 1608124 h 5092591"/>
              <a:gd name="connsiteX1180" fmla="*/ 3493620 w 4546203"/>
              <a:gd name="connsiteY1180" fmla="*/ 1581461 h 5092591"/>
              <a:gd name="connsiteX1181" fmla="*/ 3471335 w 4546203"/>
              <a:gd name="connsiteY1181" fmla="*/ 1554002 h 5092591"/>
              <a:gd name="connsiteX1182" fmla="*/ 674926 w 4546203"/>
              <a:gd name="connsiteY1182" fmla="*/ 1529329 h 5092591"/>
              <a:gd name="connsiteX1183" fmla="*/ 601703 w 4546203"/>
              <a:gd name="connsiteY1183" fmla="*/ 1653093 h 5092591"/>
              <a:gd name="connsiteX1184" fmla="*/ 546388 w 4546203"/>
              <a:gd name="connsiteY1184" fmla="*/ 1624042 h 5092591"/>
              <a:gd name="connsiteX1185" fmla="*/ 537235 w 4546203"/>
              <a:gd name="connsiteY1185" fmla="*/ 1645133 h 5092591"/>
              <a:gd name="connsiteX1186" fmla="*/ 499430 w 4546203"/>
              <a:gd name="connsiteY1186" fmla="*/ 1969066 h 5092591"/>
              <a:gd name="connsiteX1187" fmla="*/ 711936 w 4546203"/>
              <a:gd name="connsiteY1187" fmla="*/ 2311703 h 5092591"/>
              <a:gd name="connsiteX1188" fmla="*/ 735813 w 4546203"/>
              <a:gd name="connsiteY1188" fmla="*/ 2326029 h 5092591"/>
              <a:gd name="connsiteX1189" fmla="*/ 756507 w 4546203"/>
              <a:gd name="connsiteY1189" fmla="*/ 2208634 h 5092591"/>
              <a:gd name="connsiteX1190" fmla="*/ 710344 w 4546203"/>
              <a:gd name="connsiteY1190" fmla="*/ 2205848 h 5092591"/>
              <a:gd name="connsiteX1191" fmla="*/ 667365 w 4546203"/>
              <a:gd name="connsiteY1191" fmla="*/ 2205848 h 5092591"/>
              <a:gd name="connsiteX1192" fmla="*/ 704773 w 4546203"/>
              <a:gd name="connsiteY1192" fmla="*/ 2060595 h 5092591"/>
              <a:gd name="connsiteX1193" fmla="*/ 654233 w 4546203"/>
              <a:gd name="connsiteY1193" fmla="*/ 2043483 h 5092591"/>
              <a:gd name="connsiteX1194" fmla="*/ 667365 w 4546203"/>
              <a:gd name="connsiteY1194" fmla="*/ 2000107 h 5092591"/>
              <a:gd name="connsiteX1195" fmla="*/ 627172 w 4546203"/>
              <a:gd name="connsiteY1195" fmla="*/ 1985382 h 5092591"/>
              <a:gd name="connsiteX1196" fmla="*/ 680498 w 4546203"/>
              <a:gd name="connsiteY1196" fmla="*/ 1848487 h 5092591"/>
              <a:gd name="connsiteX1197" fmla="*/ 719497 w 4546203"/>
              <a:gd name="connsiteY1197" fmla="*/ 1864803 h 5092591"/>
              <a:gd name="connsiteX1198" fmla="*/ 741782 w 4546203"/>
              <a:gd name="connsiteY1198" fmla="*/ 1819436 h 5092591"/>
              <a:gd name="connsiteX1199" fmla="*/ 1012788 w 4546203"/>
              <a:gd name="connsiteY1199" fmla="*/ 1948373 h 5092591"/>
              <a:gd name="connsiteX1200" fmla="*/ 1029900 w 4546203"/>
              <a:gd name="connsiteY1200" fmla="*/ 1912557 h 5092591"/>
              <a:gd name="connsiteX1201" fmla="*/ 956278 w 4546203"/>
              <a:gd name="connsiteY1201" fmla="*/ 1874354 h 5092591"/>
              <a:gd name="connsiteX1202" fmla="*/ 1037859 w 4546203"/>
              <a:gd name="connsiteY1202" fmla="*/ 1733479 h 5092591"/>
              <a:gd name="connsiteX1203" fmla="*/ 1031094 w 4546203"/>
              <a:gd name="connsiteY1203" fmla="*/ 1729499 h 5092591"/>
              <a:gd name="connsiteX1204" fmla="*/ 950309 w 4546203"/>
              <a:gd name="connsiteY1204" fmla="*/ 1865201 h 5092591"/>
              <a:gd name="connsiteX1205" fmla="*/ 870321 w 4546203"/>
              <a:gd name="connsiteY1205" fmla="*/ 1823814 h 5092591"/>
              <a:gd name="connsiteX1206" fmla="*/ 946728 w 4546203"/>
              <a:gd name="connsiteY1206" fmla="*/ 1691296 h 5092591"/>
              <a:gd name="connsiteX1207" fmla="*/ 942350 w 4546203"/>
              <a:gd name="connsiteY1207" fmla="*/ 1686520 h 5092591"/>
              <a:gd name="connsiteX1208" fmla="*/ 930412 w 4546203"/>
              <a:gd name="connsiteY1208" fmla="*/ 1696867 h 5092591"/>
              <a:gd name="connsiteX1209" fmla="*/ 861566 w 4546203"/>
              <a:gd name="connsiteY1209" fmla="*/ 1812671 h 5092591"/>
              <a:gd name="connsiteX1210" fmla="*/ 785955 w 4546203"/>
              <a:gd name="connsiteY1210" fmla="*/ 1773274 h 5092591"/>
              <a:gd name="connsiteX1211" fmla="*/ 795904 w 4546203"/>
              <a:gd name="connsiteY1211" fmla="*/ 1754172 h 5092591"/>
              <a:gd name="connsiteX1212" fmla="*/ 852413 w 4546203"/>
              <a:gd name="connsiteY1212" fmla="*/ 1655878 h 5092591"/>
              <a:gd name="connsiteX1213" fmla="*/ 852413 w 4546203"/>
              <a:gd name="connsiteY1213" fmla="*/ 1641552 h 5092591"/>
              <a:gd name="connsiteX1214" fmla="*/ 840872 w 4546203"/>
              <a:gd name="connsiteY1214" fmla="*/ 1648715 h 5092591"/>
              <a:gd name="connsiteX1215" fmla="*/ 833311 w 4546203"/>
              <a:gd name="connsiteY1215" fmla="*/ 1660256 h 5092591"/>
              <a:gd name="connsiteX1216" fmla="*/ 774812 w 4546203"/>
              <a:gd name="connsiteY1216" fmla="*/ 1760142 h 5092591"/>
              <a:gd name="connsiteX1217" fmla="*/ 699202 w 4546203"/>
              <a:gd name="connsiteY1217" fmla="*/ 1720346 h 5092591"/>
              <a:gd name="connsiteX1218" fmla="*/ 766058 w 4546203"/>
              <a:gd name="connsiteY1218" fmla="*/ 1606930 h 5092591"/>
              <a:gd name="connsiteX1219" fmla="*/ 756905 w 4546203"/>
              <a:gd name="connsiteY1219" fmla="*/ 1589420 h 5092591"/>
              <a:gd name="connsiteX1220" fmla="*/ 687661 w 4546203"/>
              <a:gd name="connsiteY1220" fmla="*/ 1707214 h 5092591"/>
              <a:gd name="connsiteX1221" fmla="*/ 614836 w 4546203"/>
              <a:gd name="connsiteY1221" fmla="*/ 1668215 h 5092591"/>
              <a:gd name="connsiteX1222" fmla="*/ 689651 w 4546203"/>
              <a:gd name="connsiteY1222" fmla="*/ 1539278 h 5092591"/>
              <a:gd name="connsiteX1223" fmla="*/ 674926 w 4546203"/>
              <a:gd name="connsiteY1223" fmla="*/ 1529329 h 5092591"/>
              <a:gd name="connsiteX1224" fmla="*/ 3598679 w 4546203"/>
              <a:gd name="connsiteY1224" fmla="*/ 1527340 h 5092591"/>
              <a:gd name="connsiteX1225" fmla="*/ 3566047 w 4546203"/>
              <a:gd name="connsiteY1225" fmla="*/ 1552809 h 5092591"/>
              <a:gd name="connsiteX1226" fmla="*/ 3588731 w 4546203"/>
              <a:gd name="connsiteY1226" fmla="*/ 1583053 h 5092591"/>
              <a:gd name="connsiteX1227" fmla="*/ 3622159 w 4546203"/>
              <a:gd name="connsiteY1227" fmla="*/ 1557584 h 5092591"/>
              <a:gd name="connsiteX1228" fmla="*/ 3598679 w 4546203"/>
              <a:gd name="connsiteY1228" fmla="*/ 1527340 h 5092591"/>
              <a:gd name="connsiteX1229" fmla="*/ 1238426 w 4546203"/>
              <a:gd name="connsiteY1229" fmla="*/ 1470433 h 5092591"/>
              <a:gd name="connsiteX1230" fmla="*/ 1213355 w 4546203"/>
              <a:gd name="connsiteY1230" fmla="*/ 1498289 h 5092591"/>
              <a:gd name="connsiteX1231" fmla="*/ 1236437 w 4546203"/>
              <a:gd name="connsiteY1231" fmla="*/ 1517391 h 5092591"/>
              <a:gd name="connsiteX1232" fmla="*/ 1260712 w 4546203"/>
              <a:gd name="connsiteY1232" fmla="*/ 1489932 h 5092591"/>
              <a:gd name="connsiteX1233" fmla="*/ 1238426 w 4546203"/>
              <a:gd name="connsiteY1233" fmla="*/ 1470433 h 5092591"/>
              <a:gd name="connsiteX1234" fmla="*/ 3599873 w 4546203"/>
              <a:gd name="connsiteY1234" fmla="*/ 1447749 h 5092591"/>
              <a:gd name="connsiteX1235" fmla="*/ 3567639 w 4546203"/>
              <a:gd name="connsiteY1235" fmla="*/ 1474412 h 5092591"/>
              <a:gd name="connsiteX1236" fmla="*/ 3591914 w 4546203"/>
              <a:gd name="connsiteY1236" fmla="*/ 1504258 h 5092591"/>
              <a:gd name="connsiteX1237" fmla="*/ 3624546 w 4546203"/>
              <a:gd name="connsiteY1237" fmla="*/ 1478392 h 5092591"/>
              <a:gd name="connsiteX1238" fmla="*/ 3599873 w 4546203"/>
              <a:gd name="connsiteY1238" fmla="*/ 1447749 h 5092591"/>
              <a:gd name="connsiteX1239" fmla="*/ 1199029 w 4546203"/>
              <a:gd name="connsiteY1239" fmla="*/ 1428648 h 5092591"/>
              <a:gd name="connsiteX1240" fmla="*/ 1171173 w 4546203"/>
              <a:gd name="connsiteY1240" fmla="*/ 1451331 h 5092591"/>
              <a:gd name="connsiteX1241" fmla="*/ 1195050 w 4546203"/>
              <a:gd name="connsiteY1241" fmla="*/ 1478392 h 5092591"/>
              <a:gd name="connsiteX1242" fmla="*/ 1224100 w 4546203"/>
              <a:gd name="connsiteY1242" fmla="*/ 1451729 h 5092591"/>
              <a:gd name="connsiteX1243" fmla="*/ 1199029 w 4546203"/>
              <a:gd name="connsiteY1243" fmla="*/ 1428648 h 5092591"/>
              <a:gd name="connsiteX1244" fmla="*/ 2320068 w 4546203"/>
              <a:gd name="connsiteY1244" fmla="*/ 1391331 h 5092591"/>
              <a:gd name="connsiteX1245" fmla="*/ 1854058 w 4546203"/>
              <a:gd name="connsiteY1245" fmla="*/ 1462871 h 5092591"/>
              <a:gd name="connsiteX1246" fmla="*/ 1206192 w 4546203"/>
              <a:gd name="connsiteY1246" fmla="*/ 2059799 h 5092591"/>
              <a:gd name="connsiteX1247" fmla="*/ 1138541 w 4546203"/>
              <a:gd name="connsiteY1247" fmla="*/ 2818296 h 5092591"/>
              <a:gd name="connsiteX1248" fmla="*/ 1487544 w 4546203"/>
              <a:gd name="connsiteY1248" fmla="*/ 3421591 h 5092591"/>
              <a:gd name="connsiteX1249" fmla="*/ 2232510 w 4546203"/>
              <a:gd name="connsiteY1249" fmla="*/ 3699760 h 5092591"/>
              <a:gd name="connsiteX1250" fmla="*/ 2608177 w 4546203"/>
              <a:gd name="connsiteY1250" fmla="*/ 3651607 h 5092591"/>
              <a:gd name="connsiteX1251" fmla="*/ 3310164 w 4546203"/>
              <a:gd name="connsiteY1251" fmla="*/ 3078159 h 5092591"/>
              <a:gd name="connsiteX1252" fmla="*/ 3402091 w 4546203"/>
              <a:gd name="connsiteY1252" fmla="*/ 2279469 h 5092591"/>
              <a:gd name="connsiteX1253" fmla="*/ 3032394 w 4546203"/>
              <a:gd name="connsiteY1253" fmla="*/ 1662245 h 5092591"/>
              <a:gd name="connsiteX1254" fmla="*/ 2320068 w 4546203"/>
              <a:gd name="connsiteY1254" fmla="*/ 1391331 h 5092591"/>
              <a:gd name="connsiteX1255" fmla="*/ 3350357 w 4546203"/>
              <a:gd name="connsiteY1255" fmla="*/ 1378904 h 5092591"/>
              <a:gd name="connsiteX1256" fmla="*/ 3316531 w 4546203"/>
              <a:gd name="connsiteY1256" fmla="*/ 1417107 h 5092591"/>
              <a:gd name="connsiteX1257" fmla="*/ 3345184 w 4546203"/>
              <a:gd name="connsiteY1257" fmla="*/ 1443770 h 5092591"/>
              <a:gd name="connsiteX1258" fmla="*/ 3379806 w 4546203"/>
              <a:gd name="connsiteY1258" fmla="*/ 1411138 h 5092591"/>
              <a:gd name="connsiteX1259" fmla="*/ 3350357 w 4546203"/>
              <a:gd name="connsiteY1259" fmla="*/ 1378904 h 5092591"/>
              <a:gd name="connsiteX1260" fmla="*/ 1431831 w 4546203"/>
              <a:gd name="connsiteY1260" fmla="*/ 1376914 h 5092591"/>
              <a:gd name="connsiteX1261" fmla="*/ 1402383 w 4546203"/>
              <a:gd name="connsiteY1261" fmla="*/ 1399199 h 5092591"/>
              <a:gd name="connsiteX1262" fmla="*/ 1398403 w 4546203"/>
              <a:gd name="connsiteY1262" fmla="*/ 1408352 h 5092591"/>
              <a:gd name="connsiteX1263" fmla="*/ 1409546 w 4546203"/>
              <a:gd name="connsiteY1263" fmla="*/ 1407556 h 5092591"/>
              <a:gd name="connsiteX1264" fmla="*/ 1433025 w 4546203"/>
              <a:gd name="connsiteY1264" fmla="*/ 1390046 h 5092591"/>
              <a:gd name="connsiteX1265" fmla="*/ 1437402 w 4546203"/>
              <a:gd name="connsiteY1265" fmla="*/ 1379699 h 5092591"/>
              <a:gd name="connsiteX1266" fmla="*/ 1431831 w 4546203"/>
              <a:gd name="connsiteY1266" fmla="*/ 1376914 h 5092591"/>
              <a:gd name="connsiteX1267" fmla="*/ 3303399 w 4546203"/>
              <a:gd name="connsiteY1267" fmla="*/ 1340302 h 5092591"/>
              <a:gd name="connsiteX1268" fmla="*/ 3271961 w 4546203"/>
              <a:gd name="connsiteY1268" fmla="*/ 1377312 h 5092591"/>
              <a:gd name="connsiteX1269" fmla="*/ 3303001 w 4546203"/>
              <a:gd name="connsiteY1269" fmla="*/ 1404373 h 5092591"/>
              <a:gd name="connsiteX1270" fmla="*/ 3335633 w 4546203"/>
              <a:gd name="connsiteY1270" fmla="*/ 1368557 h 5092591"/>
              <a:gd name="connsiteX1271" fmla="*/ 3303399 w 4546203"/>
              <a:gd name="connsiteY1271" fmla="*/ 1340302 h 5092591"/>
              <a:gd name="connsiteX1272" fmla="*/ 1285385 w 4546203"/>
              <a:gd name="connsiteY1272" fmla="*/ 1337517 h 5092591"/>
              <a:gd name="connsiteX1273" fmla="*/ 1255538 w 4546203"/>
              <a:gd name="connsiteY1273" fmla="*/ 1362986 h 5092591"/>
              <a:gd name="connsiteX1274" fmla="*/ 1277426 w 4546203"/>
              <a:gd name="connsiteY1274" fmla="*/ 1388454 h 5092591"/>
              <a:gd name="connsiteX1275" fmla="*/ 1306476 w 4546203"/>
              <a:gd name="connsiteY1275" fmla="*/ 1362588 h 5092591"/>
              <a:gd name="connsiteX1276" fmla="*/ 1285385 w 4546203"/>
              <a:gd name="connsiteY1276" fmla="*/ 1337517 h 5092591"/>
              <a:gd name="connsiteX1277" fmla="*/ 1111082 w 4546203"/>
              <a:gd name="connsiteY1277" fmla="*/ 1327966 h 5092591"/>
              <a:gd name="connsiteX1278" fmla="*/ 1082031 w 4546203"/>
              <a:gd name="connsiteY1278" fmla="*/ 1355027 h 5092591"/>
              <a:gd name="connsiteX1279" fmla="*/ 1106306 w 4546203"/>
              <a:gd name="connsiteY1279" fmla="*/ 1384077 h 5092591"/>
              <a:gd name="connsiteX1280" fmla="*/ 1134163 w 4546203"/>
              <a:gd name="connsiteY1280" fmla="*/ 1352241 h 5092591"/>
              <a:gd name="connsiteX1281" fmla="*/ 1111082 w 4546203"/>
              <a:gd name="connsiteY1281" fmla="*/ 1327966 h 5092591"/>
              <a:gd name="connsiteX1282" fmla="*/ 3398908 w 4546203"/>
              <a:gd name="connsiteY1282" fmla="*/ 1327568 h 5092591"/>
              <a:gd name="connsiteX1283" fmla="*/ 3364684 w 4546203"/>
              <a:gd name="connsiteY1283" fmla="*/ 1364577 h 5092591"/>
              <a:gd name="connsiteX1284" fmla="*/ 3393734 w 4546203"/>
              <a:gd name="connsiteY1284" fmla="*/ 1392036 h 5092591"/>
              <a:gd name="connsiteX1285" fmla="*/ 3426764 w 4546203"/>
              <a:gd name="connsiteY1285" fmla="*/ 1360200 h 5092591"/>
              <a:gd name="connsiteX1286" fmla="*/ 3398908 w 4546203"/>
              <a:gd name="connsiteY1286" fmla="*/ 1327568 h 5092591"/>
              <a:gd name="connsiteX1287" fmla="*/ 3256043 w 4546203"/>
              <a:gd name="connsiteY1287" fmla="*/ 1300905 h 5092591"/>
              <a:gd name="connsiteX1288" fmla="*/ 3225798 w 4546203"/>
              <a:gd name="connsiteY1288" fmla="*/ 1338710 h 5092591"/>
              <a:gd name="connsiteX1289" fmla="*/ 3258032 w 4546203"/>
              <a:gd name="connsiteY1289" fmla="*/ 1364975 h 5092591"/>
              <a:gd name="connsiteX1290" fmla="*/ 3289471 w 4546203"/>
              <a:gd name="connsiteY1290" fmla="*/ 1327170 h 5092591"/>
              <a:gd name="connsiteX1291" fmla="*/ 3256043 w 4546203"/>
              <a:gd name="connsiteY1291" fmla="*/ 1300905 h 5092591"/>
              <a:gd name="connsiteX1292" fmla="*/ 1247181 w 4546203"/>
              <a:gd name="connsiteY1292" fmla="*/ 1289762 h 5092591"/>
              <a:gd name="connsiteX1293" fmla="*/ 1215743 w 4546203"/>
              <a:gd name="connsiteY1293" fmla="*/ 1316823 h 5092591"/>
              <a:gd name="connsiteX1294" fmla="*/ 1240416 w 4546203"/>
              <a:gd name="connsiteY1294" fmla="*/ 1345078 h 5092591"/>
              <a:gd name="connsiteX1295" fmla="*/ 1271059 w 4546203"/>
              <a:gd name="connsiteY1295" fmla="*/ 1319211 h 5092591"/>
              <a:gd name="connsiteX1296" fmla="*/ 1247181 w 4546203"/>
              <a:gd name="connsiteY1296" fmla="*/ 1289762 h 5092591"/>
              <a:gd name="connsiteX1297" fmla="*/ 1533309 w 4546203"/>
              <a:gd name="connsiteY1297" fmla="*/ 1288171 h 5092591"/>
              <a:gd name="connsiteX1298" fmla="*/ 1509432 w 4546203"/>
              <a:gd name="connsiteY1298" fmla="*/ 1302497 h 5092591"/>
              <a:gd name="connsiteX1299" fmla="*/ 1528533 w 4546203"/>
              <a:gd name="connsiteY1299" fmla="*/ 1333537 h 5092591"/>
              <a:gd name="connsiteX1300" fmla="*/ 1551615 w 4546203"/>
              <a:gd name="connsiteY1300" fmla="*/ 1318813 h 5092591"/>
              <a:gd name="connsiteX1301" fmla="*/ 1533309 w 4546203"/>
              <a:gd name="connsiteY1301" fmla="*/ 1288171 h 5092591"/>
              <a:gd name="connsiteX1302" fmla="*/ 3349960 w 4546203"/>
              <a:gd name="connsiteY1302" fmla="*/ 1285783 h 5092591"/>
              <a:gd name="connsiteX1303" fmla="*/ 3318123 w 4546203"/>
              <a:gd name="connsiteY1303" fmla="*/ 1323190 h 5092591"/>
              <a:gd name="connsiteX1304" fmla="*/ 3350755 w 4546203"/>
              <a:gd name="connsiteY1304" fmla="*/ 1351047 h 5092591"/>
              <a:gd name="connsiteX1305" fmla="*/ 3382990 w 4546203"/>
              <a:gd name="connsiteY1305" fmla="*/ 1315231 h 5092591"/>
              <a:gd name="connsiteX1306" fmla="*/ 3349960 w 4546203"/>
              <a:gd name="connsiteY1306" fmla="*/ 1285783 h 5092591"/>
              <a:gd name="connsiteX1307" fmla="*/ 1071685 w 4546203"/>
              <a:gd name="connsiteY1307" fmla="*/ 1285783 h 5092591"/>
              <a:gd name="connsiteX1308" fmla="*/ 1042634 w 4546203"/>
              <a:gd name="connsiteY1308" fmla="*/ 1315231 h 5092591"/>
              <a:gd name="connsiteX1309" fmla="*/ 1064521 w 4546203"/>
              <a:gd name="connsiteY1309" fmla="*/ 1338710 h 5092591"/>
              <a:gd name="connsiteX1310" fmla="*/ 1094766 w 4546203"/>
              <a:gd name="connsiteY1310" fmla="*/ 1310058 h 5092591"/>
              <a:gd name="connsiteX1311" fmla="*/ 1071685 w 4546203"/>
              <a:gd name="connsiteY1311" fmla="*/ 1285783 h 5092591"/>
              <a:gd name="connsiteX1312" fmla="*/ 1352639 w 4546203"/>
              <a:gd name="connsiteY1312" fmla="*/ 1282599 h 5092591"/>
              <a:gd name="connsiteX1313" fmla="*/ 1320007 w 4546203"/>
              <a:gd name="connsiteY1313" fmla="*/ 1307272 h 5092591"/>
              <a:gd name="connsiteX1314" fmla="*/ 1378108 w 4546203"/>
              <a:gd name="connsiteY1314" fmla="*/ 1382485 h 5092591"/>
              <a:gd name="connsiteX1315" fmla="*/ 1421086 w 4546203"/>
              <a:gd name="connsiteY1315" fmla="*/ 1350649 h 5092591"/>
              <a:gd name="connsiteX1316" fmla="*/ 1352639 w 4546203"/>
              <a:gd name="connsiteY1316" fmla="*/ 1282599 h 5092591"/>
              <a:gd name="connsiteX1317" fmla="*/ 3446264 w 4546203"/>
              <a:gd name="connsiteY1317" fmla="*/ 1276630 h 5092591"/>
              <a:gd name="connsiteX1318" fmla="*/ 3414428 w 4546203"/>
              <a:gd name="connsiteY1318" fmla="*/ 1310854 h 5092591"/>
              <a:gd name="connsiteX1319" fmla="*/ 3442284 w 4546203"/>
              <a:gd name="connsiteY1319" fmla="*/ 1341496 h 5092591"/>
              <a:gd name="connsiteX1320" fmla="*/ 3479692 w 4546203"/>
              <a:gd name="connsiteY1320" fmla="*/ 1308466 h 5092591"/>
              <a:gd name="connsiteX1321" fmla="*/ 3446264 w 4546203"/>
              <a:gd name="connsiteY1321" fmla="*/ 1276630 h 5092591"/>
              <a:gd name="connsiteX1322" fmla="*/ 1473616 w 4546203"/>
              <a:gd name="connsiteY1322" fmla="*/ 1273446 h 5092591"/>
              <a:gd name="connsiteX1323" fmla="*/ 1449341 w 4546203"/>
              <a:gd name="connsiteY1323" fmla="*/ 1289364 h 5092591"/>
              <a:gd name="connsiteX1324" fmla="*/ 1469637 w 4546203"/>
              <a:gd name="connsiteY1324" fmla="*/ 1319211 h 5092591"/>
              <a:gd name="connsiteX1325" fmla="*/ 1493116 w 4546203"/>
              <a:gd name="connsiteY1325" fmla="*/ 1303691 h 5092591"/>
              <a:gd name="connsiteX1326" fmla="*/ 1473616 w 4546203"/>
              <a:gd name="connsiteY1326" fmla="*/ 1273446 h 5092591"/>
              <a:gd name="connsiteX1327" fmla="*/ 907579 w 4546203"/>
              <a:gd name="connsiteY1327" fmla="*/ 1265239 h 5092591"/>
              <a:gd name="connsiteX1328" fmla="*/ 843260 w 4546203"/>
              <a:gd name="connsiteY1328" fmla="*/ 1292548 h 5092591"/>
              <a:gd name="connsiteX1329" fmla="*/ 840077 w 4546203"/>
              <a:gd name="connsiteY1329" fmla="*/ 1294936 h 5092591"/>
              <a:gd name="connsiteX1330" fmla="*/ 835301 w 4546203"/>
              <a:gd name="connsiteY1330" fmla="*/ 1316425 h 5092591"/>
              <a:gd name="connsiteX1331" fmla="*/ 760884 w 4546203"/>
              <a:gd name="connsiteY1331" fmla="*/ 1409546 h 5092591"/>
              <a:gd name="connsiteX1332" fmla="*/ 758098 w 4546203"/>
              <a:gd name="connsiteY1332" fmla="*/ 1416311 h 5092591"/>
              <a:gd name="connsiteX1333" fmla="*/ 771629 w 4546203"/>
              <a:gd name="connsiteY1333" fmla="*/ 1424270 h 5092591"/>
              <a:gd name="connsiteX1334" fmla="*/ 863954 w 4546203"/>
              <a:gd name="connsiteY1334" fmla="*/ 1311252 h 5092591"/>
              <a:gd name="connsiteX1335" fmla="*/ 926034 w 4546203"/>
              <a:gd name="connsiteY1335" fmla="*/ 1365771 h 5092591"/>
              <a:gd name="connsiteX1336" fmla="*/ 840475 w 4546203"/>
              <a:gd name="connsiteY1336" fmla="*/ 1472024 h 5092591"/>
              <a:gd name="connsiteX1337" fmla="*/ 845250 w 4546203"/>
              <a:gd name="connsiteY1337" fmla="*/ 1479187 h 5092591"/>
              <a:gd name="connsiteX1338" fmla="*/ 861964 w 4546203"/>
              <a:gd name="connsiteY1338" fmla="*/ 1470830 h 5092591"/>
              <a:gd name="connsiteX1339" fmla="*/ 942748 w 4546203"/>
              <a:gd name="connsiteY1339" fmla="*/ 1371342 h 5092591"/>
              <a:gd name="connsiteX1340" fmla="*/ 1006420 w 4546203"/>
              <a:gd name="connsiteY1340" fmla="*/ 1427852 h 5092591"/>
              <a:gd name="connsiteX1341" fmla="*/ 927626 w 4546203"/>
              <a:gd name="connsiteY1341" fmla="*/ 1525350 h 5092591"/>
              <a:gd name="connsiteX1342" fmla="*/ 930014 w 4546203"/>
              <a:gd name="connsiteY1342" fmla="*/ 1543656 h 5092591"/>
              <a:gd name="connsiteX1343" fmla="*/ 1021543 w 4546203"/>
              <a:gd name="connsiteY1343" fmla="*/ 1433025 h 5092591"/>
              <a:gd name="connsiteX1344" fmla="*/ 1086409 w 4546203"/>
              <a:gd name="connsiteY1344" fmla="*/ 1491126 h 5092591"/>
              <a:gd name="connsiteX1345" fmla="*/ 1072879 w 4546203"/>
              <a:gd name="connsiteY1345" fmla="*/ 1507442 h 5092591"/>
              <a:gd name="connsiteX1346" fmla="*/ 1002839 w 4546203"/>
              <a:gd name="connsiteY1346" fmla="*/ 1594196 h 5092591"/>
              <a:gd name="connsiteX1347" fmla="*/ 997666 w 4546203"/>
              <a:gd name="connsiteY1347" fmla="*/ 1609318 h 5092591"/>
              <a:gd name="connsiteX1348" fmla="*/ 1003237 w 4546203"/>
              <a:gd name="connsiteY1348" fmla="*/ 1611308 h 5092591"/>
              <a:gd name="connsiteX1349" fmla="*/ 1099143 w 4546203"/>
              <a:gd name="connsiteY1349" fmla="*/ 1494708 h 5092591"/>
              <a:gd name="connsiteX1350" fmla="*/ 1165999 w 4546203"/>
              <a:gd name="connsiteY1350" fmla="*/ 1554798 h 5092591"/>
              <a:gd name="connsiteX1351" fmla="*/ 1129388 w 4546203"/>
              <a:gd name="connsiteY1351" fmla="*/ 1597777 h 5092591"/>
              <a:gd name="connsiteX1352" fmla="*/ 1097153 w 4546203"/>
              <a:gd name="connsiteY1352" fmla="*/ 1637970 h 5092591"/>
              <a:gd name="connsiteX1353" fmla="*/ 1075266 w 4546203"/>
              <a:gd name="connsiteY1353" fmla="*/ 1681347 h 5092591"/>
              <a:gd name="connsiteX1354" fmla="*/ 1178336 w 4546203"/>
              <a:gd name="connsiteY1354" fmla="*/ 1557982 h 5092591"/>
              <a:gd name="connsiteX1355" fmla="*/ 1240416 w 4546203"/>
              <a:gd name="connsiteY1355" fmla="*/ 1613695 h 5092591"/>
              <a:gd name="connsiteX1356" fmla="*/ 1263099 w 4546203"/>
              <a:gd name="connsiteY1356" fmla="*/ 1589022 h 5092591"/>
              <a:gd name="connsiteX1357" fmla="*/ 1245192 w 4546203"/>
              <a:gd name="connsiteY1357" fmla="*/ 1572706 h 5092591"/>
              <a:gd name="connsiteX1358" fmla="*/ 963840 w 4546203"/>
              <a:gd name="connsiteY1358" fmla="*/ 1305680 h 5092591"/>
              <a:gd name="connsiteX1359" fmla="*/ 907579 w 4546203"/>
              <a:gd name="connsiteY1359" fmla="*/ 1265239 h 5092591"/>
              <a:gd name="connsiteX1360" fmla="*/ 3207493 w 4546203"/>
              <a:gd name="connsiteY1360" fmla="*/ 1263100 h 5092591"/>
              <a:gd name="connsiteX1361" fmla="*/ 3178840 w 4546203"/>
              <a:gd name="connsiteY1361" fmla="*/ 1302497 h 5092591"/>
              <a:gd name="connsiteX1362" fmla="*/ 3211472 w 4546203"/>
              <a:gd name="connsiteY1362" fmla="*/ 1327170 h 5092591"/>
              <a:gd name="connsiteX1363" fmla="*/ 3241318 w 4546203"/>
              <a:gd name="connsiteY1363" fmla="*/ 1288568 h 5092591"/>
              <a:gd name="connsiteX1364" fmla="*/ 3207493 w 4546203"/>
              <a:gd name="connsiteY1364" fmla="*/ 1263100 h 5092591"/>
              <a:gd name="connsiteX1365" fmla="*/ 1414719 w 4546203"/>
              <a:gd name="connsiteY1365" fmla="*/ 1254345 h 5092591"/>
              <a:gd name="connsiteX1366" fmla="*/ 1389648 w 4546203"/>
              <a:gd name="connsiteY1366" fmla="*/ 1271457 h 5092591"/>
              <a:gd name="connsiteX1367" fmla="*/ 1411138 w 4546203"/>
              <a:gd name="connsiteY1367" fmla="*/ 1300905 h 5092591"/>
              <a:gd name="connsiteX1368" fmla="*/ 1434617 w 4546203"/>
              <a:gd name="connsiteY1368" fmla="*/ 1284589 h 5092591"/>
              <a:gd name="connsiteX1369" fmla="*/ 1414719 w 4546203"/>
              <a:gd name="connsiteY1369" fmla="*/ 1254345 h 5092591"/>
              <a:gd name="connsiteX1370" fmla="*/ 1269467 w 4546203"/>
              <a:gd name="connsiteY1370" fmla="*/ 1247977 h 5092591"/>
              <a:gd name="connsiteX1371" fmla="*/ 1267079 w 4546203"/>
              <a:gd name="connsiteY1371" fmla="*/ 1251957 h 5092591"/>
              <a:gd name="connsiteX1372" fmla="*/ 1302497 w 4546203"/>
              <a:gd name="connsiteY1372" fmla="*/ 1297323 h 5092591"/>
              <a:gd name="connsiteX1373" fmla="*/ 1331945 w 4546203"/>
              <a:gd name="connsiteY1373" fmla="*/ 1274640 h 5092591"/>
              <a:gd name="connsiteX1374" fmla="*/ 1269467 w 4546203"/>
              <a:gd name="connsiteY1374" fmla="*/ 1247977 h 5092591"/>
              <a:gd name="connsiteX1375" fmla="*/ 3300216 w 4546203"/>
              <a:gd name="connsiteY1375" fmla="*/ 1244794 h 5092591"/>
              <a:gd name="connsiteX1376" fmla="*/ 3269971 w 4546203"/>
              <a:gd name="connsiteY1376" fmla="*/ 1283395 h 5092591"/>
              <a:gd name="connsiteX1377" fmla="*/ 3303399 w 4546203"/>
              <a:gd name="connsiteY1377" fmla="*/ 1310456 h 5092591"/>
              <a:gd name="connsiteX1378" fmla="*/ 3334439 w 4546203"/>
              <a:gd name="connsiteY1378" fmla="*/ 1273446 h 5092591"/>
              <a:gd name="connsiteX1379" fmla="*/ 3300216 w 4546203"/>
              <a:gd name="connsiteY1379" fmla="*/ 1244794 h 5092591"/>
              <a:gd name="connsiteX1380" fmla="*/ 3396122 w 4546203"/>
              <a:gd name="connsiteY1380" fmla="*/ 1232457 h 5092591"/>
              <a:gd name="connsiteX1381" fmla="*/ 3364286 w 4546203"/>
              <a:gd name="connsiteY1381" fmla="*/ 1269467 h 5092591"/>
              <a:gd name="connsiteX1382" fmla="*/ 3398509 w 4546203"/>
              <a:gd name="connsiteY1382" fmla="*/ 1299313 h 5092591"/>
              <a:gd name="connsiteX1383" fmla="*/ 3431142 w 4546203"/>
              <a:gd name="connsiteY1383" fmla="*/ 1262702 h 5092591"/>
              <a:gd name="connsiteX1384" fmla="*/ 3396122 w 4546203"/>
              <a:gd name="connsiteY1384" fmla="*/ 1232457 h 5092591"/>
              <a:gd name="connsiteX1385" fmla="*/ 3494814 w 4546203"/>
              <a:gd name="connsiteY1385" fmla="*/ 1224100 h 5092591"/>
              <a:gd name="connsiteX1386" fmla="*/ 3460988 w 4546203"/>
              <a:gd name="connsiteY1386" fmla="*/ 1260712 h 5092591"/>
              <a:gd name="connsiteX1387" fmla="*/ 3493620 w 4546203"/>
              <a:gd name="connsiteY1387" fmla="*/ 1291354 h 5092591"/>
              <a:gd name="connsiteX1388" fmla="*/ 3528242 w 4546203"/>
              <a:gd name="connsiteY1388" fmla="*/ 1259916 h 5092591"/>
              <a:gd name="connsiteX1389" fmla="*/ 3494814 w 4546203"/>
              <a:gd name="connsiteY1389" fmla="*/ 1224100 h 5092591"/>
              <a:gd name="connsiteX1390" fmla="*/ 1707612 w 4546203"/>
              <a:gd name="connsiteY1390" fmla="*/ 1223304 h 5092591"/>
              <a:gd name="connsiteX1391" fmla="*/ 1674582 w 4546203"/>
              <a:gd name="connsiteY1391" fmla="*/ 1238427 h 5092591"/>
              <a:gd name="connsiteX1392" fmla="*/ 1690500 w 4546203"/>
              <a:gd name="connsiteY1392" fmla="*/ 1273048 h 5092591"/>
              <a:gd name="connsiteX1393" fmla="*/ 1722734 w 4546203"/>
              <a:gd name="connsiteY1393" fmla="*/ 1258722 h 5092591"/>
              <a:gd name="connsiteX1394" fmla="*/ 1707612 w 4546203"/>
              <a:gd name="connsiteY1394" fmla="*/ 1223304 h 5092591"/>
              <a:gd name="connsiteX1395" fmla="*/ 1747009 w 4546203"/>
              <a:gd name="connsiteY1395" fmla="*/ 1207386 h 5092591"/>
              <a:gd name="connsiteX1396" fmla="*/ 1713979 w 4546203"/>
              <a:gd name="connsiteY1396" fmla="*/ 1221315 h 5092591"/>
              <a:gd name="connsiteX1397" fmla="*/ 1728703 w 4546203"/>
              <a:gd name="connsiteY1397" fmla="*/ 1257130 h 5092591"/>
              <a:gd name="connsiteX1398" fmla="*/ 1761335 w 4546203"/>
              <a:gd name="connsiteY1398" fmla="*/ 1243202 h 5092591"/>
              <a:gd name="connsiteX1399" fmla="*/ 1747009 w 4546203"/>
              <a:gd name="connsiteY1399" fmla="*/ 1207386 h 5092591"/>
              <a:gd name="connsiteX1400" fmla="*/ 3249278 w 4546203"/>
              <a:gd name="connsiteY1400" fmla="*/ 1206590 h 5092591"/>
              <a:gd name="connsiteX1401" fmla="*/ 3220625 w 4546203"/>
              <a:gd name="connsiteY1401" fmla="*/ 1245590 h 5092591"/>
              <a:gd name="connsiteX1402" fmla="*/ 3254849 w 4546203"/>
              <a:gd name="connsiteY1402" fmla="*/ 1271457 h 5092591"/>
              <a:gd name="connsiteX1403" fmla="*/ 3285093 w 4546203"/>
              <a:gd name="connsiteY1403" fmla="*/ 1233253 h 5092591"/>
              <a:gd name="connsiteX1404" fmla="*/ 3249278 w 4546203"/>
              <a:gd name="connsiteY1404" fmla="*/ 1206590 h 5092591"/>
              <a:gd name="connsiteX1405" fmla="*/ 1507840 w 4546203"/>
              <a:gd name="connsiteY1405" fmla="*/ 1197438 h 5092591"/>
              <a:gd name="connsiteX1406" fmla="*/ 1481973 w 4546203"/>
              <a:gd name="connsiteY1406" fmla="*/ 1212162 h 5092591"/>
              <a:gd name="connsiteX1407" fmla="*/ 1500677 w 4546203"/>
              <a:gd name="connsiteY1407" fmla="*/ 1243600 h 5092591"/>
              <a:gd name="connsiteX1408" fmla="*/ 1525748 w 4546203"/>
              <a:gd name="connsiteY1408" fmla="*/ 1228478 h 5092591"/>
              <a:gd name="connsiteX1409" fmla="*/ 1507840 w 4546203"/>
              <a:gd name="connsiteY1409" fmla="*/ 1197438 h 5092591"/>
              <a:gd name="connsiteX1410" fmla="*/ 1423872 w 4546203"/>
              <a:gd name="connsiteY1410" fmla="*/ 1194254 h 5092591"/>
              <a:gd name="connsiteX1411" fmla="*/ 1398005 w 4546203"/>
              <a:gd name="connsiteY1411" fmla="*/ 1210570 h 5092591"/>
              <a:gd name="connsiteX1412" fmla="*/ 1418699 w 4546203"/>
              <a:gd name="connsiteY1412" fmla="*/ 1240814 h 5092591"/>
              <a:gd name="connsiteX1413" fmla="*/ 1443770 w 4546203"/>
              <a:gd name="connsiteY1413" fmla="*/ 1224100 h 5092591"/>
              <a:gd name="connsiteX1414" fmla="*/ 1423872 w 4546203"/>
              <a:gd name="connsiteY1414" fmla="*/ 1194254 h 5092591"/>
              <a:gd name="connsiteX1415" fmla="*/ 1786804 w 4546203"/>
              <a:gd name="connsiteY1415" fmla="*/ 1192264 h 5092591"/>
              <a:gd name="connsiteX1416" fmla="*/ 1753376 w 4546203"/>
              <a:gd name="connsiteY1416" fmla="*/ 1205795 h 5092591"/>
              <a:gd name="connsiteX1417" fmla="*/ 1767305 w 4546203"/>
              <a:gd name="connsiteY1417" fmla="*/ 1241212 h 5092591"/>
              <a:gd name="connsiteX1418" fmla="*/ 1799937 w 4546203"/>
              <a:gd name="connsiteY1418" fmla="*/ 1228478 h 5092591"/>
              <a:gd name="connsiteX1419" fmla="*/ 1786804 w 4546203"/>
              <a:gd name="connsiteY1419" fmla="*/ 1192264 h 5092591"/>
              <a:gd name="connsiteX1420" fmla="*/ 1619664 w 4546203"/>
              <a:gd name="connsiteY1420" fmla="*/ 1191070 h 5092591"/>
              <a:gd name="connsiteX1421" fmla="*/ 1568727 w 4546203"/>
              <a:gd name="connsiteY1421" fmla="*/ 1217335 h 5092591"/>
              <a:gd name="connsiteX1422" fmla="*/ 1620858 w 4546203"/>
              <a:gd name="connsiteY1422" fmla="*/ 1316027 h 5092591"/>
              <a:gd name="connsiteX1423" fmla="*/ 1667817 w 4546203"/>
              <a:gd name="connsiteY1423" fmla="*/ 1290956 h 5092591"/>
              <a:gd name="connsiteX1424" fmla="*/ 1619664 w 4546203"/>
              <a:gd name="connsiteY1424" fmla="*/ 1191070 h 5092591"/>
              <a:gd name="connsiteX1425" fmla="*/ 3344388 w 4546203"/>
              <a:gd name="connsiteY1425" fmla="*/ 1189478 h 5092591"/>
              <a:gd name="connsiteX1426" fmla="*/ 3314144 w 4546203"/>
              <a:gd name="connsiteY1426" fmla="*/ 1227682 h 5092591"/>
              <a:gd name="connsiteX1427" fmla="*/ 3349164 w 4546203"/>
              <a:gd name="connsiteY1427" fmla="*/ 1255936 h 5092591"/>
              <a:gd name="connsiteX1428" fmla="*/ 3380602 w 4546203"/>
              <a:gd name="connsiteY1428" fmla="*/ 1218529 h 5092591"/>
              <a:gd name="connsiteX1429" fmla="*/ 3344388 w 4546203"/>
              <a:gd name="connsiteY1429" fmla="*/ 1189478 h 5092591"/>
              <a:gd name="connsiteX1430" fmla="*/ 2835010 w 4546203"/>
              <a:gd name="connsiteY1430" fmla="*/ 1183509 h 5092591"/>
              <a:gd name="connsiteX1431" fmla="*/ 2817500 w 4546203"/>
              <a:gd name="connsiteY1431" fmla="*/ 1225692 h 5092591"/>
              <a:gd name="connsiteX1432" fmla="*/ 2877591 w 4546203"/>
              <a:gd name="connsiteY1432" fmla="*/ 1251957 h 5092591"/>
              <a:gd name="connsiteX1433" fmla="*/ 2896692 w 4546203"/>
              <a:gd name="connsiteY1433" fmla="*/ 1211366 h 5092591"/>
              <a:gd name="connsiteX1434" fmla="*/ 2835010 w 4546203"/>
              <a:gd name="connsiteY1434" fmla="*/ 1183509 h 5092591"/>
              <a:gd name="connsiteX1435" fmla="*/ 1826997 w 4546203"/>
              <a:gd name="connsiteY1435" fmla="*/ 1179132 h 5092591"/>
              <a:gd name="connsiteX1436" fmla="*/ 1792774 w 4546203"/>
              <a:gd name="connsiteY1436" fmla="*/ 1191070 h 5092591"/>
              <a:gd name="connsiteX1437" fmla="*/ 1806304 w 4546203"/>
              <a:gd name="connsiteY1437" fmla="*/ 1226886 h 5092591"/>
              <a:gd name="connsiteX1438" fmla="*/ 1838936 w 4546203"/>
              <a:gd name="connsiteY1438" fmla="*/ 1215345 h 5092591"/>
              <a:gd name="connsiteX1439" fmla="*/ 1826997 w 4546203"/>
              <a:gd name="connsiteY1439" fmla="*/ 1179132 h 5092591"/>
              <a:gd name="connsiteX1440" fmla="*/ 3442284 w 4546203"/>
              <a:gd name="connsiteY1440" fmla="*/ 1178336 h 5092591"/>
              <a:gd name="connsiteX1441" fmla="*/ 3410448 w 4546203"/>
              <a:gd name="connsiteY1441" fmla="*/ 1215345 h 5092591"/>
              <a:gd name="connsiteX1442" fmla="*/ 3445468 w 4546203"/>
              <a:gd name="connsiteY1442" fmla="*/ 1246386 h 5092591"/>
              <a:gd name="connsiteX1443" fmla="*/ 3478100 w 4546203"/>
              <a:gd name="connsiteY1443" fmla="*/ 1210570 h 5092591"/>
              <a:gd name="connsiteX1444" fmla="*/ 3442284 w 4546203"/>
              <a:gd name="connsiteY1444" fmla="*/ 1178336 h 5092591"/>
              <a:gd name="connsiteX1445" fmla="*/ 1362587 w 4546203"/>
              <a:gd name="connsiteY1445" fmla="*/ 1176346 h 5092591"/>
              <a:gd name="connsiteX1446" fmla="*/ 1336721 w 4546203"/>
              <a:gd name="connsiteY1446" fmla="*/ 1194652 h 5092591"/>
              <a:gd name="connsiteX1447" fmla="*/ 1357414 w 4546203"/>
              <a:gd name="connsiteY1447" fmla="*/ 1224100 h 5092591"/>
              <a:gd name="connsiteX1448" fmla="*/ 1382883 w 4546203"/>
              <a:gd name="connsiteY1448" fmla="*/ 1206590 h 5092591"/>
              <a:gd name="connsiteX1449" fmla="*/ 1362587 w 4546203"/>
              <a:gd name="connsiteY1449" fmla="*/ 1176346 h 5092591"/>
              <a:gd name="connsiteX1450" fmla="*/ 3542568 w 4546203"/>
              <a:gd name="connsiteY1450" fmla="*/ 1173162 h 5092591"/>
              <a:gd name="connsiteX1451" fmla="*/ 3509538 w 4546203"/>
              <a:gd name="connsiteY1451" fmla="*/ 1208978 h 5092591"/>
              <a:gd name="connsiteX1452" fmla="*/ 3541772 w 4546203"/>
              <a:gd name="connsiteY1452" fmla="*/ 1239222 h 5092591"/>
              <a:gd name="connsiteX1453" fmla="*/ 3579976 w 4546203"/>
              <a:gd name="connsiteY1453" fmla="*/ 1208182 h 5092591"/>
              <a:gd name="connsiteX1454" fmla="*/ 3542568 w 4546203"/>
              <a:gd name="connsiteY1454" fmla="*/ 1173162 h 5092591"/>
              <a:gd name="connsiteX1455" fmla="*/ 1685724 w 4546203"/>
              <a:gd name="connsiteY1455" fmla="*/ 1172366 h 5092591"/>
              <a:gd name="connsiteX1456" fmla="*/ 1651501 w 4546203"/>
              <a:gd name="connsiteY1456" fmla="*/ 1187887 h 5092591"/>
              <a:gd name="connsiteX1457" fmla="*/ 1667021 w 4546203"/>
              <a:gd name="connsiteY1457" fmla="*/ 1221315 h 5092591"/>
              <a:gd name="connsiteX1458" fmla="*/ 1700449 w 4546203"/>
              <a:gd name="connsiteY1458" fmla="*/ 1206590 h 5092591"/>
              <a:gd name="connsiteX1459" fmla="*/ 1685724 w 4546203"/>
              <a:gd name="connsiteY1459" fmla="*/ 1172366 h 5092591"/>
              <a:gd name="connsiteX1460" fmla="*/ 1867190 w 4546203"/>
              <a:gd name="connsiteY1460" fmla="*/ 1166795 h 5092591"/>
              <a:gd name="connsiteX1461" fmla="*/ 1832569 w 4546203"/>
              <a:gd name="connsiteY1461" fmla="*/ 1176744 h 5092591"/>
              <a:gd name="connsiteX1462" fmla="*/ 1845701 w 4546203"/>
              <a:gd name="connsiteY1462" fmla="*/ 1213356 h 5092591"/>
              <a:gd name="connsiteX1463" fmla="*/ 1878333 w 4546203"/>
              <a:gd name="connsiteY1463" fmla="*/ 1202611 h 5092591"/>
              <a:gd name="connsiteX1464" fmla="*/ 1867190 w 4546203"/>
              <a:gd name="connsiteY1464" fmla="*/ 1166795 h 5092591"/>
              <a:gd name="connsiteX1465" fmla="*/ 1109888 w 4546203"/>
              <a:gd name="connsiteY1465" fmla="*/ 1158438 h 5092591"/>
              <a:gd name="connsiteX1466" fmla="*/ 1095164 w 4546203"/>
              <a:gd name="connsiteY1466" fmla="*/ 1169979 h 5092591"/>
              <a:gd name="connsiteX1467" fmla="*/ 1076062 w 4546203"/>
              <a:gd name="connsiteY1467" fmla="*/ 1186693 h 5092591"/>
              <a:gd name="connsiteX1468" fmla="*/ 1130582 w 4546203"/>
              <a:gd name="connsiteY1468" fmla="*/ 1183111 h 5092591"/>
              <a:gd name="connsiteX1469" fmla="*/ 1109888 w 4546203"/>
              <a:gd name="connsiteY1469" fmla="*/ 1158438 h 5092591"/>
              <a:gd name="connsiteX1470" fmla="*/ 1726713 w 4546203"/>
              <a:gd name="connsiteY1470" fmla="*/ 1155653 h 5092591"/>
              <a:gd name="connsiteX1471" fmla="*/ 1692092 w 4546203"/>
              <a:gd name="connsiteY1471" fmla="*/ 1170377 h 5092591"/>
              <a:gd name="connsiteX1472" fmla="*/ 1706816 w 4546203"/>
              <a:gd name="connsiteY1472" fmla="*/ 1204203 h 5092591"/>
              <a:gd name="connsiteX1473" fmla="*/ 1740642 w 4546203"/>
              <a:gd name="connsiteY1473" fmla="*/ 1190274 h 5092591"/>
              <a:gd name="connsiteX1474" fmla="*/ 1726713 w 4546203"/>
              <a:gd name="connsiteY1474" fmla="*/ 1155653 h 5092591"/>
              <a:gd name="connsiteX1475" fmla="*/ 2743481 w 4546203"/>
              <a:gd name="connsiteY1475" fmla="*/ 1149683 h 5092591"/>
              <a:gd name="connsiteX1476" fmla="*/ 2729552 w 4546203"/>
              <a:gd name="connsiteY1476" fmla="*/ 1192662 h 5092591"/>
              <a:gd name="connsiteX1477" fmla="*/ 2790837 w 4546203"/>
              <a:gd name="connsiteY1477" fmla="*/ 1214947 h 5092591"/>
              <a:gd name="connsiteX1478" fmla="*/ 2807153 w 4546203"/>
              <a:gd name="connsiteY1478" fmla="*/ 1172764 h 5092591"/>
              <a:gd name="connsiteX1479" fmla="*/ 2743481 w 4546203"/>
              <a:gd name="connsiteY1479" fmla="*/ 1149683 h 5092591"/>
              <a:gd name="connsiteX1480" fmla="*/ 3291062 w 4546203"/>
              <a:gd name="connsiteY1480" fmla="*/ 1149285 h 5092591"/>
              <a:gd name="connsiteX1481" fmla="*/ 3262410 w 4546203"/>
              <a:gd name="connsiteY1481" fmla="*/ 1188285 h 5092591"/>
              <a:gd name="connsiteX1482" fmla="*/ 3298624 w 4546203"/>
              <a:gd name="connsiteY1482" fmla="*/ 1215345 h 5092591"/>
              <a:gd name="connsiteX1483" fmla="*/ 3328072 w 4546203"/>
              <a:gd name="connsiteY1483" fmla="*/ 1176346 h 5092591"/>
              <a:gd name="connsiteX1484" fmla="*/ 3291062 w 4546203"/>
              <a:gd name="connsiteY1484" fmla="*/ 1149285 h 5092591"/>
              <a:gd name="connsiteX1485" fmla="*/ 1767305 w 4546203"/>
              <a:gd name="connsiteY1485" fmla="*/ 1139734 h 5092591"/>
              <a:gd name="connsiteX1486" fmla="*/ 1733081 w 4546203"/>
              <a:gd name="connsiteY1486" fmla="*/ 1154061 h 5092591"/>
              <a:gd name="connsiteX1487" fmla="*/ 1746611 w 4546203"/>
              <a:gd name="connsiteY1487" fmla="*/ 1187489 h 5092591"/>
              <a:gd name="connsiteX1488" fmla="*/ 1780835 w 4546203"/>
              <a:gd name="connsiteY1488" fmla="*/ 1174754 h 5092591"/>
              <a:gd name="connsiteX1489" fmla="*/ 1767305 w 4546203"/>
              <a:gd name="connsiteY1489" fmla="*/ 1139734 h 5092591"/>
              <a:gd name="connsiteX1490" fmla="*/ 3388561 w 4546203"/>
              <a:gd name="connsiteY1490" fmla="*/ 1133765 h 5092591"/>
              <a:gd name="connsiteX1491" fmla="*/ 3358316 w 4546203"/>
              <a:gd name="connsiteY1491" fmla="*/ 1171969 h 5092591"/>
              <a:gd name="connsiteX1492" fmla="*/ 3394530 w 4546203"/>
              <a:gd name="connsiteY1492" fmla="*/ 1201815 h 5092591"/>
              <a:gd name="connsiteX1493" fmla="*/ 3425968 w 4546203"/>
              <a:gd name="connsiteY1493" fmla="*/ 1164407 h 5092591"/>
              <a:gd name="connsiteX1494" fmla="*/ 3388561 w 4546203"/>
              <a:gd name="connsiteY1494" fmla="*/ 1133765 h 5092591"/>
              <a:gd name="connsiteX1495" fmla="*/ 1809487 w 4546203"/>
              <a:gd name="connsiteY1495" fmla="*/ 1126204 h 5092591"/>
              <a:gd name="connsiteX1496" fmla="*/ 1774070 w 4546203"/>
              <a:gd name="connsiteY1496" fmla="*/ 1138541 h 5092591"/>
              <a:gd name="connsiteX1497" fmla="*/ 1787600 w 4546203"/>
              <a:gd name="connsiteY1497" fmla="*/ 1173162 h 5092591"/>
              <a:gd name="connsiteX1498" fmla="*/ 1821028 w 4546203"/>
              <a:gd name="connsiteY1498" fmla="*/ 1161224 h 5092591"/>
              <a:gd name="connsiteX1499" fmla="*/ 1809487 w 4546203"/>
              <a:gd name="connsiteY1499" fmla="*/ 1126204 h 5092591"/>
              <a:gd name="connsiteX1500" fmla="*/ 1492320 w 4546203"/>
              <a:gd name="connsiteY1500" fmla="*/ 1125806 h 5092591"/>
              <a:gd name="connsiteX1501" fmla="*/ 1465657 w 4546203"/>
              <a:gd name="connsiteY1501" fmla="*/ 1141724 h 5092591"/>
              <a:gd name="connsiteX1502" fmla="*/ 1483963 w 4546203"/>
              <a:gd name="connsiteY1502" fmla="*/ 1172366 h 5092591"/>
              <a:gd name="connsiteX1503" fmla="*/ 1510626 w 4546203"/>
              <a:gd name="connsiteY1503" fmla="*/ 1157642 h 5092591"/>
              <a:gd name="connsiteX1504" fmla="*/ 1492320 w 4546203"/>
              <a:gd name="connsiteY1504" fmla="*/ 1125806 h 5092591"/>
              <a:gd name="connsiteX1505" fmla="*/ 3488049 w 4546203"/>
              <a:gd name="connsiteY1505" fmla="*/ 1124612 h 5092591"/>
              <a:gd name="connsiteX1506" fmla="*/ 3456611 w 4546203"/>
              <a:gd name="connsiteY1506" fmla="*/ 1161622 h 5092591"/>
              <a:gd name="connsiteX1507" fmla="*/ 3493620 w 4546203"/>
              <a:gd name="connsiteY1507" fmla="*/ 1193856 h 5092591"/>
              <a:gd name="connsiteX1508" fmla="*/ 3525854 w 4546203"/>
              <a:gd name="connsiteY1508" fmla="*/ 1156846 h 5092591"/>
              <a:gd name="connsiteX1509" fmla="*/ 3488049 w 4546203"/>
              <a:gd name="connsiteY1509" fmla="*/ 1124612 h 5092591"/>
              <a:gd name="connsiteX1510" fmla="*/ 1252355 w 4546203"/>
              <a:gd name="connsiteY1510" fmla="*/ 1122622 h 5092591"/>
              <a:gd name="connsiteX1511" fmla="*/ 1197437 w 4546203"/>
              <a:gd name="connsiteY1511" fmla="*/ 1162816 h 5092591"/>
              <a:gd name="connsiteX1512" fmla="*/ 1245988 w 4546203"/>
              <a:gd name="connsiteY1512" fmla="*/ 1219723 h 5092591"/>
              <a:gd name="connsiteX1513" fmla="*/ 1347465 w 4546203"/>
              <a:gd name="connsiteY1513" fmla="*/ 1261906 h 5092591"/>
              <a:gd name="connsiteX1514" fmla="*/ 1350649 w 4546203"/>
              <a:gd name="connsiteY1514" fmla="*/ 1259916 h 5092591"/>
              <a:gd name="connsiteX1515" fmla="*/ 1252355 w 4546203"/>
              <a:gd name="connsiteY1515" fmla="*/ 1122622 h 5092591"/>
              <a:gd name="connsiteX1516" fmla="*/ 2649962 w 4546203"/>
              <a:gd name="connsiteY1516" fmla="*/ 1121429 h 5092591"/>
              <a:gd name="connsiteX1517" fmla="*/ 2638819 w 4546203"/>
              <a:gd name="connsiteY1517" fmla="*/ 1165203 h 5092591"/>
              <a:gd name="connsiteX1518" fmla="*/ 2701298 w 4546203"/>
              <a:gd name="connsiteY1518" fmla="*/ 1182713 h 5092591"/>
              <a:gd name="connsiteX1519" fmla="*/ 2714828 w 4546203"/>
              <a:gd name="connsiteY1519" fmla="*/ 1140132 h 5092591"/>
              <a:gd name="connsiteX1520" fmla="*/ 2649962 w 4546203"/>
              <a:gd name="connsiteY1520" fmla="*/ 1121429 h 5092591"/>
              <a:gd name="connsiteX1521" fmla="*/ 3591118 w 4546203"/>
              <a:gd name="connsiteY1521" fmla="*/ 1119837 h 5092591"/>
              <a:gd name="connsiteX1522" fmla="*/ 3557292 w 4546203"/>
              <a:gd name="connsiteY1522" fmla="*/ 1156448 h 5092591"/>
              <a:gd name="connsiteX1523" fmla="*/ 3591118 w 4546203"/>
              <a:gd name="connsiteY1523" fmla="*/ 1187887 h 5092591"/>
              <a:gd name="connsiteX1524" fmla="*/ 3624944 w 4546203"/>
              <a:gd name="connsiteY1524" fmla="*/ 1158040 h 5092591"/>
              <a:gd name="connsiteX1525" fmla="*/ 3591118 w 4546203"/>
              <a:gd name="connsiteY1525" fmla="*/ 1119837 h 5092591"/>
              <a:gd name="connsiteX1526" fmla="*/ 1375322 w 4546203"/>
              <a:gd name="connsiteY1526" fmla="*/ 1116653 h 5092591"/>
              <a:gd name="connsiteX1527" fmla="*/ 1348261 w 4546203"/>
              <a:gd name="connsiteY1527" fmla="*/ 1134561 h 5092591"/>
              <a:gd name="connsiteX1528" fmla="*/ 1368159 w 4546203"/>
              <a:gd name="connsiteY1528" fmla="*/ 1164407 h 5092591"/>
              <a:gd name="connsiteX1529" fmla="*/ 1394822 w 4546203"/>
              <a:gd name="connsiteY1529" fmla="*/ 1147296 h 5092591"/>
              <a:gd name="connsiteX1530" fmla="*/ 1375322 w 4546203"/>
              <a:gd name="connsiteY1530" fmla="*/ 1116653 h 5092591"/>
              <a:gd name="connsiteX1531" fmla="*/ 1851272 w 4546203"/>
              <a:gd name="connsiteY1531" fmla="*/ 1113072 h 5092591"/>
              <a:gd name="connsiteX1532" fmla="*/ 1815855 w 4546203"/>
              <a:gd name="connsiteY1532" fmla="*/ 1124612 h 5092591"/>
              <a:gd name="connsiteX1533" fmla="*/ 1827395 w 4546203"/>
              <a:gd name="connsiteY1533" fmla="*/ 1159234 h 5092591"/>
              <a:gd name="connsiteX1534" fmla="*/ 1862017 w 4546203"/>
              <a:gd name="connsiteY1534" fmla="*/ 1148489 h 5092591"/>
              <a:gd name="connsiteX1535" fmla="*/ 1851272 w 4546203"/>
              <a:gd name="connsiteY1535" fmla="*/ 1113072 h 5092591"/>
              <a:gd name="connsiteX1536" fmla="*/ 1071287 w 4546203"/>
              <a:gd name="connsiteY1536" fmla="*/ 1112276 h 5092591"/>
              <a:gd name="connsiteX1537" fmla="*/ 1035471 w 4546203"/>
              <a:gd name="connsiteY1537" fmla="*/ 1143714 h 5092591"/>
              <a:gd name="connsiteX1538" fmla="*/ 1059348 w 4546203"/>
              <a:gd name="connsiteY1538" fmla="*/ 1170377 h 5092591"/>
              <a:gd name="connsiteX1539" fmla="*/ 1094368 w 4546203"/>
              <a:gd name="connsiteY1539" fmla="*/ 1140132 h 5092591"/>
              <a:gd name="connsiteX1540" fmla="*/ 1071287 w 4546203"/>
              <a:gd name="connsiteY1540" fmla="*/ 1112276 h 5092591"/>
              <a:gd name="connsiteX1541" fmla="*/ 1312445 w 4546203"/>
              <a:gd name="connsiteY1541" fmla="*/ 1100337 h 5092591"/>
              <a:gd name="connsiteX1542" fmla="*/ 1284987 w 4546203"/>
              <a:gd name="connsiteY1542" fmla="*/ 1119439 h 5092591"/>
              <a:gd name="connsiteX1543" fmla="*/ 1305680 w 4546203"/>
              <a:gd name="connsiteY1543" fmla="*/ 1148887 h 5092591"/>
              <a:gd name="connsiteX1544" fmla="*/ 1332741 w 4546203"/>
              <a:gd name="connsiteY1544" fmla="*/ 1130184 h 5092591"/>
              <a:gd name="connsiteX1545" fmla="*/ 1312445 w 4546203"/>
              <a:gd name="connsiteY1545" fmla="*/ 1100337 h 5092591"/>
              <a:gd name="connsiteX1546" fmla="*/ 3332847 w 4546203"/>
              <a:gd name="connsiteY1546" fmla="*/ 1091582 h 5092591"/>
              <a:gd name="connsiteX1547" fmla="*/ 3304195 w 4546203"/>
              <a:gd name="connsiteY1547" fmla="*/ 1131377 h 5092591"/>
              <a:gd name="connsiteX1548" fmla="*/ 3341602 w 4546203"/>
              <a:gd name="connsiteY1548" fmla="*/ 1159234 h 5092591"/>
              <a:gd name="connsiteX1549" fmla="*/ 3371449 w 4546203"/>
              <a:gd name="connsiteY1549" fmla="*/ 1120633 h 5092591"/>
              <a:gd name="connsiteX1550" fmla="*/ 3332847 w 4546203"/>
              <a:gd name="connsiteY1550" fmla="*/ 1091582 h 5092591"/>
              <a:gd name="connsiteX1551" fmla="*/ 1440188 w 4546203"/>
              <a:gd name="connsiteY1551" fmla="*/ 1078450 h 5092591"/>
              <a:gd name="connsiteX1552" fmla="*/ 1412331 w 4546203"/>
              <a:gd name="connsiteY1552" fmla="*/ 1094766 h 5092591"/>
              <a:gd name="connsiteX1553" fmla="*/ 1431433 w 4546203"/>
              <a:gd name="connsiteY1553" fmla="*/ 1125806 h 5092591"/>
              <a:gd name="connsiteX1554" fmla="*/ 1458494 w 4546203"/>
              <a:gd name="connsiteY1554" fmla="*/ 1109490 h 5092591"/>
              <a:gd name="connsiteX1555" fmla="*/ 1440188 w 4546203"/>
              <a:gd name="connsiteY1555" fmla="*/ 1078450 h 5092591"/>
              <a:gd name="connsiteX1556" fmla="*/ 3432335 w 4546203"/>
              <a:gd name="connsiteY1556" fmla="*/ 1078052 h 5092591"/>
              <a:gd name="connsiteX1557" fmla="*/ 3402489 w 4546203"/>
              <a:gd name="connsiteY1557" fmla="*/ 1116653 h 5092591"/>
              <a:gd name="connsiteX1558" fmla="*/ 3440294 w 4546203"/>
              <a:gd name="connsiteY1558" fmla="*/ 1147296 h 5092591"/>
              <a:gd name="connsiteX1559" fmla="*/ 3471335 w 4546203"/>
              <a:gd name="connsiteY1559" fmla="*/ 1109490 h 5092591"/>
              <a:gd name="connsiteX1560" fmla="*/ 3432335 w 4546203"/>
              <a:gd name="connsiteY1560" fmla="*/ 1078052 h 5092591"/>
              <a:gd name="connsiteX1561" fmla="*/ 1645929 w 4546203"/>
              <a:gd name="connsiteY1561" fmla="*/ 1078052 h 5092591"/>
              <a:gd name="connsiteX1562" fmla="*/ 1608920 w 4546203"/>
              <a:gd name="connsiteY1562" fmla="*/ 1094766 h 5092591"/>
              <a:gd name="connsiteX1563" fmla="*/ 1648317 w 4546203"/>
              <a:gd name="connsiteY1563" fmla="*/ 1180326 h 5092591"/>
              <a:gd name="connsiteX1564" fmla="*/ 1682939 w 4546203"/>
              <a:gd name="connsiteY1564" fmla="*/ 1164407 h 5092591"/>
              <a:gd name="connsiteX1565" fmla="*/ 1645929 w 4546203"/>
              <a:gd name="connsiteY1565" fmla="*/ 1078052 h 5092591"/>
              <a:gd name="connsiteX1566" fmla="*/ 3534609 w 4546203"/>
              <a:gd name="connsiteY1566" fmla="*/ 1071287 h 5092591"/>
              <a:gd name="connsiteX1567" fmla="*/ 3503171 w 4546203"/>
              <a:gd name="connsiteY1567" fmla="*/ 1107898 h 5092591"/>
              <a:gd name="connsiteX1568" fmla="*/ 3540976 w 4546203"/>
              <a:gd name="connsiteY1568" fmla="*/ 1142122 h 5092591"/>
              <a:gd name="connsiteX1569" fmla="*/ 3573608 w 4546203"/>
              <a:gd name="connsiteY1569" fmla="*/ 1105113 h 5092591"/>
              <a:gd name="connsiteX1570" fmla="*/ 3534609 w 4546203"/>
              <a:gd name="connsiteY1570" fmla="*/ 1071287 h 5092591"/>
              <a:gd name="connsiteX1571" fmla="*/ 3639270 w 4546203"/>
              <a:gd name="connsiteY1571" fmla="*/ 1068899 h 5092591"/>
              <a:gd name="connsiteX1572" fmla="*/ 3605843 w 4546203"/>
              <a:gd name="connsiteY1572" fmla="*/ 1104715 h 5092591"/>
              <a:gd name="connsiteX1573" fmla="*/ 3642056 w 4546203"/>
              <a:gd name="connsiteY1573" fmla="*/ 1138541 h 5092591"/>
              <a:gd name="connsiteX1574" fmla="*/ 3677474 w 4546203"/>
              <a:gd name="connsiteY1574" fmla="*/ 1105113 h 5092591"/>
              <a:gd name="connsiteX1575" fmla="*/ 3639270 w 4546203"/>
              <a:gd name="connsiteY1575" fmla="*/ 1068899 h 5092591"/>
              <a:gd name="connsiteX1576" fmla="*/ 1561961 w 4546203"/>
              <a:gd name="connsiteY1576" fmla="*/ 1068103 h 5092591"/>
              <a:gd name="connsiteX1577" fmla="*/ 1505054 w 4546203"/>
              <a:gd name="connsiteY1577" fmla="*/ 1097154 h 5092591"/>
              <a:gd name="connsiteX1578" fmla="*/ 1555594 w 4546203"/>
              <a:gd name="connsiteY1578" fmla="*/ 1192662 h 5092591"/>
              <a:gd name="connsiteX1579" fmla="*/ 1608920 w 4546203"/>
              <a:gd name="connsiteY1579" fmla="*/ 1165601 h 5092591"/>
              <a:gd name="connsiteX1580" fmla="*/ 1561961 w 4546203"/>
              <a:gd name="connsiteY1580" fmla="*/ 1068103 h 5092591"/>
              <a:gd name="connsiteX1581" fmla="*/ 2885151 w 4546203"/>
              <a:gd name="connsiteY1581" fmla="*/ 1063328 h 5092591"/>
              <a:gd name="connsiteX1582" fmla="*/ 2868040 w 4546203"/>
              <a:gd name="connsiteY1582" fmla="*/ 1104715 h 5092591"/>
              <a:gd name="connsiteX1583" fmla="*/ 2932906 w 4546203"/>
              <a:gd name="connsiteY1583" fmla="*/ 1133765 h 5092591"/>
              <a:gd name="connsiteX1584" fmla="*/ 2952803 w 4546203"/>
              <a:gd name="connsiteY1584" fmla="*/ 1092776 h 5092591"/>
              <a:gd name="connsiteX1585" fmla="*/ 2885151 w 4546203"/>
              <a:gd name="connsiteY1585" fmla="*/ 1063328 h 5092591"/>
              <a:gd name="connsiteX1586" fmla="*/ 1689704 w 4546203"/>
              <a:gd name="connsiteY1586" fmla="*/ 1060144 h 5092591"/>
              <a:gd name="connsiteX1587" fmla="*/ 1652296 w 4546203"/>
              <a:gd name="connsiteY1587" fmla="*/ 1075664 h 5092591"/>
              <a:gd name="connsiteX1588" fmla="*/ 1689306 w 4546203"/>
              <a:gd name="connsiteY1588" fmla="*/ 1162418 h 5092591"/>
              <a:gd name="connsiteX1589" fmla="*/ 1723928 w 4546203"/>
              <a:gd name="connsiteY1589" fmla="*/ 1147694 h 5092591"/>
              <a:gd name="connsiteX1590" fmla="*/ 1689704 w 4546203"/>
              <a:gd name="connsiteY1590" fmla="*/ 1060144 h 5092591"/>
              <a:gd name="connsiteX1591" fmla="*/ 2666278 w 4546203"/>
              <a:gd name="connsiteY1591" fmla="*/ 1058552 h 5092591"/>
              <a:gd name="connsiteX1592" fmla="*/ 2655135 w 4546203"/>
              <a:gd name="connsiteY1592" fmla="*/ 1101929 h 5092591"/>
              <a:gd name="connsiteX1593" fmla="*/ 2720797 w 4546203"/>
              <a:gd name="connsiteY1593" fmla="*/ 1120633 h 5092591"/>
              <a:gd name="connsiteX1594" fmla="*/ 2734328 w 4546203"/>
              <a:gd name="connsiteY1594" fmla="*/ 1077654 h 5092591"/>
              <a:gd name="connsiteX1595" fmla="*/ 2666278 w 4546203"/>
              <a:gd name="connsiteY1595" fmla="*/ 1058552 h 5092591"/>
              <a:gd name="connsiteX1596" fmla="*/ 1385271 w 4546203"/>
              <a:gd name="connsiteY1596" fmla="*/ 1054175 h 5092591"/>
              <a:gd name="connsiteX1597" fmla="*/ 1357414 w 4546203"/>
              <a:gd name="connsiteY1597" fmla="*/ 1072083 h 5092591"/>
              <a:gd name="connsiteX1598" fmla="*/ 1376516 w 4546203"/>
              <a:gd name="connsiteY1598" fmla="*/ 1102725 h 5092591"/>
              <a:gd name="connsiteX1599" fmla="*/ 1404372 w 4546203"/>
              <a:gd name="connsiteY1599" fmla="*/ 1085215 h 5092591"/>
              <a:gd name="connsiteX1600" fmla="*/ 1385271 w 4546203"/>
              <a:gd name="connsiteY1600" fmla="*/ 1054175 h 5092591"/>
              <a:gd name="connsiteX1601" fmla="*/ 2051840 w 4546203"/>
              <a:gd name="connsiteY1601" fmla="*/ 1052185 h 5092591"/>
              <a:gd name="connsiteX1602" fmla="*/ 2018014 w 4546203"/>
              <a:gd name="connsiteY1602" fmla="*/ 1056563 h 5092591"/>
              <a:gd name="connsiteX1603" fmla="*/ 2024779 w 4546203"/>
              <a:gd name="connsiteY1603" fmla="*/ 1097950 h 5092591"/>
              <a:gd name="connsiteX1604" fmla="*/ 2057810 w 4546203"/>
              <a:gd name="connsiteY1604" fmla="*/ 1092378 h 5092591"/>
              <a:gd name="connsiteX1605" fmla="*/ 2051840 w 4546203"/>
              <a:gd name="connsiteY1605" fmla="*/ 1052185 h 5092591"/>
              <a:gd name="connsiteX1606" fmla="*/ 1627623 w 4546203"/>
              <a:gd name="connsiteY1606" fmla="*/ 1036665 h 5092591"/>
              <a:gd name="connsiteX1607" fmla="*/ 1590216 w 4546203"/>
              <a:gd name="connsiteY1607" fmla="*/ 1054573 h 5092591"/>
              <a:gd name="connsiteX1608" fmla="*/ 1606134 w 4546203"/>
              <a:gd name="connsiteY1608" fmla="*/ 1087205 h 5092591"/>
              <a:gd name="connsiteX1609" fmla="*/ 1642746 w 4546203"/>
              <a:gd name="connsiteY1609" fmla="*/ 1070889 h 5092591"/>
              <a:gd name="connsiteX1610" fmla="*/ 1627623 w 4546203"/>
              <a:gd name="connsiteY1610" fmla="*/ 1036665 h 5092591"/>
              <a:gd name="connsiteX1611" fmla="*/ 2566790 w 4546203"/>
              <a:gd name="connsiteY1611" fmla="*/ 1035073 h 5092591"/>
              <a:gd name="connsiteX1612" fmla="*/ 2559627 w 4546203"/>
              <a:gd name="connsiteY1612" fmla="*/ 1079644 h 5092591"/>
              <a:gd name="connsiteX1613" fmla="*/ 2625687 w 4546203"/>
              <a:gd name="connsiteY1613" fmla="*/ 1093970 h 5092591"/>
              <a:gd name="connsiteX1614" fmla="*/ 2636432 w 4546203"/>
              <a:gd name="connsiteY1614" fmla="*/ 1050195 h 5092591"/>
              <a:gd name="connsiteX1615" fmla="*/ 2566790 w 4546203"/>
              <a:gd name="connsiteY1615" fmla="*/ 1035073 h 5092591"/>
              <a:gd name="connsiteX1616" fmla="*/ 3375030 w 4546203"/>
              <a:gd name="connsiteY1616" fmla="*/ 1034277 h 5092591"/>
              <a:gd name="connsiteX1617" fmla="*/ 3346378 w 4546203"/>
              <a:gd name="connsiteY1617" fmla="*/ 1074072 h 5092591"/>
              <a:gd name="connsiteX1618" fmla="*/ 3384979 w 4546203"/>
              <a:gd name="connsiteY1618" fmla="*/ 1103123 h 5092591"/>
              <a:gd name="connsiteX1619" fmla="*/ 3414826 w 4546203"/>
              <a:gd name="connsiteY1619" fmla="*/ 1064124 h 5092591"/>
              <a:gd name="connsiteX1620" fmla="*/ 3375030 w 4546203"/>
              <a:gd name="connsiteY1620" fmla="*/ 1034277 h 5092591"/>
              <a:gd name="connsiteX1621" fmla="*/ 1778447 w 4546203"/>
              <a:gd name="connsiteY1621" fmla="*/ 1029104 h 5092591"/>
              <a:gd name="connsiteX1622" fmla="*/ 1740244 w 4546203"/>
              <a:gd name="connsiteY1622" fmla="*/ 1041838 h 5092591"/>
              <a:gd name="connsiteX1623" fmla="*/ 1771682 w 4546203"/>
              <a:gd name="connsiteY1623" fmla="*/ 1130582 h 5092591"/>
              <a:gd name="connsiteX1624" fmla="*/ 1807498 w 4546203"/>
              <a:gd name="connsiteY1624" fmla="*/ 1118643 h 5092591"/>
              <a:gd name="connsiteX1625" fmla="*/ 1778447 w 4546203"/>
              <a:gd name="connsiteY1625" fmla="*/ 1029104 h 5092591"/>
              <a:gd name="connsiteX1626" fmla="*/ 3199932 w 4546203"/>
              <a:gd name="connsiteY1626" fmla="*/ 1025522 h 5092591"/>
              <a:gd name="connsiteX1627" fmla="*/ 3188789 w 4546203"/>
              <a:gd name="connsiteY1627" fmla="*/ 1044624 h 5092591"/>
              <a:gd name="connsiteX1628" fmla="*/ 3272757 w 4546203"/>
              <a:gd name="connsiteY1628" fmla="*/ 1099541 h 5092591"/>
              <a:gd name="connsiteX1629" fmla="*/ 3285491 w 4546203"/>
              <a:gd name="connsiteY1629" fmla="*/ 1081633 h 5092591"/>
              <a:gd name="connsiteX1630" fmla="*/ 3199932 w 4546203"/>
              <a:gd name="connsiteY1630" fmla="*/ 1025522 h 5092591"/>
              <a:gd name="connsiteX1631" fmla="*/ 2785664 w 4546203"/>
              <a:gd name="connsiteY1631" fmla="*/ 1025522 h 5092591"/>
              <a:gd name="connsiteX1632" fmla="*/ 2770939 w 4546203"/>
              <a:gd name="connsiteY1632" fmla="*/ 1068103 h 5092591"/>
              <a:gd name="connsiteX1633" fmla="*/ 2838193 w 4546203"/>
              <a:gd name="connsiteY1633" fmla="*/ 1092378 h 5092591"/>
              <a:gd name="connsiteX1634" fmla="*/ 2854509 w 4546203"/>
              <a:gd name="connsiteY1634" fmla="*/ 1050593 h 5092591"/>
              <a:gd name="connsiteX1635" fmla="*/ 2785664 w 4546203"/>
              <a:gd name="connsiteY1635" fmla="*/ 1025522 h 5092591"/>
              <a:gd name="connsiteX1636" fmla="*/ 1934444 w 4546203"/>
              <a:gd name="connsiteY1636" fmla="*/ 1023930 h 5092591"/>
              <a:gd name="connsiteX1637" fmla="*/ 1900221 w 4546203"/>
              <a:gd name="connsiteY1637" fmla="*/ 1031889 h 5092591"/>
              <a:gd name="connsiteX1638" fmla="*/ 1910169 w 4546203"/>
              <a:gd name="connsiteY1638" fmla="*/ 1072481 h 5092591"/>
              <a:gd name="connsiteX1639" fmla="*/ 1944393 w 4546203"/>
              <a:gd name="connsiteY1639" fmla="*/ 1064522 h 5092591"/>
              <a:gd name="connsiteX1640" fmla="*/ 1934444 w 4546203"/>
              <a:gd name="connsiteY1640" fmla="*/ 1023930 h 5092591"/>
              <a:gd name="connsiteX1641" fmla="*/ 3476906 w 4546203"/>
              <a:gd name="connsiteY1641" fmla="*/ 1023134 h 5092591"/>
              <a:gd name="connsiteX1642" fmla="*/ 3446264 w 4546203"/>
              <a:gd name="connsiteY1642" fmla="*/ 1061338 h 5092591"/>
              <a:gd name="connsiteX1643" fmla="*/ 3485661 w 4546203"/>
              <a:gd name="connsiteY1643" fmla="*/ 1093174 h 5092591"/>
              <a:gd name="connsiteX1644" fmla="*/ 3517099 w 4546203"/>
              <a:gd name="connsiteY1644" fmla="*/ 1055767 h 5092591"/>
              <a:gd name="connsiteX1645" fmla="*/ 3476906 w 4546203"/>
              <a:gd name="connsiteY1645" fmla="*/ 1023134 h 5092591"/>
              <a:gd name="connsiteX1646" fmla="*/ 1672592 w 4546203"/>
              <a:gd name="connsiteY1646" fmla="*/ 1018757 h 5092591"/>
              <a:gd name="connsiteX1647" fmla="*/ 1634787 w 4546203"/>
              <a:gd name="connsiteY1647" fmla="*/ 1034675 h 5092591"/>
              <a:gd name="connsiteX1648" fmla="*/ 1649113 w 4546203"/>
              <a:gd name="connsiteY1648" fmla="*/ 1068103 h 5092591"/>
              <a:gd name="connsiteX1649" fmla="*/ 1686520 w 4546203"/>
              <a:gd name="connsiteY1649" fmla="*/ 1052981 h 5092591"/>
              <a:gd name="connsiteX1650" fmla="*/ 1672592 w 4546203"/>
              <a:gd name="connsiteY1650" fmla="*/ 1018757 h 5092591"/>
              <a:gd name="connsiteX1651" fmla="*/ 2384130 w 4546203"/>
              <a:gd name="connsiteY1651" fmla="*/ 1017961 h 5092591"/>
              <a:gd name="connsiteX1652" fmla="*/ 2380549 w 4546203"/>
              <a:gd name="connsiteY1652" fmla="*/ 1082031 h 5092591"/>
              <a:gd name="connsiteX1653" fmla="*/ 2430691 w 4546203"/>
              <a:gd name="connsiteY1653" fmla="*/ 1086409 h 5092591"/>
              <a:gd name="connsiteX1654" fmla="*/ 2437456 w 4546203"/>
              <a:gd name="connsiteY1654" fmla="*/ 1023532 h 5092591"/>
              <a:gd name="connsiteX1655" fmla="*/ 2384130 w 4546203"/>
              <a:gd name="connsiteY1655" fmla="*/ 1017961 h 5092591"/>
              <a:gd name="connsiteX1656" fmla="*/ 3580772 w 4546203"/>
              <a:gd name="connsiteY1656" fmla="*/ 1016767 h 5092591"/>
              <a:gd name="connsiteX1657" fmla="*/ 3548936 w 4546203"/>
              <a:gd name="connsiteY1657" fmla="*/ 1054175 h 5092591"/>
              <a:gd name="connsiteX1658" fmla="*/ 3588333 w 4546203"/>
              <a:gd name="connsiteY1658" fmla="*/ 1088797 h 5092591"/>
              <a:gd name="connsiteX1659" fmla="*/ 3620965 w 4546203"/>
              <a:gd name="connsiteY1659" fmla="*/ 1052185 h 5092591"/>
              <a:gd name="connsiteX1660" fmla="*/ 3580772 w 4546203"/>
              <a:gd name="connsiteY1660" fmla="*/ 1016767 h 5092591"/>
              <a:gd name="connsiteX1661" fmla="*/ 2205450 w 4546203"/>
              <a:gd name="connsiteY1661" fmla="*/ 1015175 h 5092591"/>
              <a:gd name="connsiteX1662" fmla="*/ 2152124 w 4546203"/>
              <a:gd name="connsiteY1662" fmla="*/ 1018757 h 5092591"/>
              <a:gd name="connsiteX1663" fmla="*/ 2156899 w 4546203"/>
              <a:gd name="connsiteY1663" fmla="*/ 1082031 h 5092591"/>
              <a:gd name="connsiteX1664" fmla="*/ 2205450 w 4546203"/>
              <a:gd name="connsiteY1664" fmla="*/ 1078848 h 5092591"/>
              <a:gd name="connsiteX1665" fmla="*/ 2205450 w 4546203"/>
              <a:gd name="connsiteY1665" fmla="*/ 1015175 h 5092591"/>
              <a:gd name="connsiteX1666" fmla="*/ 1823018 w 4546203"/>
              <a:gd name="connsiteY1666" fmla="*/ 1015175 h 5092591"/>
              <a:gd name="connsiteX1667" fmla="*/ 1784417 w 4546203"/>
              <a:gd name="connsiteY1667" fmla="*/ 1027512 h 5092591"/>
              <a:gd name="connsiteX1668" fmla="*/ 1813467 w 4546203"/>
              <a:gd name="connsiteY1668" fmla="*/ 1116653 h 5092591"/>
              <a:gd name="connsiteX1669" fmla="*/ 1849681 w 4546203"/>
              <a:gd name="connsiteY1669" fmla="*/ 1105511 h 5092591"/>
              <a:gd name="connsiteX1670" fmla="*/ 1823018 w 4546203"/>
              <a:gd name="connsiteY1670" fmla="*/ 1015175 h 5092591"/>
              <a:gd name="connsiteX1671" fmla="*/ 2306927 w 4546203"/>
              <a:gd name="connsiteY1671" fmla="*/ 1014380 h 5092591"/>
              <a:gd name="connsiteX1672" fmla="*/ 2306927 w 4546203"/>
              <a:gd name="connsiteY1672" fmla="*/ 1077654 h 5092591"/>
              <a:gd name="connsiteX1673" fmla="*/ 2356274 w 4546203"/>
              <a:gd name="connsiteY1673" fmla="*/ 1080042 h 5092591"/>
              <a:gd name="connsiteX1674" fmla="*/ 2360253 w 4546203"/>
              <a:gd name="connsiteY1674" fmla="*/ 1016767 h 5092591"/>
              <a:gd name="connsiteX1675" fmla="*/ 2306927 w 4546203"/>
              <a:gd name="connsiteY1675" fmla="*/ 1014380 h 5092591"/>
              <a:gd name="connsiteX1676" fmla="*/ 1718356 w 4546203"/>
              <a:gd name="connsiteY1676" fmla="*/ 1001645 h 5092591"/>
              <a:gd name="connsiteX1677" fmla="*/ 1679755 w 4546203"/>
              <a:gd name="connsiteY1677" fmla="*/ 1016369 h 5092591"/>
              <a:gd name="connsiteX1678" fmla="*/ 1692888 w 4546203"/>
              <a:gd name="connsiteY1678" fmla="*/ 1050991 h 5092591"/>
              <a:gd name="connsiteX1679" fmla="*/ 1730693 w 4546203"/>
              <a:gd name="connsiteY1679" fmla="*/ 1036267 h 5092591"/>
              <a:gd name="connsiteX1680" fmla="*/ 1718356 w 4546203"/>
              <a:gd name="connsiteY1680" fmla="*/ 1001645 h 5092591"/>
              <a:gd name="connsiteX1681" fmla="*/ 2476057 w 4546203"/>
              <a:gd name="connsiteY1681" fmla="*/ 995676 h 5092591"/>
              <a:gd name="connsiteX1682" fmla="*/ 2453374 w 4546203"/>
              <a:gd name="connsiteY1682" fmla="*/ 1167193 h 5092591"/>
              <a:gd name="connsiteX1683" fmla="*/ 2507495 w 4546203"/>
              <a:gd name="connsiteY1683" fmla="*/ 1175152 h 5092591"/>
              <a:gd name="connsiteX1684" fmla="*/ 2536944 w 4546203"/>
              <a:gd name="connsiteY1684" fmla="*/ 1004431 h 5092591"/>
              <a:gd name="connsiteX1685" fmla="*/ 2476057 w 4546203"/>
              <a:gd name="connsiteY1685" fmla="*/ 995676 h 5092591"/>
              <a:gd name="connsiteX1686" fmla="*/ 1044226 w 4546203"/>
              <a:gd name="connsiteY1686" fmla="*/ 994084 h 5092591"/>
              <a:gd name="connsiteX1687" fmla="*/ 1006022 w 4546203"/>
              <a:gd name="connsiteY1687" fmla="*/ 1026318 h 5092591"/>
              <a:gd name="connsiteX1688" fmla="*/ 1027114 w 4546203"/>
              <a:gd name="connsiteY1688" fmla="*/ 1051787 h 5092591"/>
              <a:gd name="connsiteX1689" fmla="*/ 1065317 w 4546203"/>
              <a:gd name="connsiteY1689" fmla="*/ 1020747 h 5092591"/>
              <a:gd name="connsiteX1690" fmla="*/ 1044226 w 4546203"/>
              <a:gd name="connsiteY1690" fmla="*/ 994084 h 5092591"/>
              <a:gd name="connsiteX1691" fmla="*/ 1764519 w 4546203"/>
              <a:gd name="connsiteY1691" fmla="*/ 985727 h 5092591"/>
              <a:gd name="connsiteX1692" fmla="*/ 1725122 w 4546203"/>
              <a:gd name="connsiteY1692" fmla="*/ 999257 h 5092591"/>
              <a:gd name="connsiteX1693" fmla="*/ 1737856 w 4546203"/>
              <a:gd name="connsiteY1693" fmla="*/ 1034277 h 5092591"/>
              <a:gd name="connsiteX1694" fmla="*/ 1776059 w 4546203"/>
              <a:gd name="connsiteY1694" fmla="*/ 1020349 h 5092591"/>
              <a:gd name="connsiteX1695" fmla="*/ 1764519 w 4546203"/>
              <a:gd name="connsiteY1695" fmla="*/ 985727 h 5092591"/>
              <a:gd name="connsiteX1696" fmla="*/ 1606134 w 4546203"/>
              <a:gd name="connsiteY1696" fmla="*/ 984931 h 5092591"/>
              <a:gd name="connsiteX1697" fmla="*/ 1567135 w 4546203"/>
              <a:gd name="connsiteY1697" fmla="*/ 1002043 h 5092591"/>
              <a:gd name="connsiteX1698" fmla="*/ 1583053 w 4546203"/>
              <a:gd name="connsiteY1698" fmla="*/ 1036665 h 5092591"/>
              <a:gd name="connsiteX1699" fmla="*/ 1621256 w 4546203"/>
              <a:gd name="connsiteY1699" fmla="*/ 1019951 h 5092591"/>
              <a:gd name="connsiteX1700" fmla="*/ 1606134 w 4546203"/>
              <a:gd name="connsiteY1700" fmla="*/ 984931 h 5092591"/>
              <a:gd name="connsiteX1701" fmla="*/ 3416815 w 4546203"/>
              <a:gd name="connsiteY1701" fmla="*/ 976972 h 5092591"/>
              <a:gd name="connsiteX1702" fmla="*/ 3388561 w 4546203"/>
              <a:gd name="connsiteY1702" fmla="*/ 1016767 h 5092591"/>
              <a:gd name="connsiteX1703" fmla="*/ 3428754 w 4546203"/>
              <a:gd name="connsiteY1703" fmla="*/ 1047012 h 5092591"/>
              <a:gd name="connsiteX1704" fmla="*/ 3458600 w 4546203"/>
              <a:gd name="connsiteY1704" fmla="*/ 1008410 h 5092591"/>
              <a:gd name="connsiteX1705" fmla="*/ 3416815 w 4546203"/>
              <a:gd name="connsiteY1705" fmla="*/ 976972 h 5092591"/>
              <a:gd name="connsiteX1706" fmla="*/ 1810681 w 4546203"/>
              <a:gd name="connsiteY1706" fmla="*/ 971799 h 5092591"/>
              <a:gd name="connsiteX1707" fmla="*/ 1771682 w 4546203"/>
              <a:gd name="connsiteY1707" fmla="*/ 984135 h 5092591"/>
              <a:gd name="connsiteX1708" fmla="*/ 1782825 w 4546203"/>
              <a:gd name="connsiteY1708" fmla="*/ 1018757 h 5092591"/>
              <a:gd name="connsiteX1709" fmla="*/ 1821426 w 4546203"/>
              <a:gd name="connsiteY1709" fmla="*/ 1007216 h 5092591"/>
              <a:gd name="connsiteX1710" fmla="*/ 1810681 w 4546203"/>
              <a:gd name="connsiteY1710" fmla="*/ 971799 h 5092591"/>
              <a:gd name="connsiteX1711" fmla="*/ 3520681 w 4546203"/>
              <a:gd name="connsiteY1711" fmla="*/ 967023 h 5092591"/>
              <a:gd name="connsiteX1712" fmla="*/ 3490437 w 4546203"/>
              <a:gd name="connsiteY1712" fmla="*/ 1005227 h 5092591"/>
              <a:gd name="connsiteX1713" fmla="*/ 3531426 w 4546203"/>
              <a:gd name="connsiteY1713" fmla="*/ 1038655 h 5092591"/>
              <a:gd name="connsiteX1714" fmla="*/ 3562466 w 4546203"/>
              <a:gd name="connsiteY1714" fmla="*/ 1000849 h 5092591"/>
              <a:gd name="connsiteX1715" fmla="*/ 3520681 w 4546203"/>
              <a:gd name="connsiteY1715" fmla="*/ 967023 h 5092591"/>
              <a:gd name="connsiteX1716" fmla="*/ 1652296 w 4546203"/>
              <a:gd name="connsiteY1716" fmla="*/ 965034 h 5092591"/>
              <a:gd name="connsiteX1717" fmla="*/ 1612899 w 4546203"/>
              <a:gd name="connsiteY1717" fmla="*/ 982145 h 5092591"/>
              <a:gd name="connsiteX1718" fmla="*/ 1628419 w 4546203"/>
              <a:gd name="connsiteY1718" fmla="*/ 1017165 h 5092591"/>
              <a:gd name="connsiteX1719" fmla="*/ 1666623 w 4546203"/>
              <a:gd name="connsiteY1719" fmla="*/ 1000849 h 5092591"/>
              <a:gd name="connsiteX1720" fmla="*/ 1652296 w 4546203"/>
              <a:gd name="connsiteY1720" fmla="*/ 965034 h 5092591"/>
              <a:gd name="connsiteX1721" fmla="*/ 1699255 w 4546203"/>
              <a:gd name="connsiteY1721" fmla="*/ 947922 h 5092591"/>
              <a:gd name="connsiteX1722" fmla="*/ 1659460 w 4546203"/>
              <a:gd name="connsiteY1722" fmla="*/ 963044 h 5092591"/>
              <a:gd name="connsiteX1723" fmla="*/ 1673388 w 4546203"/>
              <a:gd name="connsiteY1723" fmla="*/ 998859 h 5092591"/>
              <a:gd name="connsiteX1724" fmla="*/ 1712387 w 4546203"/>
              <a:gd name="connsiteY1724" fmla="*/ 984135 h 5092591"/>
              <a:gd name="connsiteX1725" fmla="*/ 1699255 w 4546203"/>
              <a:gd name="connsiteY1725" fmla="*/ 947922 h 5092591"/>
              <a:gd name="connsiteX1726" fmla="*/ 1006818 w 4546203"/>
              <a:gd name="connsiteY1726" fmla="*/ 947126 h 5092591"/>
              <a:gd name="connsiteX1727" fmla="*/ 967421 w 4546203"/>
              <a:gd name="connsiteY1727" fmla="*/ 979758 h 5092591"/>
              <a:gd name="connsiteX1728" fmla="*/ 991298 w 4546203"/>
              <a:gd name="connsiteY1728" fmla="*/ 1008410 h 5092591"/>
              <a:gd name="connsiteX1729" fmla="*/ 1030298 w 4546203"/>
              <a:gd name="connsiteY1729" fmla="*/ 976176 h 5092591"/>
              <a:gd name="connsiteX1730" fmla="*/ 1006818 w 4546203"/>
              <a:gd name="connsiteY1730" fmla="*/ 947126 h 5092591"/>
              <a:gd name="connsiteX1731" fmla="*/ 2055422 w 4546203"/>
              <a:gd name="connsiteY1731" fmla="*/ 944738 h 5092591"/>
              <a:gd name="connsiteX1732" fmla="*/ 2018810 w 4546203"/>
              <a:gd name="connsiteY1732" fmla="*/ 951105 h 5092591"/>
              <a:gd name="connsiteX1733" fmla="*/ 2025177 w 4546203"/>
              <a:gd name="connsiteY1733" fmla="*/ 991298 h 5092591"/>
              <a:gd name="connsiteX1734" fmla="*/ 2060595 w 4546203"/>
              <a:gd name="connsiteY1734" fmla="*/ 986523 h 5092591"/>
              <a:gd name="connsiteX1735" fmla="*/ 2055422 w 4546203"/>
              <a:gd name="connsiteY1735" fmla="*/ 944738 h 5092591"/>
              <a:gd name="connsiteX1736" fmla="*/ 2935294 w 4546203"/>
              <a:gd name="connsiteY1736" fmla="*/ 942350 h 5092591"/>
              <a:gd name="connsiteX1737" fmla="*/ 2917784 w 4546203"/>
              <a:gd name="connsiteY1737" fmla="*/ 984135 h 5092591"/>
              <a:gd name="connsiteX1738" fmla="*/ 2989017 w 4546203"/>
              <a:gd name="connsiteY1738" fmla="*/ 1015175 h 5092591"/>
              <a:gd name="connsiteX1739" fmla="*/ 3008119 w 4546203"/>
              <a:gd name="connsiteY1739" fmla="*/ 974982 h 5092591"/>
              <a:gd name="connsiteX1740" fmla="*/ 2935294 w 4546203"/>
              <a:gd name="connsiteY1740" fmla="*/ 942350 h 5092591"/>
              <a:gd name="connsiteX1741" fmla="*/ 2700502 w 4546203"/>
              <a:gd name="connsiteY1741" fmla="*/ 931606 h 5092591"/>
              <a:gd name="connsiteX1742" fmla="*/ 2688961 w 4546203"/>
              <a:gd name="connsiteY1742" fmla="*/ 975380 h 5092591"/>
              <a:gd name="connsiteX1743" fmla="*/ 2760593 w 4546203"/>
              <a:gd name="connsiteY1743" fmla="*/ 995676 h 5092591"/>
              <a:gd name="connsiteX1744" fmla="*/ 2773327 w 4546203"/>
              <a:gd name="connsiteY1744" fmla="*/ 953095 h 5092591"/>
              <a:gd name="connsiteX1745" fmla="*/ 2700502 w 4546203"/>
              <a:gd name="connsiteY1745" fmla="*/ 931606 h 5092591"/>
              <a:gd name="connsiteX1746" fmla="*/ 1747009 w 4546203"/>
              <a:gd name="connsiteY1746" fmla="*/ 931606 h 5092591"/>
              <a:gd name="connsiteX1747" fmla="*/ 1706418 w 4546203"/>
              <a:gd name="connsiteY1747" fmla="*/ 945534 h 5092591"/>
              <a:gd name="connsiteX1748" fmla="*/ 1719550 w 4546203"/>
              <a:gd name="connsiteY1748" fmla="*/ 981747 h 5092591"/>
              <a:gd name="connsiteX1749" fmla="*/ 1758948 w 4546203"/>
              <a:gd name="connsiteY1749" fmla="*/ 968217 h 5092591"/>
              <a:gd name="connsiteX1750" fmla="*/ 1747009 w 4546203"/>
              <a:gd name="connsiteY1750" fmla="*/ 931606 h 5092591"/>
              <a:gd name="connsiteX1751" fmla="*/ 2309713 w 4546203"/>
              <a:gd name="connsiteY1751" fmla="*/ 924442 h 5092591"/>
              <a:gd name="connsiteX1752" fmla="*/ 2309713 w 4546203"/>
              <a:gd name="connsiteY1752" fmla="*/ 985329 h 5092591"/>
              <a:gd name="connsiteX1753" fmla="*/ 2362243 w 4546203"/>
              <a:gd name="connsiteY1753" fmla="*/ 987717 h 5092591"/>
              <a:gd name="connsiteX1754" fmla="*/ 2365824 w 4546203"/>
              <a:gd name="connsiteY1754" fmla="*/ 924442 h 5092591"/>
              <a:gd name="connsiteX1755" fmla="*/ 2309713 w 4546203"/>
              <a:gd name="connsiteY1755" fmla="*/ 924442 h 5092591"/>
              <a:gd name="connsiteX1756" fmla="*/ 2228531 w 4546203"/>
              <a:gd name="connsiteY1756" fmla="*/ 923647 h 5092591"/>
              <a:gd name="connsiteX1757" fmla="*/ 2228531 w 4546203"/>
              <a:gd name="connsiteY1757" fmla="*/ 984533 h 5092591"/>
              <a:gd name="connsiteX1758" fmla="*/ 2282254 w 4546203"/>
              <a:gd name="connsiteY1758" fmla="*/ 984533 h 5092591"/>
              <a:gd name="connsiteX1759" fmla="*/ 2282254 w 4546203"/>
              <a:gd name="connsiteY1759" fmla="*/ 923647 h 5092591"/>
              <a:gd name="connsiteX1760" fmla="*/ 2228531 w 4546203"/>
              <a:gd name="connsiteY1760" fmla="*/ 923647 h 5092591"/>
              <a:gd name="connsiteX1761" fmla="*/ 2201470 w 4546203"/>
              <a:gd name="connsiteY1761" fmla="*/ 923249 h 5092591"/>
              <a:gd name="connsiteX1762" fmla="*/ 2145359 w 4546203"/>
              <a:gd name="connsiteY1762" fmla="*/ 926830 h 5092591"/>
              <a:gd name="connsiteX1763" fmla="*/ 2150532 w 4546203"/>
              <a:gd name="connsiteY1763" fmla="*/ 990502 h 5092591"/>
              <a:gd name="connsiteX1764" fmla="*/ 2204256 w 4546203"/>
              <a:gd name="connsiteY1764" fmla="*/ 986523 h 5092591"/>
              <a:gd name="connsiteX1765" fmla="*/ 2201470 w 4546203"/>
              <a:gd name="connsiteY1765" fmla="*/ 923249 h 5092591"/>
              <a:gd name="connsiteX1766" fmla="*/ 3458998 w 4546203"/>
              <a:gd name="connsiteY1766" fmla="*/ 919667 h 5092591"/>
              <a:gd name="connsiteX1767" fmla="*/ 3430346 w 4546203"/>
              <a:gd name="connsiteY1767" fmla="*/ 959462 h 5092591"/>
              <a:gd name="connsiteX1768" fmla="*/ 3472131 w 4546203"/>
              <a:gd name="connsiteY1768" fmla="*/ 990900 h 5092591"/>
              <a:gd name="connsiteX1769" fmla="*/ 3501977 w 4546203"/>
              <a:gd name="connsiteY1769" fmla="*/ 951901 h 5092591"/>
              <a:gd name="connsiteX1770" fmla="*/ 3458998 w 4546203"/>
              <a:gd name="connsiteY1770" fmla="*/ 919667 h 5092591"/>
              <a:gd name="connsiteX1771" fmla="*/ 1794365 w 4546203"/>
              <a:gd name="connsiteY1771" fmla="*/ 917279 h 5092591"/>
              <a:gd name="connsiteX1772" fmla="*/ 1753774 w 4546203"/>
              <a:gd name="connsiteY1772" fmla="*/ 929218 h 5092591"/>
              <a:gd name="connsiteX1773" fmla="*/ 1765315 w 4546203"/>
              <a:gd name="connsiteY1773" fmla="*/ 966625 h 5092591"/>
              <a:gd name="connsiteX1774" fmla="*/ 1805508 w 4546203"/>
              <a:gd name="connsiteY1774" fmla="*/ 953493 h 5092591"/>
              <a:gd name="connsiteX1775" fmla="*/ 1794365 w 4546203"/>
              <a:gd name="connsiteY1775" fmla="*/ 917279 h 5092591"/>
              <a:gd name="connsiteX1776" fmla="*/ 2592657 w 4546203"/>
              <a:gd name="connsiteY1776" fmla="*/ 906933 h 5092591"/>
              <a:gd name="connsiteX1777" fmla="*/ 2583902 w 4546203"/>
              <a:gd name="connsiteY1777" fmla="*/ 950707 h 5092591"/>
              <a:gd name="connsiteX1778" fmla="*/ 2656727 w 4546203"/>
              <a:gd name="connsiteY1778" fmla="*/ 967023 h 5092591"/>
              <a:gd name="connsiteX1779" fmla="*/ 2667472 w 4546203"/>
              <a:gd name="connsiteY1779" fmla="*/ 923647 h 5092591"/>
              <a:gd name="connsiteX1780" fmla="*/ 2592657 w 4546203"/>
              <a:gd name="connsiteY1780" fmla="*/ 906933 h 5092591"/>
              <a:gd name="connsiteX1781" fmla="*/ 2827847 w 4546203"/>
              <a:gd name="connsiteY1781" fmla="*/ 901361 h 5092591"/>
              <a:gd name="connsiteX1782" fmla="*/ 2813122 w 4546203"/>
              <a:gd name="connsiteY1782" fmla="*/ 944340 h 5092591"/>
              <a:gd name="connsiteX1783" fmla="*/ 2886346 w 4546203"/>
              <a:gd name="connsiteY1783" fmla="*/ 971003 h 5092591"/>
              <a:gd name="connsiteX1784" fmla="*/ 2902264 w 4546203"/>
              <a:gd name="connsiteY1784" fmla="*/ 929218 h 5092591"/>
              <a:gd name="connsiteX1785" fmla="*/ 2827847 w 4546203"/>
              <a:gd name="connsiteY1785" fmla="*/ 901361 h 5092591"/>
              <a:gd name="connsiteX1786" fmla="*/ 1969066 w 4546203"/>
              <a:gd name="connsiteY1786" fmla="*/ 898178 h 5092591"/>
              <a:gd name="connsiteX1787" fmla="*/ 1931261 w 4546203"/>
              <a:gd name="connsiteY1787" fmla="*/ 906137 h 5092591"/>
              <a:gd name="connsiteX1788" fmla="*/ 1940016 w 4546203"/>
              <a:gd name="connsiteY1788" fmla="*/ 946728 h 5092591"/>
              <a:gd name="connsiteX1789" fmla="*/ 1976627 w 4546203"/>
              <a:gd name="connsiteY1789" fmla="*/ 939167 h 5092591"/>
              <a:gd name="connsiteX1790" fmla="*/ 1969066 w 4546203"/>
              <a:gd name="connsiteY1790" fmla="*/ 898178 h 5092591"/>
              <a:gd name="connsiteX1791" fmla="*/ 1565941 w 4546203"/>
              <a:gd name="connsiteY1791" fmla="*/ 890617 h 5092591"/>
              <a:gd name="connsiteX1792" fmla="*/ 1524156 w 4546203"/>
              <a:gd name="connsiteY1792" fmla="*/ 908922 h 5092591"/>
              <a:gd name="connsiteX1793" fmla="*/ 1563553 w 4546203"/>
              <a:gd name="connsiteY1793" fmla="*/ 994880 h 5092591"/>
              <a:gd name="connsiteX1794" fmla="*/ 1602950 w 4546203"/>
              <a:gd name="connsiteY1794" fmla="*/ 977370 h 5092591"/>
              <a:gd name="connsiteX1795" fmla="*/ 1565941 w 4546203"/>
              <a:gd name="connsiteY1795" fmla="*/ 890617 h 5092591"/>
              <a:gd name="connsiteX1796" fmla="*/ 2960762 w 4546203"/>
              <a:gd name="connsiteY1796" fmla="*/ 882259 h 5092591"/>
              <a:gd name="connsiteX1797" fmla="*/ 2943253 w 4546203"/>
              <a:gd name="connsiteY1797" fmla="*/ 923647 h 5092591"/>
              <a:gd name="connsiteX1798" fmla="*/ 3016874 w 4546203"/>
              <a:gd name="connsiteY1798" fmla="*/ 956279 h 5092591"/>
              <a:gd name="connsiteX1799" fmla="*/ 3036373 w 4546203"/>
              <a:gd name="connsiteY1799" fmla="*/ 915687 h 5092591"/>
              <a:gd name="connsiteX1800" fmla="*/ 2960762 w 4546203"/>
              <a:gd name="connsiteY1800" fmla="*/ 882259 h 5092591"/>
              <a:gd name="connsiteX1801" fmla="*/ 2491975 w 4546203"/>
              <a:gd name="connsiteY1801" fmla="*/ 875096 h 5092591"/>
              <a:gd name="connsiteX1802" fmla="*/ 2480832 w 4546203"/>
              <a:gd name="connsiteY1802" fmla="*/ 958666 h 5092591"/>
              <a:gd name="connsiteX1803" fmla="*/ 2542913 w 4546203"/>
              <a:gd name="connsiteY1803" fmla="*/ 967819 h 5092591"/>
              <a:gd name="connsiteX1804" fmla="*/ 2557239 w 4546203"/>
              <a:gd name="connsiteY1804" fmla="*/ 884647 h 5092591"/>
              <a:gd name="connsiteX1805" fmla="*/ 2491975 w 4546203"/>
              <a:gd name="connsiteY1805" fmla="*/ 875096 h 5092591"/>
              <a:gd name="connsiteX1806" fmla="*/ 1614889 w 4546203"/>
              <a:gd name="connsiteY1806" fmla="*/ 870321 h 5092591"/>
              <a:gd name="connsiteX1807" fmla="*/ 1573104 w 4546203"/>
              <a:gd name="connsiteY1807" fmla="*/ 887831 h 5092591"/>
              <a:gd name="connsiteX1808" fmla="*/ 1609716 w 4546203"/>
              <a:gd name="connsiteY1808" fmla="*/ 974584 h 5092591"/>
              <a:gd name="connsiteX1809" fmla="*/ 1649511 w 4546203"/>
              <a:gd name="connsiteY1809" fmla="*/ 957870 h 5092591"/>
              <a:gd name="connsiteX1810" fmla="*/ 1614889 w 4546203"/>
              <a:gd name="connsiteY1810" fmla="*/ 870321 h 5092591"/>
              <a:gd name="connsiteX1811" fmla="*/ 1879527 w 4546203"/>
              <a:gd name="connsiteY1811" fmla="*/ 858382 h 5092591"/>
              <a:gd name="connsiteX1812" fmla="*/ 1841722 w 4546203"/>
              <a:gd name="connsiteY1812" fmla="*/ 867933 h 5092591"/>
              <a:gd name="connsiteX1813" fmla="*/ 1852864 w 4546203"/>
              <a:gd name="connsiteY1813" fmla="*/ 908524 h 5092591"/>
              <a:gd name="connsiteX1814" fmla="*/ 1889874 w 4546203"/>
              <a:gd name="connsiteY1814" fmla="*/ 898178 h 5092591"/>
              <a:gd name="connsiteX1815" fmla="*/ 1879527 w 4546203"/>
              <a:gd name="connsiteY1815" fmla="*/ 858382 h 5092591"/>
              <a:gd name="connsiteX1816" fmla="*/ 2848938 w 4546203"/>
              <a:gd name="connsiteY1816" fmla="*/ 840077 h 5092591"/>
              <a:gd name="connsiteX1817" fmla="*/ 2833816 w 4546203"/>
              <a:gd name="connsiteY1817" fmla="*/ 882657 h 5092591"/>
              <a:gd name="connsiteX1818" fmla="*/ 2909825 w 4546203"/>
              <a:gd name="connsiteY1818" fmla="*/ 910514 h 5092591"/>
              <a:gd name="connsiteX1819" fmla="*/ 2926141 w 4546203"/>
              <a:gd name="connsiteY1819" fmla="*/ 868331 h 5092591"/>
              <a:gd name="connsiteX1820" fmla="*/ 2848938 w 4546203"/>
              <a:gd name="connsiteY1820" fmla="*/ 840077 h 5092591"/>
              <a:gd name="connsiteX1821" fmla="*/ 1715173 w 4546203"/>
              <a:gd name="connsiteY1821" fmla="*/ 834505 h 5092591"/>
              <a:gd name="connsiteX1822" fmla="*/ 1672194 w 4546203"/>
              <a:gd name="connsiteY1822" fmla="*/ 849230 h 5092591"/>
              <a:gd name="connsiteX1823" fmla="*/ 1703632 w 4546203"/>
              <a:gd name="connsiteY1823" fmla="*/ 937973 h 5092591"/>
              <a:gd name="connsiteX1824" fmla="*/ 1744621 w 4546203"/>
              <a:gd name="connsiteY1824" fmla="*/ 924044 h 5092591"/>
              <a:gd name="connsiteX1825" fmla="*/ 1715173 w 4546203"/>
              <a:gd name="connsiteY1825" fmla="*/ 834505 h 5092591"/>
              <a:gd name="connsiteX1826" fmla="*/ 2398058 w 4546203"/>
              <a:gd name="connsiteY1826" fmla="*/ 834107 h 5092591"/>
              <a:gd name="connsiteX1827" fmla="*/ 2393283 w 4546203"/>
              <a:gd name="connsiteY1827" fmla="*/ 897382 h 5092591"/>
              <a:gd name="connsiteX1828" fmla="*/ 2450588 w 4546203"/>
              <a:gd name="connsiteY1828" fmla="*/ 902953 h 5092591"/>
              <a:gd name="connsiteX1829" fmla="*/ 2457353 w 4546203"/>
              <a:gd name="connsiteY1829" fmla="*/ 839679 h 5092591"/>
              <a:gd name="connsiteX1830" fmla="*/ 2398058 w 4546203"/>
              <a:gd name="connsiteY1830" fmla="*/ 834107 h 5092591"/>
              <a:gd name="connsiteX1831" fmla="*/ 2311305 w 4546203"/>
              <a:gd name="connsiteY1831" fmla="*/ 832515 h 5092591"/>
              <a:gd name="connsiteX1832" fmla="*/ 2311305 w 4546203"/>
              <a:gd name="connsiteY1832" fmla="*/ 893402 h 5092591"/>
              <a:gd name="connsiteX1833" fmla="*/ 2367814 w 4546203"/>
              <a:gd name="connsiteY1833" fmla="*/ 893402 h 5092591"/>
              <a:gd name="connsiteX1834" fmla="*/ 2370600 w 4546203"/>
              <a:gd name="connsiteY1834" fmla="*/ 832515 h 5092591"/>
              <a:gd name="connsiteX1835" fmla="*/ 2311305 w 4546203"/>
              <a:gd name="connsiteY1835" fmla="*/ 832515 h 5092591"/>
              <a:gd name="connsiteX1836" fmla="*/ 2197889 w 4546203"/>
              <a:gd name="connsiteY1836" fmla="*/ 830526 h 5092591"/>
              <a:gd name="connsiteX1837" fmla="*/ 2137798 w 4546203"/>
              <a:gd name="connsiteY1837" fmla="*/ 833709 h 5092591"/>
              <a:gd name="connsiteX1838" fmla="*/ 2143369 w 4546203"/>
              <a:gd name="connsiteY1838" fmla="*/ 897780 h 5092591"/>
              <a:gd name="connsiteX1839" fmla="*/ 2197889 w 4546203"/>
              <a:gd name="connsiteY1839" fmla="*/ 893800 h 5092591"/>
              <a:gd name="connsiteX1840" fmla="*/ 2197889 w 4546203"/>
              <a:gd name="connsiteY1840" fmla="*/ 830526 h 5092591"/>
              <a:gd name="connsiteX1841" fmla="*/ 1766111 w 4546203"/>
              <a:gd name="connsiteY1841" fmla="*/ 819383 h 5092591"/>
              <a:gd name="connsiteX1842" fmla="*/ 1722734 w 4546203"/>
              <a:gd name="connsiteY1842" fmla="*/ 832515 h 5092591"/>
              <a:gd name="connsiteX1843" fmla="*/ 1751387 w 4546203"/>
              <a:gd name="connsiteY1843" fmla="*/ 922055 h 5092591"/>
              <a:gd name="connsiteX1844" fmla="*/ 1792774 w 4546203"/>
              <a:gd name="connsiteY1844" fmla="*/ 908922 h 5092591"/>
              <a:gd name="connsiteX1845" fmla="*/ 1766111 w 4546203"/>
              <a:gd name="connsiteY1845" fmla="*/ 819383 h 5092591"/>
              <a:gd name="connsiteX1846" fmla="*/ 2733930 w 4546203"/>
              <a:gd name="connsiteY1846" fmla="*/ 805853 h 5092591"/>
              <a:gd name="connsiteX1847" fmla="*/ 2722389 w 4546203"/>
              <a:gd name="connsiteY1847" fmla="*/ 849230 h 5092591"/>
              <a:gd name="connsiteX1848" fmla="*/ 2799990 w 4546203"/>
              <a:gd name="connsiteY1848" fmla="*/ 871515 h 5092591"/>
              <a:gd name="connsiteX1849" fmla="*/ 2813122 w 4546203"/>
              <a:gd name="connsiteY1849" fmla="*/ 828536 h 5092591"/>
              <a:gd name="connsiteX1850" fmla="*/ 2733930 w 4546203"/>
              <a:gd name="connsiteY1850" fmla="*/ 805853 h 5092591"/>
              <a:gd name="connsiteX1851" fmla="*/ 2617330 w 4546203"/>
              <a:gd name="connsiteY1851" fmla="*/ 778792 h 5092591"/>
              <a:gd name="connsiteX1852" fmla="*/ 2608575 w 4546203"/>
              <a:gd name="connsiteY1852" fmla="*/ 822965 h 5092591"/>
              <a:gd name="connsiteX1853" fmla="*/ 2687370 w 4546203"/>
              <a:gd name="connsiteY1853" fmla="*/ 840077 h 5092591"/>
              <a:gd name="connsiteX1854" fmla="*/ 2697716 w 4546203"/>
              <a:gd name="connsiteY1854" fmla="*/ 796302 h 5092591"/>
              <a:gd name="connsiteX1855" fmla="*/ 2617330 w 4546203"/>
              <a:gd name="connsiteY1855" fmla="*/ 778792 h 5092591"/>
              <a:gd name="connsiteX1856" fmla="*/ 2869233 w 4546203"/>
              <a:gd name="connsiteY1856" fmla="*/ 777996 h 5092591"/>
              <a:gd name="connsiteX1857" fmla="*/ 2854907 w 4546203"/>
              <a:gd name="connsiteY1857" fmla="*/ 820577 h 5092591"/>
              <a:gd name="connsiteX1858" fmla="*/ 2933304 w 4546203"/>
              <a:gd name="connsiteY1858" fmla="*/ 848832 h 5092591"/>
              <a:gd name="connsiteX1859" fmla="*/ 2950018 w 4546203"/>
              <a:gd name="connsiteY1859" fmla="*/ 807047 h 5092591"/>
              <a:gd name="connsiteX1860" fmla="*/ 2869233 w 4546203"/>
              <a:gd name="connsiteY1860" fmla="*/ 777996 h 5092591"/>
              <a:gd name="connsiteX1861" fmla="*/ 1577879 w 4546203"/>
              <a:gd name="connsiteY1861" fmla="*/ 775210 h 5092591"/>
              <a:gd name="connsiteX1862" fmla="*/ 1533309 w 4546203"/>
              <a:gd name="connsiteY1862" fmla="*/ 793516 h 5092591"/>
              <a:gd name="connsiteX1863" fmla="*/ 1569920 w 4546203"/>
              <a:gd name="connsiteY1863" fmla="*/ 880668 h 5092591"/>
              <a:gd name="connsiteX1864" fmla="*/ 1612103 w 4546203"/>
              <a:gd name="connsiteY1864" fmla="*/ 862362 h 5092591"/>
              <a:gd name="connsiteX1865" fmla="*/ 1577879 w 4546203"/>
              <a:gd name="connsiteY1865" fmla="*/ 775210 h 5092591"/>
              <a:gd name="connsiteX1866" fmla="*/ 3010506 w 4546203"/>
              <a:gd name="connsiteY1866" fmla="*/ 761282 h 5092591"/>
              <a:gd name="connsiteX1867" fmla="*/ 2992997 w 4546203"/>
              <a:gd name="connsiteY1867" fmla="*/ 803067 h 5092591"/>
              <a:gd name="connsiteX1868" fmla="*/ 3072189 w 4546203"/>
              <a:gd name="connsiteY1868" fmla="*/ 838087 h 5092591"/>
              <a:gd name="connsiteX1869" fmla="*/ 3091689 w 4546203"/>
              <a:gd name="connsiteY1869" fmla="*/ 797496 h 5092591"/>
              <a:gd name="connsiteX1870" fmla="*/ 3010506 w 4546203"/>
              <a:gd name="connsiteY1870" fmla="*/ 761282 h 5092591"/>
              <a:gd name="connsiteX1871" fmla="*/ 1630807 w 4546203"/>
              <a:gd name="connsiteY1871" fmla="*/ 755313 h 5092591"/>
              <a:gd name="connsiteX1872" fmla="*/ 1585441 w 4546203"/>
              <a:gd name="connsiteY1872" fmla="*/ 772823 h 5092591"/>
              <a:gd name="connsiteX1873" fmla="*/ 1619664 w 4546203"/>
              <a:gd name="connsiteY1873" fmla="*/ 860372 h 5092591"/>
              <a:gd name="connsiteX1874" fmla="*/ 1662643 w 4546203"/>
              <a:gd name="connsiteY1874" fmla="*/ 844056 h 5092591"/>
              <a:gd name="connsiteX1875" fmla="*/ 1630807 w 4546203"/>
              <a:gd name="connsiteY1875" fmla="*/ 755313 h 5092591"/>
              <a:gd name="connsiteX1876" fmla="*/ 2750644 w 4546203"/>
              <a:gd name="connsiteY1876" fmla="*/ 742578 h 5092591"/>
              <a:gd name="connsiteX1877" fmla="*/ 2739103 w 4546203"/>
              <a:gd name="connsiteY1877" fmla="*/ 785955 h 5092591"/>
              <a:gd name="connsiteX1878" fmla="*/ 2819489 w 4546203"/>
              <a:gd name="connsiteY1878" fmla="*/ 809036 h 5092591"/>
              <a:gd name="connsiteX1879" fmla="*/ 2832622 w 4546203"/>
              <a:gd name="connsiteY1879" fmla="*/ 766058 h 5092591"/>
              <a:gd name="connsiteX1880" fmla="*/ 2750644 w 4546203"/>
              <a:gd name="connsiteY1880" fmla="*/ 742578 h 5092591"/>
              <a:gd name="connsiteX1881" fmla="*/ 2404824 w 4546203"/>
              <a:gd name="connsiteY1881" fmla="*/ 742180 h 5092591"/>
              <a:gd name="connsiteX1882" fmla="*/ 2400844 w 4546203"/>
              <a:gd name="connsiteY1882" fmla="*/ 805455 h 5092591"/>
              <a:gd name="connsiteX1883" fmla="*/ 2460935 w 4546203"/>
              <a:gd name="connsiteY1883" fmla="*/ 810628 h 5092591"/>
              <a:gd name="connsiteX1884" fmla="*/ 2467700 w 4546203"/>
              <a:gd name="connsiteY1884" fmla="*/ 747354 h 5092591"/>
              <a:gd name="connsiteX1885" fmla="*/ 2404824 w 4546203"/>
              <a:gd name="connsiteY1885" fmla="*/ 742180 h 5092591"/>
              <a:gd name="connsiteX1886" fmla="*/ 2313693 w 4546203"/>
              <a:gd name="connsiteY1886" fmla="*/ 739793 h 5092591"/>
              <a:gd name="connsiteX1887" fmla="*/ 2313693 w 4546203"/>
              <a:gd name="connsiteY1887" fmla="*/ 801077 h 5092591"/>
              <a:gd name="connsiteX1888" fmla="*/ 2372988 w 4546203"/>
              <a:gd name="connsiteY1888" fmla="*/ 801077 h 5092591"/>
              <a:gd name="connsiteX1889" fmla="*/ 2376569 w 4546203"/>
              <a:gd name="connsiteY1889" fmla="*/ 739793 h 5092591"/>
              <a:gd name="connsiteX1890" fmla="*/ 2313693 w 4546203"/>
              <a:gd name="connsiteY1890" fmla="*/ 739793 h 5092591"/>
              <a:gd name="connsiteX1891" fmla="*/ 2224153 w 4546203"/>
              <a:gd name="connsiteY1891" fmla="*/ 738997 h 5092591"/>
              <a:gd name="connsiteX1892" fmla="*/ 2224153 w 4546203"/>
              <a:gd name="connsiteY1892" fmla="*/ 799486 h 5092591"/>
              <a:gd name="connsiteX1893" fmla="*/ 2284642 w 4546203"/>
              <a:gd name="connsiteY1893" fmla="*/ 799486 h 5092591"/>
              <a:gd name="connsiteX1894" fmla="*/ 2284642 w 4546203"/>
              <a:gd name="connsiteY1894" fmla="*/ 738997 h 5092591"/>
              <a:gd name="connsiteX1895" fmla="*/ 2224153 w 4546203"/>
              <a:gd name="connsiteY1895" fmla="*/ 738997 h 5092591"/>
              <a:gd name="connsiteX1896" fmla="*/ 1684133 w 4546203"/>
              <a:gd name="connsiteY1896" fmla="*/ 737405 h 5092591"/>
              <a:gd name="connsiteX1897" fmla="*/ 1638766 w 4546203"/>
              <a:gd name="connsiteY1897" fmla="*/ 752925 h 5092591"/>
              <a:gd name="connsiteX1898" fmla="*/ 1669806 w 4546203"/>
              <a:gd name="connsiteY1898" fmla="*/ 841668 h 5092591"/>
              <a:gd name="connsiteX1899" fmla="*/ 1713183 w 4546203"/>
              <a:gd name="connsiteY1899" fmla="*/ 826546 h 5092591"/>
              <a:gd name="connsiteX1900" fmla="*/ 1684133 w 4546203"/>
              <a:gd name="connsiteY1900" fmla="*/ 737405 h 5092591"/>
              <a:gd name="connsiteX1901" fmla="*/ 1737856 w 4546203"/>
              <a:gd name="connsiteY1901" fmla="*/ 720691 h 5092591"/>
              <a:gd name="connsiteX1902" fmla="*/ 1691694 w 4546203"/>
              <a:gd name="connsiteY1902" fmla="*/ 734619 h 5092591"/>
              <a:gd name="connsiteX1903" fmla="*/ 1720744 w 4546203"/>
              <a:gd name="connsiteY1903" fmla="*/ 824556 h 5092591"/>
              <a:gd name="connsiteX1904" fmla="*/ 1764121 w 4546203"/>
              <a:gd name="connsiteY1904" fmla="*/ 810628 h 5092591"/>
              <a:gd name="connsiteX1905" fmla="*/ 1737856 w 4546203"/>
              <a:gd name="connsiteY1905" fmla="*/ 720691 h 5092591"/>
              <a:gd name="connsiteX1906" fmla="*/ 2630064 w 4546203"/>
              <a:gd name="connsiteY1906" fmla="*/ 714722 h 5092591"/>
              <a:gd name="connsiteX1907" fmla="*/ 2621708 w 4546203"/>
              <a:gd name="connsiteY1907" fmla="*/ 759292 h 5092591"/>
              <a:gd name="connsiteX1908" fmla="*/ 2703288 w 4546203"/>
              <a:gd name="connsiteY1908" fmla="*/ 776802 h 5092591"/>
              <a:gd name="connsiteX1909" fmla="*/ 2713634 w 4546203"/>
              <a:gd name="connsiteY1909" fmla="*/ 733028 h 5092591"/>
              <a:gd name="connsiteX1910" fmla="*/ 2630064 w 4546203"/>
              <a:gd name="connsiteY1910" fmla="*/ 714722 h 5092591"/>
              <a:gd name="connsiteX1911" fmla="*/ 1485953 w 4546203"/>
              <a:gd name="connsiteY1911" fmla="*/ 701987 h 5092591"/>
              <a:gd name="connsiteX1912" fmla="*/ 1439392 w 4546203"/>
              <a:gd name="connsiteY1912" fmla="*/ 722681 h 5092591"/>
              <a:gd name="connsiteX1913" fmla="*/ 1478789 w 4546203"/>
              <a:gd name="connsiteY1913" fmla="*/ 808638 h 5092591"/>
              <a:gd name="connsiteX1914" fmla="*/ 1522962 w 4546203"/>
              <a:gd name="connsiteY1914" fmla="*/ 788343 h 5092591"/>
              <a:gd name="connsiteX1915" fmla="*/ 1485953 w 4546203"/>
              <a:gd name="connsiteY1915" fmla="*/ 701987 h 5092591"/>
              <a:gd name="connsiteX1916" fmla="*/ 1540870 w 4546203"/>
              <a:gd name="connsiteY1916" fmla="*/ 680100 h 5092591"/>
              <a:gd name="connsiteX1917" fmla="*/ 1493514 w 4546203"/>
              <a:gd name="connsiteY1917" fmla="*/ 698804 h 5092591"/>
              <a:gd name="connsiteX1918" fmla="*/ 1530523 w 4546203"/>
              <a:gd name="connsiteY1918" fmla="*/ 785955 h 5092591"/>
              <a:gd name="connsiteX1919" fmla="*/ 1575094 w 4546203"/>
              <a:gd name="connsiteY1919" fmla="*/ 767251 h 5092591"/>
              <a:gd name="connsiteX1920" fmla="*/ 1540870 w 4546203"/>
              <a:gd name="connsiteY1920" fmla="*/ 680100 h 5092591"/>
              <a:gd name="connsiteX1921" fmla="*/ 1468841 w 4546203"/>
              <a:gd name="connsiteY1921" fmla="*/ 662590 h 5092591"/>
              <a:gd name="connsiteX1922" fmla="*/ 1421882 w 4546203"/>
              <a:gd name="connsiteY1922" fmla="*/ 684079 h 5092591"/>
              <a:gd name="connsiteX1923" fmla="*/ 1436607 w 4546203"/>
              <a:gd name="connsiteY1923" fmla="*/ 715916 h 5092591"/>
              <a:gd name="connsiteX1924" fmla="*/ 1483167 w 4546203"/>
              <a:gd name="connsiteY1924" fmla="*/ 694824 h 5092591"/>
              <a:gd name="connsiteX1925" fmla="*/ 1468841 w 4546203"/>
              <a:gd name="connsiteY1925" fmla="*/ 662590 h 5092591"/>
              <a:gd name="connsiteX1926" fmla="*/ 1596185 w 4546203"/>
              <a:gd name="connsiteY1926" fmla="*/ 659008 h 5092591"/>
              <a:gd name="connsiteX1927" fmla="*/ 1548829 w 4546203"/>
              <a:gd name="connsiteY1927" fmla="*/ 676916 h 5092591"/>
              <a:gd name="connsiteX1928" fmla="*/ 1582655 w 4546203"/>
              <a:gd name="connsiteY1928" fmla="*/ 764864 h 5092591"/>
              <a:gd name="connsiteX1929" fmla="*/ 1628021 w 4546203"/>
              <a:gd name="connsiteY1929" fmla="*/ 747354 h 5092591"/>
              <a:gd name="connsiteX1930" fmla="*/ 1596185 w 4546203"/>
              <a:gd name="connsiteY1930" fmla="*/ 659008 h 5092591"/>
              <a:gd name="connsiteX1931" fmla="*/ 2911018 w 4546203"/>
              <a:gd name="connsiteY1931" fmla="*/ 654233 h 5092591"/>
              <a:gd name="connsiteX1932" fmla="*/ 2897090 w 4546203"/>
              <a:gd name="connsiteY1932" fmla="*/ 696814 h 5092591"/>
              <a:gd name="connsiteX1933" fmla="*/ 2981058 w 4546203"/>
              <a:gd name="connsiteY1933" fmla="*/ 727854 h 5092591"/>
              <a:gd name="connsiteX1934" fmla="*/ 2997374 w 4546203"/>
              <a:gd name="connsiteY1934" fmla="*/ 685671 h 5092591"/>
              <a:gd name="connsiteX1935" fmla="*/ 2911018 w 4546203"/>
              <a:gd name="connsiteY1935" fmla="*/ 654233 h 5092591"/>
              <a:gd name="connsiteX1936" fmla="*/ 2191123 w 4546203"/>
              <a:gd name="connsiteY1936" fmla="*/ 646672 h 5092591"/>
              <a:gd name="connsiteX1937" fmla="*/ 2124268 w 4546203"/>
              <a:gd name="connsiteY1937" fmla="*/ 649856 h 5092591"/>
              <a:gd name="connsiteX1938" fmla="*/ 2128645 w 4546203"/>
              <a:gd name="connsiteY1938" fmla="*/ 713528 h 5092591"/>
              <a:gd name="connsiteX1939" fmla="*/ 2191123 w 4546203"/>
              <a:gd name="connsiteY1939" fmla="*/ 709946 h 5092591"/>
              <a:gd name="connsiteX1940" fmla="*/ 2191123 w 4546203"/>
              <a:gd name="connsiteY1940" fmla="*/ 646672 h 5092591"/>
              <a:gd name="connsiteX1941" fmla="*/ 2315682 w 4546203"/>
              <a:gd name="connsiteY1941" fmla="*/ 645080 h 5092591"/>
              <a:gd name="connsiteX1942" fmla="*/ 2315682 w 4546203"/>
              <a:gd name="connsiteY1942" fmla="*/ 708752 h 5092591"/>
              <a:gd name="connsiteX1943" fmla="*/ 2378161 w 4546203"/>
              <a:gd name="connsiteY1943" fmla="*/ 711538 h 5092591"/>
              <a:gd name="connsiteX1944" fmla="*/ 2381742 w 4546203"/>
              <a:gd name="connsiteY1944" fmla="*/ 647866 h 5092591"/>
              <a:gd name="connsiteX1945" fmla="*/ 2315682 w 4546203"/>
              <a:gd name="connsiteY1945" fmla="*/ 645080 h 5092591"/>
              <a:gd name="connsiteX1946" fmla="*/ 3060648 w 4546203"/>
              <a:gd name="connsiteY1946" fmla="*/ 640703 h 5092591"/>
              <a:gd name="connsiteX1947" fmla="*/ 3043138 w 4546203"/>
              <a:gd name="connsiteY1947" fmla="*/ 682090 h 5092591"/>
              <a:gd name="connsiteX1948" fmla="*/ 3127902 w 4546203"/>
              <a:gd name="connsiteY1948" fmla="*/ 719895 h 5092591"/>
              <a:gd name="connsiteX1949" fmla="*/ 3147004 w 4546203"/>
              <a:gd name="connsiteY1949" fmla="*/ 678906 h 5092591"/>
              <a:gd name="connsiteX1950" fmla="*/ 3060648 w 4546203"/>
              <a:gd name="connsiteY1950" fmla="*/ 640703 h 5092591"/>
              <a:gd name="connsiteX1951" fmla="*/ 1651899 w 4546203"/>
              <a:gd name="connsiteY1951" fmla="*/ 640305 h 5092591"/>
              <a:gd name="connsiteX1952" fmla="*/ 1604144 w 4546203"/>
              <a:gd name="connsiteY1952" fmla="*/ 656621 h 5092591"/>
              <a:gd name="connsiteX1953" fmla="*/ 1635583 w 4546203"/>
              <a:gd name="connsiteY1953" fmla="*/ 745364 h 5092591"/>
              <a:gd name="connsiteX1954" fmla="*/ 1681347 w 4546203"/>
              <a:gd name="connsiteY1954" fmla="*/ 729844 h 5092591"/>
              <a:gd name="connsiteX1955" fmla="*/ 1651899 w 4546203"/>
              <a:gd name="connsiteY1955" fmla="*/ 640305 h 5092591"/>
              <a:gd name="connsiteX1956" fmla="*/ 1524554 w 4546203"/>
              <a:gd name="connsiteY1956" fmla="*/ 639907 h 5092591"/>
              <a:gd name="connsiteX1957" fmla="*/ 1477198 w 4546203"/>
              <a:gd name="connsiteY1957" fmla="*/ 659804 h 5092591"/>
              <a:gd name="connsiteX1958" fmla="*/ 1491126 w 4546203"/>
              <a:gd name="connsiteY1958" fmla="*/ 691641 h 5092591"/>
              <a:gd name="connsiteX1959" fmla="*/ 1538482 w 4546203"/>
              <a:gd name="connsiteY1959" fmla="*/ 672539 h 5092591"/>
              <a:gd name="connsiteX1960" fmla="*/ 1524554 w 4546203"/>
              <a:gd name="connsiteY1960" fmla="*/ 639907 h 5092591"/>
              <a:gd name="connsiteX1961" fmla="*/ 1580665 w 4546203"/>
              <a:gd name="connsiteY1961" fmla="*/ 618019 h 5092591"/>
              <a:gd name="connsiteX1962" fmla="*/ 1532911 w 4546203"/>
              <a:gd name="connsiteY1962" fmla="*/ 636325 h 5092591"/>
              <a:gd name="connsiteX1963" fmla="*/ 1545645 w 4546203"/>
              <a:gd name="connsiteY1963" fmla="*/ 669355 h 5092591"/>
              <a:gd name="connsiteX1964" fmla="*/ 1593798 w 4546203"/>
              <a:gd name="connsiteY1964" fmla="*/ 651049 h 5092591"/>
              <a:gd name="connsiteX1965" fmla="*/ 1580665 w 4546203"/>
              <a:gd name="connsiteY1965" fmla="*/ 618019 h 5092591"/>
              <a:gd name="connsiteX1966" fmla="*/ 2784470 w 4546203"/>
              <a:gd name="connsiteY1966" fmla="*/ 616030 h 5092591"/>
              <a:gd name="connsiteX1967" fmla="*/ 2772531 w 4546203"/>
              <a:gd name="connsiteY1967" fmla="*/ 659008 h 5092591"/>
              <a:gd name="connsiteX1968" fmla="*/ 2858887 w 4546203"/>
              <a:gd name="connsiteY1968" fmla="*/ 684079 h 5092591"/>
              <a:gd name="connsiteX1969" fmla="*/ 2872417 w 4546203"/>
              <a:gd name="connsiteY1969" fmla="*/ 641499 h 5092591"/>
              <a:gd name="connsiteX1970" fmla="*/ 2784470 w 4546203"/>
              <a:gd name="connsiteY1970" fmla="*/ 616030 h 5092591"/>
              <a:gd name="connsiteX1971" fmla="*/ 1445759 w 4546203"/>
              <a:gd name="connsiteY1971" fmla="*/ 608071 h 5092591"/>
              <a:gd name="connsiteX1972" fmla="*/ 1396811 w 4546203"/>
              <a:gd name="connsiteY1972" fmla="*/ 630356 h 5092591"/>
              <a:gd name="connsiteX1973" fmla="*/ 1414321 w 4546203"/>
              <a:gd name="connsiteY1973" fmla="*/ 666172 h 5092591"/>
              <a:gd name="connsiteX1974" fmla="*/ 1461677 w 4546203"/>
              <a:gd name="connsiteY1974" fmla="*/ 645080 h 5092591"/>
              <a:gd name="connsiteX1975" fmla="*/ 1445759 w 4546203"/>
              <a:gd name="connsiteY1975" fmla="*/ 608071 h 5092591"/>
              <a:gd name="connsiteX1976" fmla="*/ 1639164 w 4546203"/>
              <a:gd name="connsiteY1976" fmla="*/ 598918 h 5092591"/>
              <a:gd name="connsiteX1977" fmla="*/ 1590216 w 4546203"/>
              <a:gd name="connsiteY1977" fmla="*/ 616030 h 5092591"/>
              <a:gd name="connsiteX1978" fmla="*/ 1602552 w 4546203"/>
              <a:gd name="connsiteY1978" fmla="*/ 649060 h 5092591"/>
              <a:gd name="connsiteX1979" fmla="*/ 1650307 w 4546203"/>
              <a:gd name="connsiteY1979" fmla="*/ 632744 h 5092591"/>
              <a:gd name="connsiteX1980" fmla="*/ 1639164 w 4546203"/>
              <a:gd name="connsiteY1980" fmla="*/ 598918 h 5092591"/>
              <a:gd name="connsiteX1981" fmla="*/ 2932110 w 4546203"/>
              <a:gd name="connsiteY1981" fmla="*/ 592551 h 5092591"/>
              <a:gd name="connsiteX1982" fmla="*/ 2917386 w 4546203"/>
              <a:gd name="connsiteY1982" fmla="*/ 635131 h 5092591"/>
              <a:gd name="connsiteX1983" fmla="*/ 3004935 w 4546203"/>
              <a:gd name="connsiteY1983" fmla="*/ 666968 h 5092591"/>
              <a:gd name="connsiteX1984" fmla="*/ 3020853 w 4546203"/>
              <a:gd name="connsiteY1984" fmla="*/ 625183 h 5092591"/>
              <a:gd name="connsiteX1985" fmla="*/ 2932110 w 4546203"/>
              <a:gd name="connsiteY1985" fmla="*/ 592551 h 5092591"/>
              <a:gd name="connsiteX1986" fmla="*/ 2654737 w 4546203"/>
              <a:gd name="connsiteY1986" fmla="*/ 586581 h 5092591"/>
              <a:gd name="connsiteX1987" fmla="*/ 2646778 w 4546203"/>
              <a:gd name="connsiteY1987" fmla="*/ 630754 h 5092591"/>
              <a:gd name="connsiteX1988" fmla="*/ 2733930 w 4546203"/>
              <a:gd name="connsiteY1988" fmla="*/ 649856 h 5092591"/>
              <a:gd name="connsiteX1989" fmla="*/ 2744675 w 4546203"/>
              <a:gd name="connsiteY1989" fmla="*/ 606081 h 5092591"/>
              <a:gd name="connsiteX1990" fmla="*/ 2654737 w 4546203"/>
              <a:gd name="connsiteY1990" fmla="*/ 586581 h 5092591"/>
              <a:gd name="connsiteX1991" fmla="*/ 1503860 w 4546203"/>
              <a:gd name="connsiteY1991" fmla="*/ 584989 h 5092591"/>
              <a:gd name="connsiteX1992" fmla="*/ 1454514 w 4546203"/>
              <a:gd name="connsiteY1992" fmla="*/ 605285 h 5092591"/>
              <a:gd name="connsiteX1993" fmla="*/ 1470034 w 4546203"/>
              <a:gd name="connsiteY1993" fmla="*/ 642295 h 5092591"/>
              <a:gd name="connsiteX1994" fmla="*/ 1518585 w 4546203"/>
              <a:gd name="connsiteY1994" fmla="*/ 622397 h 5092591"/>
              <a:gd name="connsiteX1995" fmla="*/ 1503860 w 4546203"/>
              <a:gd name="connsiteY1995" fmla="*/ 584989 h 5092591"/>
              <a:gd name="connsiteX1996" fmla="*/ 1696469 w 4546203"/>
              <a:gd name="connsiteY1996" fmla="*/ 581010 h 5092591"/>
              <a:gd name="connsiteX1997" fmla="*/ 1647123 w 4546203"/>
              <a:gd name="connsiteY1997" fmla="*/ 596132 h 5092591"/>
              <a:gd name="connsiteX1998" fmla="*/ 1658266 w 4546203"/>
              <a:gd name="connsiteY1998" fmla="*/ 629560 h 5092591"/>
              <a:gd name="connsiteX1999" fmla="*/ 1706816 w 4546203"/>
              <a:gd name="connsiteY1999" fmla="*/ 614836 h 5092591"/>
              <a:gd name="connsiteX2000" fmla="*/ 1696469 w 4546203"/>
              <a:gd name="connsiteY2000" fmla="*/ 581010 h 5092591"/>
              <a:gd name="connsiteX2001" fmla="*/ 1561563 w 4546203"/>
              <a:gd name="connsiteY2001" fmla="*/ 563102 h 5092591"/>
              <a:gd name="connsiteX2002" fmla="*/ 1511819 w 4546203"/>
              <a:gd name="connsiteY2002" fmla="*/ 582602 h 5092591"/>
              <a:gd name="connsiteX2003" fmla="*/ 1526942 w 4546203"/>
              <a:gd name="connsiteY2003" fmla="*/ 619611 h 5092591"/>
              <a:gd name="connsiteX2004" fmla="*/ 1575492 w 4546203"/>
              <a:gd name="connsiteY2004" fmla="*/ 600907 h 5092591"/>
              <a:gd name="connsiteX2005" fmla="*/ 1561563 w 4546203"/>
              <a:gd name="connsiteY2005" fmla="*/ 563102 h 5092591"/>
              <a:gd name="connsiteX2006" fmla="*/ 2418354 w 4546203"/>
              <a:gd name="connsiteY2006" fmla="*/ 557929 h 5092591"/>
              <a:gd name="connsiteX2007" fmla="*/ 2413977 w 4546203"/>
              <a:gd name="connsiteY2007" fmla="*/ 621203 h 5092591"/>
              <a:gd name="connsiteX2008" fmla="*/ 2480832 w 4546203"/>
              <a:gd name="connsiteY2008" fmla="*/ 627570 h 5092591"/>
              <a:gd name="connsiteX2009" fmla="*/ 2487200 w 4546203"/>
              <a:gd name="connsiteY2009" fmla="*/ 563898 h 5092591"/>
              <a:gd name="connsiteX2010" fmla="*/ 2418354 w 4546203"/>
              <a:gd name="connsiteY2010" fmla="*/ 557929 h 5092591"/>
              <a:gd name="connsiteX2011" fmla="*/ 2219378 w 4546203"/>
              <a:gd name="connsiteY2011" fmla="*/ 553551 h 5092591"/>
              <a:gd name="connsiteX2012" fmla="*/ 2219378 w 4546203"/>
              <a:gd name="connsiteY2012" fmla="*/ 614836 h 5092591"/>
              <a:gd name="connsiteX2013" fmla="*/ 2284642 w 4546203"/>
              <a:gd name="connsiteY2013" fmla="*/ 614836 h 5092591"/>
              <a:gd name="connsiteX2014" fmla="*/ 2284642 w 4546203"/>
              <a:gd name="connsiteY2014" fmla="*/ 553551 h 5092591"/>
              <a:gd name="connsiteX2015" fmla="*/ 2219378 w 4546203"/>
              <a:gd name="connsiteY2015" fmla="*/ 553551 h 5092591"/>
              <a:gd name="connsiteX2016" fmla="*/ 2318070 w 4546203"/>
              <a:gd name="connsiteY2016" fmla="*/ 552755 h 5092591"/>
              <a:gd name="connsiteX2017" fmla="*/ 2317672 w 4546203"/>
              <a:gd name="connsiteY2017" fmla="*/ 616030 h 5092591"/>
              <a:gd name="connsiteX2018" fmla="*/ 2383732 w 4546203"/>
              <a:gd name="connsiteY2018" fmla="*/ 619611 h 5092591"/>
              <a:gd name="connsiteX2019" fmla="*/ 2386916 w 4546203"/>
              <a:gd name="connsiteY2019" fmla="*/ 555939 h 5092591"/>
              <a:gd name="connsiteX2020" fmla="*/ 2318070 w 4546203"/>
              <a:gd name="connsiteY2020" fmla="*/ 552755 h 5092591"/>
              <a:gd name="connsiteX2021" fmla="*/ 1621256 w 4546203"/>
              <a:gd name="connsiteY2021" fmla="*/ 542807 h 5092591"/>
              <a:gd name="connsiteX2022" fmla="*/ 1570716 w 4546203"/>
              <a:gd name="connsiteY2022" fmla="*/ 560316 h 5092591"/>
              <a:gd name="connsiteX2023" fmla="*/ 1584247 w 4546203"/>
              <a:gd name="connsiteY2023" fmla="*/ 598122 h 5092591"/>
              <a:gd name="connsiteX2024" fmla="*/ 1633593 w 4546203"/>
              <a:gd name="connsiteY2024" fmla="*/ 581010 h 5092591"/>
              <a:gd name="connsiteX2025" fmla="*/ 1621256 w 4546203"/>
              <a:gd name="connsiteY2025" fmla="*/ 542807 h 5092591"/>
              <a:gd name="connsiteX2026" fmla="*/ 1680153 w 4546203"/>
              <a:gd name="connsiteY2026" fmla="*/ 524899 h 5092591"/>
              <a:gd name="connsiteX2027" fmla="*/ 1629215 w 4546203"/>
              <a:gd name="connsiteY2027" fmla="*/ 540021 h 5092591"/>
              <a:gd name="connsiteX2028" fmla="*/ 1641950 w 4546203"/>
              <a:gd name="connsiteY2028" fmla="*/ 578622 h 5092591"/>
              <a:gd name="connsiteX2029" fmla="*/ 1691694 w 4546203"/>
              <a:gd name="connsiteY2029" fmla="*/ 563102 h 5092591"/>
              <a:gd name="connsiteX2030" fmla="*/ 1680153 w 4546203"/>
              <a:gd name="connsiteY2030" fmla="*/ 524899 h 5092591"/>
              <a:gd name="connsiteX2031" fmla="*/ 2667472 w 4546203"/>
              <a:gd name="connsiteY2031" fmla="*/ 522113 h 5092591"/>
              <a:gd name="connsiteX2032" fmla="*/ 2659115 w 4546203"/>
              <a:gd name="connsiteY2032" fmla="*/ 566286 h 5092591"/>
              <a:gd name="connsiteX2033" fmla="*/ 2749450 w 4546203"/>
              <a:gd name="connsiteY2033" fmla="*/ 586183 h 5092591"/>
              <a:gd name="connsiteX2034" fmla="*/ 2760195 w 4546203"/>
              <a:gd name="connsiteY2034" fmla="*/ 542409 h 5092591"/>
              <a:gd name="connsiteX2035" fmla="*/ 2667472 w 4546203"/>
              <a:gd name="connsiteY2035" fmla="*/ 522113 h 5092591"/>
              <a:gd name="connsiteX2036" fmla="*/ 2425119 w 4546203"/>
              <a:gd name="connsiteY2036" fmla="*/ 465604 h 5092591"/>
              <a:gd name="connsiteX2037" fmla="*/ 2420742 w 4546203"/>
              <a:gd name="connsiteY2037" fmla="*/ 529276 h 5092591"/>
              <a:gd name="connsiteX2038" fmla="*/ 2490781 w 4546203"/>
              <a:gd name="connsiteY2038" fmla="*/ 535643 h 5092591"/>
              <a:gd name="connsiteX2039" fmla="*/ 2497148 w 4546203"/>
              <a:gd name="connsiteY2039" fmla="*/ 472369 h 5092591"/>
              <a:gd name="connsiteX2040" fmla="*/ 2425119 w 4546203"/>
              <a:gd name="connsiteY2040" fmla="*/ 465604 h 5092591"/>
              <a:gd name="connsiteX2041" fmla="*/ 2320060 w 4546203"/>
              <a:gd name="connsiteY2041" fmla="*/ 462818 h 5092591"/>
              <a:gd name="connsiteX2042" fmla="*/ 2319662 w 4546203"/>
              <a:gd name="connsiteY2042" fmla="*/ 523705 h 5092591"/>
              <a:gd name="connsiteX2043" fmla="*/ 2388508 w 4546203"/>
              <a:gd name="connsiteY2043" fmla="*/ 527286 h 5092591"/>
              <a:gd name="connsiteX2044" fmla="*/ 2392487 w 4546203"/>
              <a:gd name="connsiteY2044" fmla="*/ 462818 h 5092591"/>
              <a:gd name="connsiteX2045" fmla="*/ 2320060 w 4546203"/>
              <a:gd name="connsiteY2045" fmla="*/ 462818 h 5092591"/>
              <a:gd name="connsiteX2046" fmla="*/ 2181971 w 4546203"/>
              <a:gd name="connsiteY2046" fmla="*/ 461226 h 5092591"/>
              <a:gd name="connsiteX2047" fmla="*/ 2110339 w 4546203"/>
              <a:gd name="connsiteY2047" fmla="*/ 466002 h 5092591"/>
              <a:gd name="connsiteX2048" fmla="*/ 2115115 w 4546203"/>
              <a:gd name="connsiteY2048" fmla="*/ 528878 h 5092591"/>
              <a:gd name="connsiteX2049" fmla="*/ 2185950 w 4546203"/>
              <a:gd name="connsiteY2049" fmla="*/ 524899 h 5092591"/>
              <a:gd name="connsiteX2050" fmla="*/ 2181971 w 4546203"/>
              <a:gd name="connsiteY2050" fmla="*/ 461226 h 5092591"/>
              <a:gd name="connsiteX2051" fmla="*/ 1608523 w 4546203"/>
              <a:gd name="connsiteY2051" fmla="*/ 448890 h 5092591"/>
              <a:gd name="connsiteX2052" fmla="*/ 1620859 w 4546203"/>
              <a:gd name="connsiteY2052" fmla="*/ 481522 h 5092591"/>
              <a:gd name="connsiteX2053" fmla="*/ 1651900 w 4546203"/>
              <a:gd name="connsiteY2053" fmla="*/ 475155 h 5092591"/>
              <a:gd name="connsiteX2054" fmla="*/ 1658267 w 4546203"/>
              <a:gd name="connsiteY2054" fmla="*/ 498635 h 5092591"/>
              <a:gd name="connsiteX2055" fmla="*/ 1403576 w 4546203"/>
              <a:gd name="connsiteY2055" fmla="*/ 592950 h 5092591"/>
              <a:gd name="connsiteX2056" fmla="*/ 1391240 w 4546203"/>
              <a:gd name="connsiteY2056" fmla="*/ 566685 h 5092591"/>
              <a:gd name="connsiteX2057" fmla="*/ 1432627 w 4546203"/>
              <a:gd name="connsiteY2057" fmla="*/ 560318 h 5092591"/>
              <a:gd name="connsiteX2058" fmla="*/ 1445759 w 4546203"/>
              <a:gd name="connsiteY2058" fmla="*/ 556338 h 5092591"/>
              <a:gd name="connsiteX2059" fmla="*/ 1608125 w 4546203"/>
              <a:gd name="connsiteY2059" fmla="*/ 496247 h 5092591"/>
              <a:gd name="connsiteX2060" fmla="*/ 1622451 w 4546203"/>
              <a:gd name="connsiteY2060" fmla="*/ 489879 h 5092591"/>
              <a:gd name="connsiteX2061" fmla="*/ 1619267 w 4546203"/>
              <a:gd name="connsiteY2061" fmla="*/ 482318 h 5092591"/>
              <a:gd name="connsiteX2062" fmla="*/ 1427056 w 4546203"/>
              <a:gd name="connsiteY2062" fmla="*/ 552359 h 5092591"/>
              <a:gd name="connsiteX2063" fmla="*/ 1413525 w 4546203"/>
              <a:gd name="connsiteY2063" fmla="*/ 520920 h 5092591"/>
              <a:gd name="connsiteX2064" fmla="*/ 1608523 w 4546203"/>
              <a:gd name="connsiteY2064" fmla="*/ 448890 h 5092591"/>
              <a:gd name="connsiteX2065" fmla="*/ 2322448 w 4546203"/>
              <a:gd name="connsiteY2065" fmla="*/ 370891 h 5092591"/>
              <a:gd name="connsiteX2066" fmla="*/ 2322845 w 4546203"/>
              <a:gd name="connsiteY2066" fmla="*/ 432574 h 5092591"/>
              <a:gd name="connsiteX2067" fmla="*/ 2394875 w 4546203"/>
              <a:gd name="connsiteY2067" fmla="*/ 432574 h 5092591"/>
              <a:gd name="connsiteX2068" fmla="*/ 2398058 w 4546203"/>
              <a:gd name="connsiteY2068" fmla="*/ 370891 h 5092591"/>
              <a:gd name="connsiteX2069" fmla="*/ 2322448 w 4546203"/>
              <a:gd name="connsiteY2069" fmla="*/ 370891 h 5092591"/>
              <a:gd name="connsiteX2070" fmla="*/ 2215398 w 4546203"/>
              <a:gd name="connsiteY2070" fmla="*/ 369697 h 5092591"/>
              <a:gd name="connsiteX2071" fmla="*/ 2215398 w 4546203"/>
              <a:gd name="connsiteY2071" fmla="*/ 430982 h 5092591"/>
              <a:gd name="connsiteX2072" fmla="*/ 2287428 w 4546203"/>
              <a:gd name="connsiteY2072" fmla="*/ 430982 h 5092591"/>
              <a:gd name="connsiteX2073" fmla="*/ 2287428 w 4546203"/>
              <a:gd name="connsiteY2073" fmla="*/ 369697 h 5092591"/>
              <a:gd name="connsiteX2074" fmla="*/ 2215398 w 4546203"/>
              <a:gd name="connsiteY2074" fmla="*/ 369697 h 5092591"/>
              <a:gd name="connsiteX2075" fmla="*/ 2178787 w 4546203"/>
              <a:gd name="connsiteY2075" fmla="*/ 369299 h 5092591"/>
              <a:gd name="connsiteX2076" fmla="*/ 2103176 w 4546203"/>
              <a:gd name="connsiteY2076" fmla="*/ 374075 h 5092591"/>
              <a:gd name="connsiteX2077" fmla="*/ 2108350 w 4546203"/>
              <a:gd name="connsiteY2077" fmla="*/ 437747 h 5092591"/>
              <a:gd name="connsiteX2078" fmla="*/ 2182368 w 4546203"/>
              <a:gd name="connsiteY2078" fmla="*/ 432574 h 5092591"/>
              <a:gd name="connsiteX2079" fmla="*/ 2178787 w 4546203"/>
              <a:gd name="connsiteY2079" fmla="*/ 369299 h 5092591"/>
              <a:gd name="connsiteX2080" fmla="*/ 2438650 w 4546203"/>
              <a:gd name="connsiteY2080" fmla="*/ 281352 h 5092591"/>
              <a:gd name="connsiteX2081" fmla="*/ 2433874 w 4546203"/>
              <a:gd name="connsiteY2081" fmla="*/ 345024 h 5092591"/>
              <a:gd name="connsiteX2082" fmla="*/ 2510281 w 4546203"/>
              <a:gd name="connsiteY2082" fmla="*/ 351790 h 5092591"/>
              <a:gd name="connsiteX2083" fmla="*/ 2517444 w 4546203"/>
              <a:gd name="connsiteY2083" fmla="*/ 288515 h 5092591"/>
              <a:gd name="connsiteX2084" fmla="*/ 2438650 w 4546203"/>
              <a:gd name="connsiteY2084" fmla="*/ 281352 h 5092591"/>
              <a:gd name="connsiteX2085" fmla="*/ 2212215 w 4546203"/>
              <a:gd name="connsiteY2085" fmla="*/ 276975 h 5092591"/>
              <a:gd name="connsiteX2086" fmla="*/ 2212215 w 4546203"/>
              <a:gd name="connsiteY2086" fmla="*/ 337463 h 5092591"/>
              <a:gd name="connsiteX2087" fmla="*/ 2288622 w 4546203"/>
              <a:gd name="connsiteY2087" fmla="*/ 337463 h 5092591"/>
              <a:gd name="connsiteX2088" fmla="*/ 2288622 w 4546203"/>
              <a:gd name="connsiteY2088" fmla="*/ 276975 h 5092591"/>
              <a:gd name="connsiteX2089" fmla="*/ 2212215 w 4546203"/>
              <a:gd name="connsiteY2089" fmla="*/ 276975 h 5092591"/>
              <a:gd name="connsiteX2090" fmla="*/ 2445415 w 4546203"/>
              <a:gd name="connsiteY2090" fmla="*/ 189425 h 5092591"/>
              <a:gd name="connsiteX2091" fmla="*/ 2440639 w 4546203"/>
              <a:gd name="connsiteY2091" fmla="*/ 252700 h 5092591"/>
              <a:gd name="connsiteX2092" fmla="*/ 2520230 w 4546203"/>
              <a:gd name="connsiteY2092" fmla="*/ 259863 h 5092591"/>
              <a:gd name="connsiteX2093" fmla="*/ 2526995 w 4546203"/>
              <a:gd name="connsiteY2093" fmla="*/ 196588 h 5092591"/>
              <a:gd name="connsiteX2094" fmla="*/ 2445415 w 4546203"/>
              <a:gd name="connsiteY2094" fmla="*/ 189425 h 5092591"/>
              <a:gd name="connsiteX2095" fmla="*/ 2170828 w 4546203"/>
              <a:gd name="connsiteY2095" fmla="*/ 184650 h 5092591"/>
              <a:gd name="connsiteX2096" fmla="*/ 2089248 w 4546203"/>
              <a:gd name="connsiteY2096" fmla="*/ 189823 h 5092591"/>
              <a:gd name="connsiteX2097" fmla="*/ 2094421 w 4546203"/>
              <a:gd name="connsiteY2097" fmla="*/ 253097 h 5092591"/>
              <a:gd name="connsiteX2098" fmla="*/ 2174409 w 4546203"/>
              <a:gd name="connsiteY2098" fmla="*/ 248322 h 5092591"/>
              <a:gd name="connsiteX2099" fmla="*/ 2170828 w 4546203"/>
              <a:gd name="connsiteY2099" fmla="*/ 184650 h 5092591"/>
              <a:gd name="connsiteX2100" fmla="*/ 2210225 w 4546203"/>
              <a:gd name="connsiteY2100" fmla="*/ 184252 h 5092591"/>
              <a:gd name="connsiteX2101" fmla="*/ 2210225 w 4546203"/>
              <a:gd name="connsiteY2101" fmla="*/ 245536 h 5092591"/>
              <a:gd name="connsiteX2102" fmla="*/ 2289020 w 4546203"/>
              <a:gd name="connsiteY2102" fmla="*/ 245536 h 5092591"/>
              <a:gd name="connsiteX2103" fmla="*/ 2289020 w 4546203"/>
              <a:gd name="connsiteY2103" fmla="*/ 184252 h 5092591"/>
              <a:gd name="connsiteX2104" fmla="*/ 2210225 w 4546203"/>
              <a:gd name="connsiteY2104" fmla="*/ 184252 h 5092591"/>
              <a:gd name="connsiteX2105" fmla="*/ 2175205 w 4546203"/>
              <a:gd name="connsiteY2105" fmla="*/ 0 h 5092591"/>
              <a:gd name="connsiteX2106" fmla="*/ 2282652 w 4546203"/>
              <a:gd name="connsiteY2106" fmla="*/ 0 h 5092591"/>
              <a:gd name="connsiteX2107" fmla="*/ 2282652 w 4546203"/>
              <a:gd name="connsiteY2107" fmla="*/ 33030 h 5092591"/>
              <a:gd name="connsiteX2108" fmla="*/ 2342345 w 4546203"/>
              <a:gd name="connsiteY2108" fmla="*/ 33030 h 5092591"/>
              <a:gd name="connsiteX2109" fmla="*/ 2342345 w 4546203"/>
              <a:gd name="connsiteY2109" fmla="*/ 0 h 5092591"/>
              <a:gd name="connsiteX2110" fmla="*/ 2366222 w 4546203"/>
              <a:gd name="connsiteY2110" fmla="*/ 0 h 5092591"/>
              <a:gd name="connsiteX2111" fmla="*/ 2411589 w 4546203"/>
              <a:gd name="connsiteY2111" fmla="*/ 3980 h 5092591"/>
              <a:gd name="connsiteX2112" fmla="*/ 2530179 w 4546203"/>
              <a:gd name="connsiteY2112" fmla="*/ 12734 h 5092591"/>
              <a:gd name="connsiteX2113" fmla="*/ 2530179 w 4546203"/>
              <a:gd name="connsiteY2113" fmla="*/ 45367 h 5092591"/>
              <a:gd name="connsiteX2114" fmla="*/ 2545301 w 4546203"/>
              <a:gd name="connsiteY2114" fmla="*/ 50142 h 5092591"/>
              <a:gd name="connsiteX2115" fmla="*/ 2538535 w 4546203"/>
              <a:gd name="connsiteY2115" fmla="*/ 118590 h 5092591"/>
              <a:gd name="connsiteX2116" fmla="*/ 2571168 w 4546203"/>
              <a:gd name="connsiteY2116" fmla="*/ 125355 h 5092591"/>
              <a:gd name="connsiteX2117" fmla="*/ 2483618 w 4546203"/>
              <a:gd name="connsiteY2117" fmla="*/ 837689 h 5092591"/>
              <a:gd name="connsiteX2118" fmla="*/ 2567188 w 4546203"/>
              <a:gd name="connsiteY2118" fmla="*/ 849627 h 5092591"/>
              <a:gd name="connsiteX2119" fmla="*/ 2632054 w 4546203"/>
              <a:gd name="connsiteY2119" fmla="*/ 476746 h 5092591"/>
              <a:gd name="connsiteX2120" fmla="*/ 2664686 w 4546203"/>
              <a:gd name="connsiteY2120" fmla="*/ 480726 h 5092591"/>
              <a:gd name="connsiteX2121" fmla="*/ 2675033 w 4546203"/>
              <a:gd name="connsiteY2121" fmla="*/ 432972 h 5092591"/>
              <a:gd name="connsiteX2122" fmla="*/ 2706869 w 4546203"/>
              <a:gd name="connsiteY2122" fmla="*/ 437747 h 5092591"/>
              <a:gd name="connsiteX2123" fmla="*/ 2715624 w 4546203"/>
              <a:gd name="connsiteY2123" fmla="*/ 414666 h 5092591"/>
              <a:gd name="connsiteX2124" fmla="*/ 2904651 w 4546203"/>
              <a:gd name="connsiteY2124" fmla="*/ 463216 h 5092591"/>
              <a:gd name="connsiteX2125" fmla="*/ 2899478 w 4546203"/>
              <a:gd name="connsiteY2125" fmla="*/ 487491 h 5092591"/>
              <a:gd name="connsiteX2126" fmla="*/ 2976680 w 4546203"/>
              <a:gd name="connsiteY2126" fmla="*/ 512562 h 5092591"/>
              <a:gd name="connsiteX2127" fmla="*/ 2988221 w 4546203"/>
              <a:gd name="connsiteY2127" fmla="*/ 490675 h 5092591"/>
              <a:gd name="connsiteX2128" fmla="*/ 3170085 w 4546203"/>
              <a:gd name="connsiteY2128" fmla="*/ 563500 h 5092591"/>
              <a:gd name="connsiteX2129" fmla="*/ 3161330 w 4546203"/>
              <a:gd name="connsiteY2129" fmla="*/ 585387 h 5092591"/>
              <a:gd name="connsiteX2130" fmla="*/ 3177248 w 4546203"/>
              <a:gd name="connsiteY2130" fmla="*/ 596132 h 5092591"/>
              <a:gd name="connsiteX2131" fmla="*/ 3157351 w 4546203"/>
              <a:gd name="connsiteY2131" fmla="*/ 640305 h 5092591"/>
              <a:gd name="connsiteX2132" fmla="*/ 3190779 w 4546203"/>
              <a:gd name="connsiteY2132" fmla="*/ 657815 h 5092591"/>
              <a:gd name="connsiteX2133" fmla="*/ 2948028 w 4546203"/>
              <a:gd name="connsiteY2133" fmla="*/ 1156051 h 5092591"/>
              <a:gd name="connsiteX2134" fmla="*/ 2962752 w 4546203"/>
              <a:gd name="connsiteY2134" fmla="*/ 1161224 h 5092591"/>
              <a:gd name="connsiteX2135" fmla="*/ 2892713 w 4546203"/>
              <a:gd name="connsiteY2135" fmla="*/ 1303293 h 5092591"/>
              <a:gd name="connsiteX2136" fmla="*/ 2900672 w 4546203"/>
              <a:gd name="connsiteY2136" fmla="*/ 1307272 h 5092591"/>
              <a:gd name="connsiteX2137" fmla="*/ 2971905 w 4546203"/>
              <a:gd name="connsiteY2137" fmla="*/ 1167989 h 5092591"/>
              <a:gd name="connsiteX2138" fmla="*/ 2980660 w 4546203"/>
              <a:gd name="connsiteY2138" fmla="*/ 1185897 h 5092591"/>
              <a:gd name="connsiteX2139" fmla="*/ 2913406 w 4546203"/>
              <a:gd name="connsiteY2139" fmla="*/ 1314037 h 5092591"/>
              <a:gd name="connsiteX2140" fmla="*/ 2961558 w 4546203"/>
              <a:gd name="connsiteY2140" fmla="*/ 1339506 h 5092591"/>
              <a:gd name="connsiteX2141" fmla="*/ 2977476 w 4546203"/>
              <a:gd name="connsiteY2141" fmla="*/ 1300905 h 5092591"/>
              <a:gd name="connsiteX2142" fmla="*/ 2979864 w 4546203"/>
              <a:gd name="connsiteY2142" fmla="*/ 1290558 h 5092591"/>
              <a:gd name="connsiteX2143" fmla="*/ 2965936 w 4546203"/>
              <a:gd name="connsiteY2143" fmla="*/ 1281007 h 5092591"/>
              <a:gd name="connsiteX2144" fmla="*/ 2979864 w 4546203"/>
              <a:gd name="connsiteY2144" fmla="*/ 1256334 h 5092591"/>
              <a:gd name="connsiteX2145" fmla="*/ 3003741 w 4546203"/>
              <a:gd name="connsiteY2145" fmla="*/ 1260712 h 5092591"/>
              <a:gd name="connsiteX2146" fmla="*/ 3005333 w 4546203"/>
              <a:gd name="connsiteY2146" fmla="*/ 1254345 h 5092591"/>
              <a:gd name="connsiteX2147" fmla="*/ 2979068 w 4546203"/>
              <a:gd name="connsiteY2147" fmla="*/ 1236835 h 5092591"/>
              <a:gd name="connsiteX2148" fmla="*/ 2994190 w 4546203"/>
              <a:gd name="connsiteY2148" fmla="*/ 1210172 h 5092591"/>
              <a:gd name="connsiteX2149" fmla="*/ 3013690 w 4546203"/>
              <a:gd name="connsiteY2149" fmla="*/ 1220519 h 5092591"/>
              <a:gd name="connsiteX2150" fmla="*/ 3025231 w 4546203"/>
              <a:gd name="connsiteY2150" fmla="*/ 1220121 h 5092591"/>
              <a:gd name="connsiteX2151" fmla="*/ 3018863 w 4546203"/>
              <a:gd name="connsiteY2151" fmla="*/ 1210172 h 5092591"/>
              <a:gd name="connsiteX2152" fmla="*/ 2991007 w 4546203"/>
              <a:gd name="connsiteY2152" fmla="*/ 1193856 h 5092591"/>
              <a:gd name="connsiteX2153" fmla="*/ 3006129 w 4546203"/>
              <a:gd name="connsiteY2153" fmla="*/ 1166397 h 5092591"/>
              <a:gd name="connsiteX2154" fmla="*/ 3035975 w 4546203"/>
              <a:gd name="connsiteY2154" fmla="*/ 1182315 h 5092591"/>
              <a:gd name="connsiteX2155" fmla="*/ 3047118 w 4546203"/>
              <a:gd name="connsiteY2155" fmla="*/ 1181121 h 5092591"/>
              <a:gd name="connsiteX2156" fmla="*/ 3041945 w 4546203"/>
              <a:gd name="connsiteY2156" fmla="*/ 1172366 h 5092591"/>
              <a:gd name="connsiteX2157" fmla="*/ 3002547 w 4546203"/>
              <a:gd name="connsiteY2157" fmla="*/ 1149683 h 5092591"/>
              <a:gd name="connsiteX2158" fmla="*/ 3017670 w 4546203"/>
              <a:gd name="connsiteY2158" fmla="*/ 1122622 h 5092591"/>
              <a:gd name="connsiteX2159" fmla="*/ 3055077 w 4546203"/>
              <a:gd name="connsiteY2159" fmla="*/ 1142918 h 5092591"/>
              <a:gd name="connsiteX2160" fmla="*/ 3068607 w 4546203"/>
              <a:gd name="connsiteY2160" fmla="*/ 1143316 h 5092591"/>
              <a:gd name="connsiteX2161" fmla="*/ 3060250 w 4546203"/>
              <a:gd name="connsiteY2161" fmla="*/ 1132173 h 5092591"/>
              <a:gd name="connsiteX2162" fmla="*/ 3013690 w 4546203"/>
              <a:gd name="connsiteY2162" fmla="*/ 1105909 h 5092591"/>
              <a:gd name="connsiteX2163" fmla="*/ 3028414 w 4546203"/>
              <a:gd name="connsiteY2163" fmla="*/ 1078450 h 5092591"/>
              <a:gd name="connsiteX2164" fmla="*/ 3062240 w 4546203"/>
              <a:gd name="connsiteY2164" fmla="*/ 1096358 h 5092591"/>
              <a:gd name="connsiteX2165" fmla="*/ 3091689 w 4546203"/>
              <a:gd name="connsiteY2165" fmla="*/ 1099143 h 5092591"/>
              <a:gd name="connsiteX2166" fmla="*/ 3024435 w 4546203"/>
              <a:gd name="connsiteY2166" fmla="*/ 1061736 h 5092591"/>
              <a:gd name="connsiteX2167" fmla="*/ 3039159 w 4546203"/>
              <a:gd name="connsiteY2167" fmla="*/ 1033879 h 5092591"/>
              <a:gd name="connsiteX2168" fmla="*/ 3097658 w 4546203"/>
              <a:gd name="connsiteY2168" fmla="*/ 1065317 h 5092591"/>
              <a:gd name="connsiteX2169" fmla="*/ 3112382 w 4546203"/>
              <a:gd name="connsiteY2169" fmla="*/ 1065715 h 5092591"/>
              <a:gd name="connsiteX2170" fmla="*/ 3103627 w 4546203"/>
              <a:gd name="connsiteY2170" fmla="*/ 1054971 h 5092591"/>
              <a:gd name="connsiteX2171" fmla="*/ 3035179 w 4546203"/>
              <a:gd name="connsiteY2171" fmla="*/ 1017165 h 5092591"/>
              <a:gd name="connsiteX2172" fmla="*/ 3049108 w 4546203"/>
              <a:gd name="connsiteY2172" fmla="*/ 989309 h 5092591"/>
              <a:gd name="connsiteX2173" fmla="*/ 3104025 w 4546203"/>
              <a:gd name="connsiteY2173" fmla="*/ 1017961 h 5092591"/>
              <a:gd name="connsiteX2174" fmla="*/ 3157749 w 4546203"/>
              <a:gd name="connsiteY2174" fmla="*/ 1032685 h 5092591"/>
              <a:gd name="connsiteX2175" fmla="*/ 3189187 w 4546203"/>
              <a:gd name="connsiteY2175" fmla="*/ 982145 h 5092591"/>
              <a:gd name="connsiteX2176" fmla="*/ 3308572 w 4546203"/>
              <a:gd name="connsiteY2176" fmla="*/ 1058552 h 5092591"/>
              <a:gd name="connsiteX2177" fmla="*/ 3463376 w 4546203"/>
              <a:gd name="connsiteY2177" fmla="*/ 837689 h 5092591"/>
              <a:gd name="connsiteX2178" fmla="*/ 3498793 w 4546203"/>
              <a:gd name="connsiteY2178" fmla="*/ 861566 h 5092591"/>
              <a:gd name="connsiteX2179" fmla="*/ 3526650 w 4546203"/>
              <a:gd name="connsiteY2179" fmla="*/ 825750 h 5092591"/>
              <a:gd name="connsiteX2180" fmla="*/ 3559680 w 4546203"/>
              <a:gd name="connsiteY2180" fmla="*/ 849230 h 5092591"/>
              <a:gd name="connsiteX2181" fmla="*/ 3579578 w 4546203"/>
              <a:gd name="connsiteY2181" fmla="*/ 827740 h 5092591"/>
              <a:gd name="connsiteX2182" fmla="*/ 3757462 w 4546203"/>
              <a:gd name="connsiteY2182" fmla="*/ 979758 h 5092591"/>
              <a:gd name="connsiteX2183" fmla="*/ 3737565 w 4546203"/>
              <a:gd name="connsiteY2183" fmla="*/ 1004431 h 5092591"/>
              <a:gd name="connsiteX2184" fmla="*/ 3764625 w 4546203"/>
              <a:gd name="connsiteY2184" fmla="*/ 1023930 h 5092591"/>
              <a:gd name="connsiteX2185" fmla="*/ 3729208 w 4546203"/>
              <a:gd name="connsiteY2185" fmla="*/ 1062930 h 5092591"/>
              <a:gd name="connsiteX2186" fmla="*/ 3762238 w 4546203"/>
              <a:gd name="connsiteY2186" fmla="*/ 1087205 h 5092591"/>
              <a:gd name="connsiteX2187" fmla="*/ 3500385 w 4546203"/>
              <a:gd name="connsiteY2187" fmla="*/ 1343486 h 5092591"/>
              <a:gd name="connsiteX2188" fmla="*/ 3530232 w 4546203"/>
              <a:gd name="connsiteY2188" fmla="*/ 1376118 h 5092591"/>
              <a:gd name="connsiteX2189" fmla="*/ 3322899 w 4546203"/>
              <a:gd name="connsiteY2189" fmla="*/ 1569125 h 5092591"/>
              <a:gd name="connsiteX2190" fmla="*/ 3377816 w 4546203"/>
              <a:gd name="connsiteY2190" fmla="*/ 1606134 h 5092591"/>
              <a:gd name="connsiteX2191" fmla="*/ 3386969 w 4546203"/>
              <a:gd name="connsiteY2191" fmla="*/ 1596583 h 5092591"/>
              <a:gd name="connsiteX2192" fmla="*/ 3359510 w 4546203"/>
              <a:gd name="connsiteY2192" fmla="*/ 1563951 h 5092591"/>
              <a:gd name="connsiteX2193" fmla="*/ 3375826 w 4546203"/>
              <a:gd name="connsiteY2193" fmla="*/ 1549625 h 5092591"/>
              <a:gd name="connsiteX2194" fmla="*/ 3404081 w 4546203"/>
              <a:gd name="connsiteY2194" fmla="*/ 1580665 h 5092591"/>
              <a:gd name="connsiteX2195" fmla="*/ 3416815 w 4546203"/>
              <a:gd name="connsiteY2195" fmla="*/ 1568727 h 5092591"/>
              <a:gd name="connsiteX2196" fmla="*/ 3389755 w 4546203"/>
              <a:gd name="connsiteY2196" fmla="*/ 1536493 h 5092591"/>
              <a:gd name="connsiteX2197" fmla="*/ 3406071 w 4546203"/>
              <a:gd name="connsiteY2197" fmla="*/ 1522166 h 5092591"/>
              <a:gd name="connsiteX2198" fmla="*/ 3434723 w 4546203"/>
              <a:gd name="connsiteY2198" fmla="*/ 1553605 h 5092591"/>
              <a:gd name="connsiteX2199" fmla="*/ 3447856 w 4546203"/>
              <a:gd name="connsiteY2199" fmla="*/ 1542462 h 5092591"/>
              <a:gd name="connsiteX2200" fmla="*/ 3419601 w 4546203"/>
              <a:gd name="connsiteY2200" fmla="*/ 1509034 h 5092591"/>
              <a:gd name="connsiteX2201" fmla="*/ 3436315 w 4546203"/>
              <a:gd name="connsiteY2201" fmla="*/ 1494708 h 5092591"/>
              <a:gd name="connsiteX2202" fmla="*/ 3465763 w 4546203"/>
              <a:gd name="connsiteY2202" fmla="*/ 1527340 h 5092591"/>
              <a:gd name="connsiteX2203" fmla="*/ 3478896 w 4546203"/>
              <a:gd name="connsiteY2203" fmla="*/ 1515799 h 5092591"/>
              <a:gd name="connsiteX2204" fmla="*/ 3449845 w 4546203"/>
              <a:gd name="connsiteY2204" fmla="*/ 1481575 h 5092591"/>
              <a:gd name="connsiteX2205" fmla="*/ 3466559 w 4546203"/>
              <a:gd name="connsiteY2205" fmla="*/ 1467249 h 5092591"/>
              <a:gd name="connsiteX2206" fmla="*/ 3498793 w 4546203"/>
              <a:gd name="connsiteY2206" fmla="*/ 1502667 h 5092591"/>
              <a:gd name="connsiteX2207" fmla="*/ 3482079 w 4546203"/>
              <a:gd name="connsiteY2207" fmla="*/ 1452127 h 5092591"/>
              <a:gd name="connsiteX2208" fmla="*/ 3496406 w 4546203"/>
              <a:gd name="connsiteY2208" fmla="*/ 1439790 h 5092591"/>
              <a:gd name="connsiteX2209" fmla="*/ 3529834 w 4546203"/>
              <a:gd name="connsiteY2209" fmla="*/ 1475606 h 5092591"/>
              <a:gd name="connsiteX2210" fmla="*/ 3512722 w 4546203"/>
              <a:gd name="connsiteY2210" fmla="*/ 1424270 h 5092591"/>
              <a:gd name="connsiteX2211" fmla="*/ 3527048 w 4546203"/>
              <a:gd name="connsiteY2211" fmla="*/ 1411934 h 5092591"/>
              <a:gd name="connsiteX2212" fmla="*/ 3560874 w 4546203"/>
              <a:gd name="connsiteY2212" fmla="*/ 1448943 h 5092591"/>
              <a:gd name="connsiteX2213" fmla="*/ 3573210 w 4546203"/>
              <a:gd name="connsiteY2213" fmla="*/ 1436607 h 5092591"/>
              <a:gd name="connsiteX2214" fmla="*/ 3541374 w 4546203"/>
              <a:gd name="connsiteY2214" fmla="*/ 1398801 h 5092591"/>
              <a:gd name="connsiteX2215" fmla="*/ 3557292 w 4546203"/>
              <a:gd name="connsiteY2215" fmla="*/ 1384475 h 5092591"/>
              <a:gd name="connsiteX2216" fmla="*/ 3590322 w 4546203"/>
              <a:gd name="connsiteY2216" fmla="*/ 1420689 h 5092591"/>
              <a:gd name="connsiteX2217" fmla="*/ 3603057 w 4546203"/>
              <a:gd name="connsiteY2217" fmla="*/ 1409148 h 5092591"/>
              <a:gd name="connsiteX2218" fmla="*/ 3571221 w 4546203"/>
              <a:gd name="connsiteY2218" fmla="*/ 1371342 h 5092591"/>
              <a:gd name="connsiteX2219" fmla="*/ 3590322 w 4546203"/>
              <a:gd name="connsiteY2219" fmla="*/ 1354231 h 5092591"/>
              <a:gd name="connsiteX2220" fmla="*/ 3630118 w 4546203"/>
              <a:gd name="connsiteY2220" fmla="*/ 1398801 h 5092591"/>
              <a:gd name="connsiteX2221" fmla="*/ 3671903 w 4546203"/>
              <a:gd name="connsiteY2221" fmla="*/ 1364975 h 5092591"/>
              <a:gd name="connsiteX2222" fmla="*/ 3787707 w 4546203"/>
              <a:gd name="connsiteY2222" fmla="*/ 1517789 h 5092591"/>
              <a:gd name="connsiteX2223" fmla="*/ 3743932 w 4546203"/>
              <a:gd name="connsiteY2223" fmla="*/ 1548829 h 5092591"/>
              <a:gd name="connsiteX2224" fmla="*/ 3779350 w 4546203"/>
              <a:gd name="connsiteY2224" fmla="*/ 1604144 h 5092591"/>
              <a:gd name="connsiteX2225" fmla="*/ 3585547 w 4546203"/>
              <a:gd name="connsiteY2225" fmla="*/ 1725918 h 5092591"/>
              <a:gd name="connsiteX2226" fmla="*/ 3659964 w 4546203"/>
              <a:gd name="connsiteY2226" fmla="*/ 1858436 h 5092591"/>
              <a:gd name="connsiteX2227" fmla="*/ 3698565 w 4546203"/>
              <a:gd name="connsiteY2227" fmla="*/ 1834161 h 5092591"/>
              <a:gd name="connsiteX2228" fmla="*/ 3732789 w 4546203"/>
              <a:gd name="connsiteY2228" fmla="*/ 1807498 h 5092591"/>
              <a:gd name="connsiteX2229" fmla="*/ 3794870 w 4546203"/>
              <a:gd name="connsiteY2229" fmla="*/ 1944791 h 5092591"/>
              <a:gd name="connsiteX2230" fmla="*/ 3844216 w 4546203"/>
              <a:gd name="connsiteY2230" fmla="*/ 1926088 h 5092591"/>
              <a:gd name="connsiteX2231" fmla="*/ 3861726 w 4546203"/>
              <a:gd name="connsiteY2231" fmla="*/ 1968270 h 5092591"/>
              <a:gd name="connsiteX2232" fmla="*/ 3902317 w 4546203"/>
              <a:gd name="connsiteY2232" fmla="*/ 1954342 h 5092591"/>
              <a:gd name="connsiteX2233" fmla="*/ 3946091 w 4546203"/>
              <a:gd name="connsiteY2233" fmla="*/ 2094421 h 5092591"/>
              <a:gd name="connsiteX2234" fmla="*/ 3905102 w 4546203"/>
              <a:gd name="connsiteY2234" fmla="*/ 2106360 h 5092591"/>
              <a:gd name="connsiteX2235" fmla="*/ 3916643 w 4546203"/>
              <a:gd name="connsiteY2235" fmla="*/ 2155706 h 5092591"/>
              <a:gd name="connsiteX2236" fmla="*/ 3782135 w 4546203"/>
              <a:gd name="connsiteY2236" fmla="*/ 2187940 h 5092591"/>
              <a:gd name="connsiteX2237" fmla="*/ 3821533 w 4546203"/>
              <a:gd name="connsiteY2237" fmla="*/ 2467700 h 5092591"/>
              <a:gd name="connsiteX2238" fmla="*/ 3659964 w 4546203"/>
              <a:gd name="connsiteY2238" fmla="*/ 2476455 h 5092591"/>
              <a:gd name="connsiteX2239" fmla="*/ 3659964 w 4546203"/>
              <a:gd name="connsiteY2239" fmla="*/ 2634442 h 5092591"/>
              <a:gd name="connsiteX2240" fmla="*/ 3698565 w 4546203"/>
              <a:gd name="connsiteY2240" fmla="*/ 2637228 h 5092591"/>
              <a:gd name="connsiteX2241" fmla="*/ 3801635 w 4546203"/>
              <a:gd name="connsiteY2241" fmla="*/ 2643595 h 5092591"/>
              <a:gd name="connsiteX2242" fmla="*/ 3811584 w 4546203"/>
              <a:gd name="connsiteY2242" fmla="*/ 2659911 h 5092591"/>
              <a:gd name="connsiteX2243" fmla="*/ 3656780 w 4546203"/>
              <a:gd name="connsiteY2243" fmla="*/ 2649564 h 5092591"/>
              <a:gd name="connsiteX2244" fmla="*/ 3653995 w 4546203"/>
              <a:gd name="connsiteY2244" fmla="*/ 2694533 h 5092591"/>
              <a:gd name="connsiteX2245" fmla="*/ 3808002 w 4546203"/>
              <a:gd name="connsiteY2245" fmla="*/ 2726767 h 5092591"/>
              <a:gd name="connsiteX2246" fmla="*/ 3828696 w 4546203"/>
              <a:gd name="connsiteY2246" fmla="*/ 2761389 h 5092591"/>
              <a:gd name="connsiteX2247" fmla="*/ 3946887 w 4546203"/>
              <a:gd name="connsiteY2247" fmla="*/ 2863662 h 5092591"/>
              <a:gd name="connsiteX2248" fmla="*/ 4050753 w 4546203"/>
              <a:gd name="connsiteY2248" fmla="*/ 3351949 h 5092591"/>
              <a:gd name="connsiteX2249" fmla="*/ 3941316 w 4546203"/>
              <a:gd name="connsiteY2249" fmla="*/ 3603853 h 5092591"/>
              <a:gd name="connsiteX2250" fmla="*/ 3947683 w 4546203"/>
              <a:gd name="connsiteY2250" fmla="*/ 3623751 h 5092591"/>
              <a:gd name="connsiteX2251" fmla="*/ 4024886 w 4546203"/>
              <a:gd name="connsiteY2251" fmla="*/ 3494018 h 5092591"/>
              <a:gd name="connsiteX2252" fmla="*/ 4094130 w 4546203"/>
              <a:gd name="connsiteY2252" fmla="*/ 3531824 h 5092591"/>
              <a:gd name="connsiteX2253" fmla="*/ 4009366 w 4546203"/>
              <a:gd name="connsiteY2253" fmla="*/ 3674688 h 5092591"/>
              <a:gd name="connsiteX2254" fmla="*/ 4028069 w 4546203"/>
              <a:gd name="connsiteY2254" fmla="*/ 3687025 h 5092591"/>
              <a:gd name="connsiteX2255" fmla="*/ 4110446 w 4546203"/>
              <a:gd name="connsiteY2255" fmla="*/ 3549732 h 5092591"/>
              <a:gd name="connsiteX2256" fmla="*/ 4177700 w 4546203"/>
              <a:gd name="connsiteY2256" fmla="*/ 3586741 h 5092591"/>
              <a:gd name="connsiteX2257" fmla="*/ 4089752 w 4546203"/>
              <a:gd name="connsiteY2257" fmla="*/ 3734381 h 5092591"/>
              <a:gd name="connsiteX2258" fmla="*/ 4109650 w 4546203"/>
              <a:gd name="connsiteY2258" fmla="*/ 3748309 h 5092591"/>
              <a:gd name="connsiteX2259" fmla="*/ 4195608 w 4546203"/>
              <a:gd name="connsiteY2259" fmla="*/ 3605445 h 5092591"/>
              <a:gd name="connsiteX2260" fmla="*/ 4261270 w 4546203"/>
              <a:gd name="connsiteY2260" fmla="*/ 3641658 h 5092591"/>
              <a:gd name="connsiteX2261" fmla="*/ 4169343 w 4546203"/>
              <a:gd name="connsiteY2261" fmla="*/ 3794472 h 5092591"/>
              <a:gd name="connsiteX2262" fmla="*/ 4190434 w 4546203"/>
              <a:gd name="connsiteY2262" fmla="*/ 3810390 h 5092591"/>
              <a:gd name="connsiteX2263" fmla="*/ 4280769 w 4546203"/>
              <a:gd name="connsiteY2263" fmla="*/ 3661954 h 5092591"/>
              <a:gd name="connsiteX2264" fmla="*/ 4344442 w 4546203"/>
              <a:gd name="connsiteY2264" fmla="*/ 3697372 h 5092591"/>
              <a:gd name="connsiteX2265" fmla="*/ 4247739 w 4546203"/>
              <a:gd name="connsiteY2265" fmla="*/ 3856155 h 5092591"/>
              <a:gd name="connsiteX2266" fmla="*/ 4270422 w 4546203"/>
              <a:gd name="connsiteY2266" fmla="*/ 3874460 h 5092591"/>
              <a:gd name="connsiteX2267" fmla="*/ 4283157 w 4546203"/>
              <a:gd name="connsiteY2267" fmla="*/ 3858542 h 5092591"/>
              <a:gd name="connsiteX2268" fmla="*/ 4376278 w 4546203"/>
              <a:gd name="connsiteY2268" fmla="*/ 3752289 h 5092591"/>
              <a:gd name="connsiteX2269" fmla="*/ 4418461 w 4546203"/>
              <a:gd name="connsiteY2269" fmla="*/ 3723239 h 5092591"/>
              <a:gd name="connsiteX2270" fmla="*/ 4443531 w 4546203"/>
              <a:gd name="connsiteY2270" fmla="*/ 3737963 h 5092591"/>
              <a:gd name="connsiteX2271" fmla="*/ 4439950 w 4546203"/>
              <a:gd name="connsiteY2271" fmla="*/ 3780942 h 5092591"/>
              <a:gd name="connsiteX2272" fmla="*/ 4384635 w 4546203"/>
              <a:gd name="connsiteY2272" fmla="*/ 3923408 h 5092591"/>
              <a:gd name="connsiteX2273" fmla="*/ 4394186 w 4546203"/>
              <a:gd name="connsiteY2273" fmla="*/ 3976336 h 5092591"/>
              <a:gd name="connsiteX2274" fmla="*/ 4527897 w 4546203"/>
              <a:gd name="connsiteY2274" fmla="*/ 4092140 h 5092591"/>
              <a:gd name="connsiteX2275" fmla="*/ 4546203 w 4546203"/>
              <a:gd name="connsiteY2275" fmla="*/ 4104079 h 5092591"/>
              <a:gd name="connsiteX2276" fmla="*/ 4546203 w 4546203"/>
              <a:gd name="connsiteY2276" fmla="*/ 4112038 h 5092591"/>
              <a:gd name="connsiteX2277" fmla="*/ 4531479 w 4546203"/>
              <a:gd name="connsiteY2277" fmla="*/ 4123181 h 5092591"/>
              <a:gd name="connsiteX2278" fmla="*/ 4330513 w 4546203"/>
              <a:gd name="connsiteY2278" fmla="*/ 4014142 h 5092591"/>
              <a:gd name="connsiteX2279" fmla="*/ 4317381 w 4546203"/>
              <a:gd name="connsiteY2279" fmla="*/ 4029662 h 5092591"/>
              <a:gd name="connsiteX2280" fmla="*/ 4198393 w 4546203"/>
              <a:gd name="connsiteY2280" fmla="*/ 4143078 h 5092591"/>
              <a:gd name="connsiteX2281" fmla="*/ 4140690 w 4546203"/>
              <a:gd name="connsiteY2281" fmla="*/ 4156608 h 5092591"/>
              <a:gd name="connsiteX2282" fmla="*/ 4142282 w 4546203"/>
              <a:gd name="connsiteY2282" fmla="*/ 4099303 h 5092591"/>
              <a:gd name="connsiteX2283" fmla="*/ 4201577 w 4546203"/>
              <a:gd name="connsiteY2283" fmla="*/ 3984693 h 5092591"/>
              <a:gd name="connsiteX2284" fmla="*/ 4222668 w 4546203"/>
              <a:gd name="connsiteY2284" fmla="*/ 3950867 h 5092591"/>
              <a:gd name="connsiteX2285" fmla="*/ 4197597 w 4546203"/>
              <a:gd name="connsiteY2285" fmla="*/ 3935745 h 5092591"/>
              <a:gd name="connsiteX2286" fmla="*/ 4084579 w 4546203"/>
              <a:gd name="connsiteY2286" fmla="*/ 4079406 h 5092591"/>
              <a:gd name="connsiteX2287" fmla="*/ 4028865 w 4546203"/>
              <a:gd name="connsiteY2287" fmla="*/ 4032447 h 5092591"/>
              <a:gd name="connsiteX2288" fmla="*/ 4134323 w 4546203"/>
              <a:gd name="connsiteY2288" fmla="*/ 3897940 h 5092591"/>
              <a:gd name="connsiteX2289" fmla="*/ 4112037 w 4546203"/>
              <a:gd name="connsiteY2289" fmla="*/ 3884011 h 5092591"/>
              <a:gd name="connsiteX2290" fmla="*/ 4002999 w 4546203"/>
              <a:gd name="connsiteY2290" fmla="*/ 4021703 h 5092591"/>
              <a:gd name="connsiteX2291" fmla="*/ 3946091 w 4546203"/>
              <a:gd name="connsiteY2291" fmla="*/ 3973152 h 5092591"/>
              <a:gd name="connsiteX2292" fmla="*/ 4047967 w 4546203"/>
              <a:gd name="connsiteY2292" fmla="*/ 3844216 h 5092591"/>
              <a:gd name="connsiteX2293" fmla="*/ 4027274 w 4546203"/>
              <a:gd name="connsiteY2293" fmla="*/ 3831482 h 5092591"/>
              <a:gd name="connsiteX2294" fmla="*/ 3921816 w 4546203"/>
              <a:gd name="connsiteY2294" fmla="*/ 3963204 h 5092591"/>
              <a:gd name="connsiteX2295" fmla="*/ 3863715 w 4546203"/>
              <a:gd name="connsiteY2295" fmla="*/ 3913062 h 5092591"/>
              <a:gd name="connsiteX2296" fmla="*/ 3962010 w 4546203"/>
              <a:gd name="connsiteY2296" fmla="*/ 3788901 h 5092591"/>
              <a:gd name="connsiteX2297" fmla="*/ 3943306 w 4546203"/>
              <a:gd name="connsiteY2297" fmla="*/ 3776962 h 5092591"/>
              <a:gd name="connsiteX2298" fmla="*/ 3841430 w 4546203"/>
              <a:gd name="connsiteY2298" fmla="*/ 3903909 h 5092591"/>
              <a:gd name="connsiteX2299" fmla="*/ 3781737 w 4546203"/>
              <a:gd name="connsiteY2299" fmla="*/ 3852175 h 5092591"/>
              <a:gd name="connsiteX2300" fmla="*/ 3876450 w 4546203"/>
              <a:gd name="connsiteY2300" fmla="*/ 3733585 h 5092591"/>
              <a:gd name="connsiteX2301" fmla="*/ 3858940 w 4546203"/>
              <a:gd name="connsiteY2301" fmla="*/ 3723239 h 5092591"/>
              <a:gd name="connsiteX2302" fmla="*/ 3761044 w 4546203"/>
              <a:gd name="connsiteY2302" fmla="*/ 3843818 h 5092591"/>
              <a:gd name="connsiteX2303" fmla="*/ 3731993 w 4546203"/>
              <a:gd name="connsiteY2303" fmla="*/ 3819145 h 5092591"/>
              <a:gd name="connsiteX2304" fmla="*/ 3718463 w 4546203"/>
              <a:gd name="connsiteY2304" fmla="*/ 3815166 h 5092591"/>
              <a:gd name="connsiteX2305" fmla="*/ 3647229 w 4546203"/>
              <a:gd name="connsiteY2305" fmla="*/ 3850981 h 5092591"/>
              <a:gd name="connsiteX2306" fmla="*/ 3770197 w 4546203"/>
              <a:gd name="connsiteY2306" fmla="*/ 3967979 h 5092591"/>
              <a:gd name="connsiteX2307" fmla="*/ 3714086 w 4546203"/>
              <a:gd name="connsiteY2307" fmla="*/ 4010560 h 5092591"/>
              <a:gd name="connsiteX2308" fmla="*/ 3734381 w 4546203"/>
              <a:gd name="connsiteY2308" fmla="*/ 4029662 h 5092591"/>
              <a:gd name="connsiteX2309" fmla="*/ 3783329 w 4546203"/>
              <a:gd name="connsiteY2309" fmla="*/ 3980316 h 5092591"/>
              <a:gd name="connsiteX2310" fmla="*/ 3802431 w 4546203"/>
              <a:gd name="connsiteY2310" fmla="*/ 4001009 h 5092591"/>
              <a:gd name="connsiteX2311" fmla="*/ 3774574 w 4546203"/>
              <a:gd name="connsiteY2311" fmla="*/ 4031651 h 5092591"/>
              <a:gd name="connsiteX2312" fmla="*/ 3806410 w 4546203"/>
              <a:gd name="connsiteY2312" fmla="*/ 4051549 h 5092591"/>
              <a:gd name="connsiteX2313" fmla="*/ 3770197 w 4546203"/>
              <a:gd name="connsiteY2313" fmla="*/ 4089355 h 5092591"/>
              <a:gd name="connsiteX2314" fmla="*/ 3840236 w 4546203"/>
              <a:gd name="connsiteY2314" fmla="*/ 4149445 h 5092591"/>
              <a:gd name="connsiteX2315" fmla="*/ 3804819 w 4546203"/>
              <a:gd name="connsiteY2315" fmla="*/ 4180087 h 5092591"/>
              <a:gd name="connsiteX2316" fmla="*/ 3884011 w 4546203"/>
              <a:gd name="connsiteY2316" fmla="*/ 4264851 h 5092591"/>
              <a:gd name="connsiteX2317" fmla="*/ 3816359 w 4546203"/>
              <a:gd name="connsiteY2317" fmla="*/ 4326136 h 5092591"/>
              <a:gd name="connsiteX2318" fmla="*/ 3741146 w 4546203"/>
              <a:gd name="connsiteY2318" fmla="*/ 4239382 h 5092591"/>
              <a:gd name="connsiteX2319" fmla="*/ 3706127 w 4546203"/>
              <a:gd name="connsiteY2319" fmla="*/ 4267637 h 5092591"/>
              <a:gd name="connsiteX2320" fmla="*/ 3648025 w 4546203"/>
              <a:gd name="connsiteY2320" fmla="*/ 4199189 h 5092591"/>
              <a:gd name="connsiteX2321" fmla="*/ 3619373 w 4546203"/>
              <a:gd name="connsiteY2321" fmla="*/ 4220679 h 5092591"/>
              <a:gd name="connsiteX2322" fmla="*/ 3595098 w 4546203"/>
              <a:gd name="connsiteY2322" fmla="*/ 4193220 h 5092591"/>
              <a:gd name="connsiteX2323" fmla="*/ 3566445 w 4546203"/>
              <a:gd name="connsiteY2323" fmla="*/ 4214311 h 5092591"/>
              <a:gd name="connsiteX2324" fmla="*/ 3351551 w 4546203"/>
              <a:gd name="connsiteY2324" fmla="*/ 3937735 h 5092591"/>
              <a:gd name="connsiteX2325" fmla="*/ 3297828 w 4546203"/>
              <a:gd name="connsiteY2325" fmla="*/ 3978326 h 5092591"/>
              <a:gd name="connsiteX2326" fmla="*/ 3314940 w 4546203"/>
              <a:gd name="connsiteY2326" fmla="*/ 4004591 h 5092591"/>
              <a:gd name="connsiteX2327" fmla="*/ 3278726 w 4546203"/>
              <a:gd name="connsiteY2327" fmla="*/ 4031651 h 5092591"/>
              <a:gd name="connsiteX2328" fmla="*/ 3307379 w 4546203"/>
              <a:gd name="connsiteY2328" fmla="*/ 4075824 h 5092591"/>
              <a:gd name="connsiteX2329" fmla="*/ 3182422 w 4546203"/>
              <a:gd name="connsiteY2329" fmla="*/ 4153425 h 5092591"/>
              <a:gd name="connsiteX2330" fmla="*/ 3155759 w 4546203"/>
              <a:gd name="connsiteY2330" fmla="*/ 4107660 h 5092591"/>
              <a:gd name="connsiteX2331" fmla="*/ 3111188 w 4546203"/>
              <a:gd name="connsiteY2331" fmla="*/ 4131140 h 5092591"/>
              <a:gd name="connsiteX2332" fmla="*/ 3043537 w 4546203"/>
              <a:gd name="connsiteY2332" fmla="*/ 4004193 h 5092591"/>
              <a:gd name="connsiteX2333" fmla="*/ 2986629 w 4546203"/>
              <a:gd name="connsiteY2333" fmla="*/ 4033641 h 5092591"/>
              <a:gd name="connsiteX2334" fmla="*/ 3196350 w 4546203"/>
              <a:gd name="connsiteY2334" fmla="*/ 4470990 h 5092591"/>
              <a:gd name="connsiteX2335" fmla="*/ 3162524 w 4546203"/>
              <a:gd name="connsiteY2335" fmla="*/ 4486908 h 5092591"/>
              <a:gd name="connsiteX2336" fmla="*/ 3151779 w 4546203"/>
              <a:gd name="connsiteY2336" fmla="*/ 4487307 h 5092591"/>
              <a:gd name="connsiteX2337" fmla="*/ 3131882 w 4546203"/>
              <a:gd name="connsiteY2337" fmla="*/ 4486113 h 5092591"/>
              <a:gd name="connsiteX2338" fmla="*/ 2883958 w 4546203"/>
              <a:gd name="connsiteY2338" fmla="*/ 4577244 h 5092591"/>
              <a:gd name="connsiteX2339" fmla="*/ 2870029 w 4546203"/>
              <a:gd name="connsiteY2339" fmla="*/ 4583213 h 5092591"/>
              <a:gd name="connsiteX2340" fmla="*/ 2831428 w 4546203"/>
              <a:gd name="connsiteY2340" fmla="*/ 4607488 h 5092591"/>
              <a:gd name="connsiteX2341" fmla="*/ 2739103 w 4546203"/>
              <a:gd name="connsiteY2341" fmla="*/ 4264851 h 5092591"/>
              <a:gd name="connsiteX2342" fmla="*/ 2715624 w 4546203"/>
              <a:gd name="connsiteY2342" fmla="*/ 4271616 h 5092591"/>
              <a:gd name="connsiteX2343" fmla="*/ 2727563 w 4546203"/>
              <a:gd name="connsiteY2343" fmla="*/ 4323748 h 5092591"/>
              <a:gd name="connsiteX2344" fmla="*/ 2539729 w 4546203"/>
              <a:gd name="connsiteY2344" fmla="*/ 4360758 h 5092591"/>
              <a:gd name="connsiteX2345" fmla="*/ 2530576 w 4546203"/>
              <a:gd name="connsiteY2345" fmla="*/ 4308228 h 5092591"/>
              <a:gd name="connsiteX2346" fmla="*/ 2465710 w 4546203"/>
              <a:gd name="connsiteY2346" fmla="*/ 4314993 h 5092591"/>
              <a:gd name="connsiteX2347" fmla="*/ 2462129 w 4546203"/>
              <a:gd name="connsiteY2347" fmla="*/ 4289524 h 5092591"/>
              <a:gd name="connsiteX2348" fmla="*/ 2433476 w 4546203"/>
              <a:gd name="connsiteY2348" fmla="*/ 4018519 h 5092591"/>
              <a:gd name="connsiteX2349" fmla="*/ 2413181 w 4546203"/>
              <a:gd name="connsiteY2349" fmla="*/ 4009366 h 5092591"/>
              <a:gd name="connsiteX2350" fmla="*/ 2503118 w 4546203"/>
              <a:gd name="connsiteY2350" fmla="*/ 4975594 h 5092591"/>
              <a:gd name="connsiteX2351" fmla="*/ 2474465 w 4546203"/>
              <a:gd name="connsiteY2351" fmla="*/ 4980767 h 5092591"/>
              <a:gd name="connsiteX2352" fmla="*/ 2479241 w 4546203"/>
              <a:gd name="connsiteY2352" fmla="*/ 5049612 h 5092591"/>
              <a:gd name="connsiteX2353" fmla="*/ 2449792 w 4546203"/>
              <a:gd name="connsiteY2353" fmla="*/ 5054388 h 5092591"/>
              <a:gd name="connsiteX2354" fmla="*/ 2449792 w 4546203"/>
              <a:gd name="connsiteY2354" fmla="*/ 5085428 h 5092591"/>
              <a:gd name="connsiteX2355" fmla="*/ 2370202 w 4546203"/>
              <a:gd name="connsiteY2355" fmla="*/ 5092591 h 5092591"/>
              <a:gd name="connsiteX2356" fmla="*/ 2262755 w 4546203"/>
              <a:gd name="connsiteY2356" fmla="*/ 5092591 h 5092591"/>
              <a:gd name="connsiteX2357" fmla="*/ 2262755 w 4546203"/>
              <a:gd name="connsiteY2357" fmla="*/ 5059561 h 5092591"/>
              <a:gd name="connsiteX2358" fmla="*/ 2203062 w 4546203"/>
              <a:gd name="connsiteY2358" fmla="*/ 5059561 h 5092591"/>
              <a:gd name="connsiteX2359" fmla="*/ 2203062 w 4546203"/>
              <a:gd name="connsiteY2359" fmla="*/ 5092591 h 5092591"/>
              <a:gd name="connsiteX2360" fmla="*/ 2179185 w 4546203"/>
              <a:gd name="connsiteY2360" fmla="*/ 5092591 h 5092591"/>
              <a:gd name="connsiteX2361" fmla="*/ 2149736 w 4546203"/>
              <a:gd name="connsiteY2361" fmla="*/ 5089408 h 5092591"/>
              <a:gd name="connsiteX2362" fmla="*/ 2016422 w 4546203"/>
              <a:gd name="connsiteY2362" fmla="*/ 5079857 h 5092591"/>
              <a:gd name="connsiteX2363" fmla="*/ 2000504 w 4546203"/>
              <a:gd name="connsiteY2363" fmla="*/ 5042847 h 5092591"/>
              <a:gd name="connsiteX2364" fmla="*/ 2007270 w 4546203"/>
              <a:gd name="connsiteY2364" fmla="*/ 4974399 h 5092591"/>
              <a:gd name="connsiteX2365" fmla="*/ 1974637 w 4546203"/>
              <a:gd name="connsiteY2365" fmla="*/ 4967634 h 5092591"/>
              <a:gd name="connsiteX2366" fmla="*/ 2062187 w 4546203"/>
              <a:gd name="connsiteY2366" fmla="*/ 4255300 h 5092591"/>
              <a:gd name="connsiteX2367" fmla="*/ 1978219 w 4546203"/>
              <a:gd name="connsiteY2367" fmla="*/ 4243362 h 5092591"/>
              <a:gd name="connsiteX2368" fmla="*/ 1913353 w 4546203"/>
              <a:gd name="connsiteY2368" fmla="*/ 4615845 h 5092591"/>
              <a:gd name="connsiteX2369" fmla="*/ 1880721 w 4546203"/>
              <a:gd name="connsiteY2369" fmla="*/ 4611467 h 5092591"/>
              <a:gd name="connsiteX2370" fmla="*/ 1870374 w 4546203"/>
              <a:gd name="connsiteY2370" fmla="*/ 4659620 h 5092591"/>
              <a:gd name="connsiteX2371" fmla="*/ 1838538 w 4546203"/>
              <a:gd name="connsiteY2371" fmla="*/ 4655242 h 5092591"/>
              <a:gd name="connsiteX2372" fmla="*/ 1829783 w 4546203"/>
              <a:gd name="connsiteY2372" fmla="*/ 4677925 h 5092591"/>
              <a:gd name="connsiteX2373" fmla="*/ 1640756 w 4546203"/>
              <a:gd name="connsiteY2373" fmla="*/ 4629375 h 5092591"/>
              <a:gd name="connsiteX2374" fmla="*/ 1645929 w 4546203"/>
              <a:gd name="connsiteY2374" fmla="*/ 4605498 h 5092591"/>
              <a:gd name="connsiteX2375" fmla="*/ 1568329 w 4546203"/>
              <a:gd name="connsiteY2375" fmla="*/ 4580029 h 5092591"/>
              <a:gd name="connsiteX2376" fmla="*/ 1558380 w 4546203"/>
              <a:gd name="connsiteY2376" fmla="*/ 4602713 h 5092591"/>
              <a:gd name="connsiteX2377" fmla="*/ 1375720 w 4546203"/>
              <a:gd name="connsiteY2377" fmla="*/ 4529887 h 5092591"/>
              <a:gd name="connsiteX2378" fmla="*/ 1384475 w 4546203"/>
              <a:gd name="connsiteY2378" fmla="*/ 4508000 h 5092591"/>
              <a:gd name="connsiteX2379" fmla="*/ 1368557 w 4546203"/>
              <a:gd name="connsiteY2379" fmla="*/ 4497255 h 5092591"/>
              <a:gd name="connsiteX2380" fmla="*/ 1388454 w 4546203"/>
              <a:gd name="connsiteY2380" fmla="*/ 4453082 h 5092591"/>
              <a:gd name="connsiteX2381" fmla="*/ 1354628 w 4546203"/>
              <a:gd name="connsiteY2381" fmla="*/ 4435573 h 5092591"/>
              <a:gd name="connsiteX2382" fmla="*/ 1595389 w 4546203"/>
              <a:gd name="connsiteY2382" fmla="*/ 3941714 h 5092591"/>
              <a:gd name="connsiteX2383" fmla="*/ 1583849 w 4546203"/>
              <a:gd name="connsiteY2383" fmla="*/ 3929378 h 5092591"/>
              <a:gd name="connsiteX2384" fmla="*/ 1652694 w 4546203"/>
              <a:gd name="connsiteY2384" fmla="*/ 3790493 h 5092591"/>
              <a:gd name="connsiteX2385" fmla="*/ 1644337 w 4546203"/>
              <a:gd name="connsiteY2385" fmla="*/ 3786513 h 5092591"/>
              <a:gd name="connsiteX2386" fmla="*/ 1573104 w 4546203"/>
              <a:gd name="connsiteY2386" fmla="*/ 3925398 h 5092591"/>
              <a:gd name="connsiteX2387" fmla="*/ 1564349 w 4546203"/>
              <a:gd name="connsiteY2387" fmla="*/ 3907092 h 5092591"/>
              <a:gd name="connsiteX2388" fmla="*/ 1631205 w 4546203"/>
              <a:gd name="connsiteY2388" fmla="*/ 3779350 h 5092591"/>
              <a:gd name="connsiteX2389" fmla="*/ 1582655 w 4546203"/>
              <a:gd name="connsiteY2389" fmla="*/ 3753483 h 5092591"/>
              <a:gd name="connsiteX2390" fmla="*/ 1567135 w 4546203"/>
              <a:gd name="connsiteY2390" fmla="*/ 3792482 h 5092591"/>
              <a:gd name="connsiteX2391" fmla="*/ 1564349 w 4546203"/>
              <a:gd name="connsiteY2391" fmla="*/ 3802829 h 5092591"/>
              <a:gd name="connsiteX2392" fmla="*/ 1578277 w 4546203"/>
              <a:gd name="connsiteY2392" fmla="*/ 3812380 h 5092591"/>
              <a:gd name="connsiteX2393" fmla="*/ 1564349 w 4546203"/>
              <a:gd name="connsiteY2393" fmla="*/ 3837053 h 5092591"/>
              <a:gd name="connsiteX2394" fmla="*/ 1540472 w 4546203"/>
              <a:gd name="connsiteY2394" fmla="*/ 3832277 h 5092591"/>
              <a:gd name="connsiteX2395" fmla="*/ 1538880 w 4546203"/>
              <a:gd name="connsiteY2395" fmla="*/ 3838645 h 5092591"/>
              <a:gd name="connsiteX2396" fmla="*/ 1565145 w 4546203"/>
              <a:gd name="connsiteY2396" fmla="*/ 3856155 h 5092591"/>
              <a:gd name="connsiteX2397" fmla="*/ 1550421 w 4546203"/>
              <a:gd name="connsiteY2397" fmla="*/ 3882419 h 5092591"/>
              <a:gd name="connsiteX2398" fmla="*/ 1529329 w 4546203"/>
              <a:gd name="connsiteY2398" fmla="*/ 3871277 h 5092591"/>
              <a:gd name="connsiteX2399" fmla="*/ 1519380 w 4546203"/>
              <a:gd name="connsiteY2399" fmla="*/ 3872471 h 5092591"/>
              <a:gd name="connsiteX2400" fmla="*/ 1523758 w 4546203"/>
              <a:gd name="connsiteY2400" fmla="*/ 3881623 h 5092591"/>
              <a:gd name="connsiteX2401" fmla="*/ 1553604 w 4546203"/>
              <a:gd name="connsiteY2401" fmla="*/ 3898736 h 5092591"/>
              <a:gd name="connsiteX2402" fmla="*/ 1538482 w 4546203"/>
              <a:gd name="connsiteY2402" fmla="*/ 3926592 h 5092591"/>
              <a:gd name="connsiteX2403" fmla="*/ 1512217 w 4546203"/>
              <a:gd name="connsiteY2403" fmla="*/ 3912664 h 5092591"/>
              <a:gd name="connsiteX2404" fmla="*/ 1497493 w 4546203"/>
              <a:gd name="connsiteY2404" fmla="*/ 3911868 h 5092591"/>
              <a:gd name="connsiteX2405" fmla="*/ 1505850 w 4546203"/>
              <a:gd name="connsiteY2405" fmla="*/ 3922613 h 5092591"/>
              <a:gd name="connsiteX2406" fmla="*/ 1541666 w 4546203"/>
              <a:gd name="connsiteY2406" fmla="*/ 3943306 h 5092591"/>
              <a:gd name="connsiteX2407" fmla="*/ 1526544 w 4546203"/>
              <a:gd name="connsiteY2407" fmla="*/ 3970765 h 5092591"/>
              <a:gd name="connsiteX2408" fmla="*/ 1487544 w 4546203"/>
              <a:gd name="connsiteY2408" fmla="*/ 3949673 h 5092591"/>
              <a:gd name="connsiteX2409" fmla="*/ 1475606 w 4546203"/>
              <a:gd name="connsiteY2409" fmla="*/ 3950071 h 5092591"/>
              <a:gd name="connsiteX2410" fmla="*/ 1481973 w 4546203"/>
              <a:gd name="connsiteY2410" fmla="*/ 3960020 h 5092591"/>
              <a:gd name="connsiteX2411" fmla="*/ 1530125 w 4546203"/>
              <a:gd name="connsiteY2411" fmla="*/ 3987081 h 5092591"/>
              <a:gd name="connsiteX2412" fmla="*/ 1515799 w 4546203"/>
              <a:gd name="connsiteY2412" fmla="*/ 4014142 h 5092591"/>
              <a:gd name="connsiteX2413" fmla="*/ 1451729 w 4546203"/>
              <a:gd name="connsiteY2413" fmla="*/ 3994244 h 5092591"/>
              <a:gd name="connsiteX2414" fmla="*/ 1519380 w 4546203"/>
              <a:gd name="connsiteY2414" fmla="*/ 4031651 h 5092591"/>
              <a:gd name="connsiteX2415" fmla="*/ 1504656 w 4546203"/>
              <a:gd name="connsiteY2415" fmla="*/ 4059508 h 5092591"/>
              <a:gd name="connsiteX2416" fmla="*/ 1446157 w 4546203"/>
              <a:gd name="connsiteY2416" fmla="*/ 4028468 h 5092591"/>
              <a:gd name="connsiteX2417" fmla="*/ 1431433 w 4546203"/>
              <a:gd name="connsiteY2417" fmla="*/ 4027672 h 5092591"/>
              <a:gd name="connsiteX2418" fmla="*/ 1440188 w 4546203"/>
              <a:gd name="connsiteY2418" fmla="*/ 4038417 h 5092591"/>
              <a:gd name="connsiteX2419" fmla="*/ 1509034 w 4546203"/>
              <a:gd name="connsiteY2419" fmla="*/ 4076222 h 5092591"/>
              <a:gd name="connsiteX2420" fmla="*/ 1495503 w 4546203"/>
              <a:gd name="connsiteY2420" fmla="*/ 4103283 h 5092591"/>
              <a:gd name="connsiteX2421" fmla="*/ 1384475 w 4546203"/>
              <a:gd name="connsiteY2421" fmla="*/ 4064681 h 5092591"/>
              <a:gd name="connsiteX2422" fmla="*/ 1355424 w 4546203"/>
              <a:gd name="connsiteY2422" fmla="*/ 4111640 h 5092591"/>
              <a:gd name="connsiteX2423" fmla="*/ 1235641 w 4546203"/>
              <a:gd name="connsiteY2423" fmla="*/ 4034835 h 5092591"/>
              <a:gd name="connsiteX2424" fmla="*/ 1080838 w 4546203"/>
              <a:gd name="connsiteY2424" fmla="*/ 4255698 h 5092591"/>
              <a:gd name="connsiteX2425" fmla="*/ 1045420 w 4546203"/>
              <a:gd name="connsiteY2425" fmla="*/ 4231821 h 5092591"/>
              <a:gd name="connsiteX2426" fmla="*/ 1017563 w 4546203"/>
              <a:gd name="connsiteY2426" fmla="*/ 4268035 h 5092591"/>
              <a:gd name="connsiteX2427" fmla="*/ 984533 w 4546203"/>
              <a:gd name="connsiteY2427" fmla="*/ 4244556 h 5092591"/>
              <a:gd name="connsiteX2428" fmla="*/ 964636 w 4546203"/>
              <a:gd name="connsiteY2428" fmla="*/ 4266045 h 5092591"/>
              <a:gd name="connsiteX2429" fmla="*/ 786353 w 4546203"/>
              <a:gd name="connsiteY2429" fmla="*/ 4114425 h 5092591"/>
              <a:gd name="connsiteX2430" fmla="*/ 804261 w 4546203"/>
              <a:gd name="connsiteY2430" fmla="*/ 4092140 h 5092591"/>
              <a:gd name="connsiteX2431" fmla="*/ 781180 w 4546203"/>
              <a:gd name="connsiteY2431" fmla="*/ 4067467 h 5092591"/>
              <a:gd name="connsiteX2432" fmla="*/ 812220 w 4546203"/>
              <a:gd name="connsiteY2432" fmla="*/ 4034835 h 5092591"/>
              <a:gd name="connsiteX2433" fmla="*/ 783965 w 4546203"/>
              <a:gd name="connsiteY2433" fmla="*/ 4004988 h 5092591"/>
              <a:gd name="connsiteX2434" fmla="*/ 1043430 w 4546203"/>
              <a:gd name="connsiteY2434" fmla="*/ 3750697 h 5092591"/>
              <a:gd name="connsiteX2435" fmla="*/ 1013584 w 4546203"/>
              <a:gd name="connsiteY2435" fmla="*/ 3718065 h 5092591"/>
              <a:gd name="connsiteX2436" fmla="*/ 1220917 w 4546203"/>
              <a:gd name="connsiteY2436" fmla="*/ 3525059 h 5092591"/>
              <a:gd name="connsiteX2437" fmla="*/ 1167989 w 4546203"/>
              <a:gd name="connsiteY2437" fmla="*/ 3489243 h 5092591"/>
              <a:gd name="connsiteX2438" fmla="*/ 1158040 w 4546203"/>
              <a:gd name="connsiteY2438" fmla="*/ 3498396 h 5092591"/>
              <a:gd name="connsiteX2439" fmla="*/ 1184305 w 4546203"/>
              <a:gd name="connsiteY2439" fmla="*/ 3529834 h 5092591"/>
              <a:gd name="connsiteX2440" fmla="*/ 1167989 w 4546203"/>
              <a:gd name="connsiteY2440" fmla="*/ 3543762 h 5092591"/>
              <a:gd name="connsiteX2441" fmla="*/ 1139734 w 4546203"/>
              <a:gd name="connsiteY2441" fmla="*/ 3513120 h 5092591"/>
              <a:gd name="connsiteX2442" fmla="*/ 1127000 w 4546203"/>
              <a:gd name="connsiteY2442" fmla="*/ 3525059 h 5092591"/>
              <a:gd name="connsiteX2443" fmla="*/ 1154061 w 4546203"/>
              <a:gd name="connsiteY2443" fmla="*/ 3557293 h 5092591"/>
              <a:gd name="connsiteX2444" fmla="*/ 1137745 w 4546203"/>
              <a:gd name="connsiteY2444" fmla="*/ 3571221 h 5092591"/>
              <a:gd name="connsiteX2445" fmla="*/ 1107898 w 4546203"/>
              <a:gd name="connsiteY2445" fmla="*/ 3539783 h 5092591"/>
              <a:gd name="connsiteX2446" fmla="*/ 1095562 w 4546203"/>
              <a:gd name="connsiteY2446" fmla="*/ 3551721 h 5092591"/>
              <a:gd name="connsiteX2447" fmla="*/ 1123418 w 4546203"/>
              <a:gd name="connsiteY2447" fmla="*/ 3584751 h 5092591"/>
              <a:gd name="connsiteX2448" fmla="*/ 1107102 w 4546203"/>
              <a:gd name="connsiteY2448" fmla="*/ 3598680 h 5092591"/>
              <a:gd name="connsiteX2449" fmla="*/ 1075266 w 4546203"/>
              <a:gd name="connsiteY2449" fmla="*/ 3564854 h 5092591"/>
              <a:gd name="connsiteX2450" fmla="*/ 1062930 w 4546203"/>
              <a:gd name="connsiteY2450" fmla="*/ 3576792 h 5092591"/>
              <a:gd name="connsiteX2451" fmla="*/ 1093174 w 4546203"/>
              <a:gd name="connsiteY2451" fmla="*/ 3612210 h 5092591"/>
              <a:gd name="connsiteX2452" fmla="*/ 1076858 w 4546203"/>
              <a:gd name="connsiteY2452" fmla="*/ 3626536 h 5092591"/>
              <a:gd name="connsiteX2453" fmla="*/ 1044624 w 4546203"/>
              <a:gd name="connsiteY2453" fmla="*/ 3591118 h 5092591"/>
              <a:gd name="connsiteX2454" fmla="*/ 1061338 w 4546203"/>
              <a:gd name="connsiteY2454" fmla="*/ 3641658 h 5092591"/>
              <a:gd name="connsiteX2455" fmla="*/ 1046614 w 4546203"/>
              <a:gd name="connsiteY2455" fmla="*/ 3653995 h 5092591"/>
              <a:gd name="connsiteX2456" fmla="*/ 1014379 w 4546203"/>
              <a:gd name="connsiteY2456" fmla="*/ 3619373 h 5092591"/>
              <a:gd name="connsiteX2457" fmla="*/ 1001247 w 4546203"/>
              <a:gd name="connsiteY2457" fmla="*/ 3630118 h 5092591"/>
              <a:gd name="connsiteX2458" fmla="*/ 1032685 w 4546203"/>
              <a:gd name="connsiteY2458" fmla="*/ 3667923 h 5092591"/>
              <a:gd name="connsiteX2459" fmla="*/ 1016767 w 4546203"/>
              <a:gd name="connsiteY2459" fmla="*/ 3681056 h 5092591"/>
              <a:gd name="connsiteX2460" fmla="*/ 972197 w 4546203"/>
              <a:gd name="connsiteY2460" fmla="*/ 3659566 h 5092591"/>
              <a:gd name="connsiteX2461" fmla="*/ 1002043 w 4546203"/>
              <a:gd name="connsiteY2461" fmla="*/ 3694984 h 5092591"/>
              <a:gd name="connsiteX2462" fmla="*/ 986125 w 4546203"/>
              <a:gd name="connsiteY2462" fmla="*/ 3709708 h 5092591"/>
              <a:gd name="connsiteX2463" fmla="*/ 952697 w 4546203"/>
              <a:gd name="connsiteY2463" fmla="*/ 3673495 h 5092591"/>
              <a:gd name="connsiteX2464" fmla="*/ 939565 w 4546203"/>
              <a:gd name="connsiteY2464" fmla="*/ 3685035 h 5092591"/>
              <a:gd name="connsiteX2465" fmla="*/ 971401 w 4546203"/>
              <a:gd name="connsiteY2465" fmla="*/ 3722841 h 5092591"/>
              <a:gd name="connsiteX2466" fmla="*/ 952299 w 4546203"/>
              <a:gd name="connsiteY2466" fmla="*/ 3739953 h 5092591"/>
              <a:gd name="connsiteX2467" fmla="*/ 912504 w 4546203"/>
              <a:gd name="connsiteY2467" fmla="*/ 3694984 h 5092591"/>
              <a:gd name="connsiteX2468" fmla="*/ 871117 w 4546203"/>
              <a:gd name="connsiteY2468" fmla="*/ 3729208 h 5092591"/>
              <a:gd name="connsiteX2469" fmla="*/ 754915 w 4546203"/>
              <a:gd name="connsiteY2469" fmla="*/ 3575996 h 5092591"/>
              <a:gd name="connsiteX2470" fmla="*/ 798690 w 4546203"/>
              <a:gd name="connsiteY2470" fmla="*/ 3544956 h 5092591"/>
              <a:gd name="connsiteX2471" fmla="*/ 763272 w 4546203"/>
              <a:gd name="connsiteY2471" fmla="*/ 3489243 h 5092591"/>
              <a:gd name="connsiteX2472" fmla="*/ 957472 w 4546203"/>
              <a:gd name="connsiteY2472" fmla="*/ 3367470 h 5092591"/>
              <a:gd name="connsiteX2473" fmla="*/ 882259 w 4546203"/>
              <a:gd name="connsiteY2473" fmla="*/ 3233758 h 5092591"/>
              <a:gd name="connsiteX2474" fmla="*/ 844852 w 4546203"/>
              <a:gd name="connsiteY2474" fmla="*/ 3259227 h 5092591"/>
              <a:gd name="connsiteX2475" fmla="*/ 810628 w 4546203"/>
              <a:gd name="connsiteY2475" fmla="*/ 3286287 h 5092591"/>
              <a:gd name="connsiteX2476" fmla="*/ 748150 w 4546203"/>
              <a:gd name="connsiteY2476" fmla="*/ 3148596 h 5092591"/>
              <a:gd name="connsiteX2477" fmla="*/ 698804 w 4546203"/>
              <a:gd name="connsiteY2477" fmla="*/ 3167698 h 5092591"/>
              <a:gd name="connsiteX2478" fmla="*/ 681294 w 4546203"/>
              <a:gd name="connsiteY2478" fmla="*/ 3125515 h 5092591"/>
              <a:gd name="connsiteX2479" fmla="*/ 640703 w 4546203"/>
              <a:gd name="connsiteY2479" fmla="*/ 3139045 h 5092591"/>
              <a:gd name="connsiteX2480" fmla="*/ 596928 w 4546203"/>
              <a:gd name="connsiteY2480" fmla="*/ 2999364 h 5092591"/>
              <a:gd name="connsiteX2481" fmla="*/ 637917 w 4546203"/>
              <a:gd name="connsiteY2481" fmla="*/ 2987027 h 5092591"/>
              <a:gd name="connsiteX2482" fmla="*/ 626774 w 4546203"/>
              <a:gd name="connsiteY2482" fmla="*/ 2938079 h 5092591"/>
              <a:gd name="connsiteX2483" fmla="*/ 765262 w 4546203"/>
              <a:gd name="connsiteY2483" fmla="*/ 2904651 h 5092591"/>
              <a:gd name="connsiteX2484" fmla="*/ 726262 w 4546203"/>
              <a:gd name="connsiteY2484" fmla="*/ 2625289 h 5092591"/>
              <a:gd name="connsiteX2485" fmla="*/ 883851 w 4546203"/>
              <a:gd name="connsiteY2485" fmla="*/ 2616932 h 5092591"/>
              <a:gd name="connsiteX2486" fmla="*/ 883851 w 4546203"/>
              <a:gd name="connsiteY2486" fmla="*/ 2459343 h 5092591"/>
              <a:gd name="connsiteX2487" fmla="*/ 850025 w 4546203"/>
              <a:gd name="connsiteY2487" fmla="*/ 2456558 h 5092591"/>
              <a:gd name="connsiteX2488" fmla="*/ 742976 w 4546203"/>
              <a:gd name="connsiteY2488" fmla="*/ 2450190 h 5092591"/>
              <a:gd name="connsiteX2489" fmla="*/ 731834 w 4546203"/>
              <a:gd name="connsiteY2489" fmla="*/ 2433476 h 5092591"/>
              <a:gd name="connsiteX2490" fmla="*/ 887035 w 4546203"/>
              <a:gd name="connsiteY2490" fmla="*/ 2444221 h 5092591"/>
              <a:gd name="connsiteX2491" fmla="*/ 889821 w 4546203"/>
              <a:gd name="connsiteY2491" fmla="*/ 2399252 h 5092591"/>
              <a:gd name="connsiteX2492" fmla="*/ 734619 w 4546203"/>
              <a:gd name="connsiteY2492" fmla="*/ 2366620 h 5092591"/>
              <a:gd name="connsiteX2493" fmla="*/ 718303 w 4546203"/>
              <a:gd name="connsiteY2493" fmla="*/ 2333590 h 5092591"/>
              <a:gd name="connsiteX2494" fmla="*/ 622397 w 4546203"/>
              <a:gd name="connsiteY2494" fmla="*/ 2256786 h 5092591"/>
              <a:gd name="connsiteX2495" fmla="*/ 485103 w 4546203"/>
              <a:gd name="connsiteY2495" fmla="*/ 1785610 h 5092591"/>
              <a:gd name="connsiteX2496" fmla="*/ 602101 w 4546203"/>
              <a:gd name="connsiteY2496" fmla="*/ 1490728 h 5092591"/>
              <a:gd name="connsiteX2497" fmla="*/ 596530 w 4546203"/>
              <a:gd name="connsiteY2497" fmla="*/ 1469637 h 5092591"/>
              <a:gd name="connsiteX2498" fmla="*/ 518929 w 4546203"/>
              <a:gd name="connsiteY2498" fmla="*/ 1599767 h 5092591"/>
              <a:gd name="connsiteX2499" fmla="*/ 449288 w 4546203"/>
              <a:gd name="connsiteY2499" fmla="*/ 1562359 h 5092591"/>
              <a:gd name="connsiteX2500" fmla="*/ 534052 w 4546203"/>
              <a:gd name="connsiteY2500" fmla="*/ 1419893 h 5092591"/>
              <a:gd name="connsiteX2501" fmla="*/ 515746 w 4546203"/>
              <a:gd name="connsiteY2501" fmla="*/ 1406760 h 5092591"/>
              <a:gd name="connsiteX2502" fmla="*/ 432972 w 4546203"/>
              <a:gd name="connsiteY2502" fmla="*/ 1544452 h 5092591"/>
              <a:gd name="connsiteX2503" fmla="*/ 365320 w 4546203"/>
              <a:gd name="connsiteY2503" fmla="*/ 1507442 h 5092591"/>
              <a:gd name="connsiteX2504" fmla="*/ 453665 w 4546203"/>
              <a:gd name="connsiteY2504" fmla="*/ 1359802 h 5092591"/>
              <a:gd name="connsiteX2505" fmla="*/ 433768 w 4546203"/>
              <a:gd name="connsiteY2505" fmla="*/ 1345476 h 5092591"/>
              <a:gd name="connsiteX2506" fmla="*/ 347412 w 4546203"/>
              <a:gd name="connsiteY2506" fmla="*/ 1488340 h 5092591"/>
              <a:gd name="connsiteX2507" fmla="*/ 281750 w 4546203"/>
              <a:gd name="connsiteY2507" fmla="*/ 1452127 h 5092591"/>
              <a:gd name="connsiteX2508" fmla="*/ 373677 w 4546203"/>
              <a:gd name="connsiteY2508" fmla="*/ 1299313 h 5092591"/>
              <a:gd name="connsiteX2509" fmla="*/ 352585 w 4546203"/>
              <a:gd name="connsiteY2509" fmla="*/ 1283395 h 5092591"/>
              <a:gd name="connsiteX2510" fmla="*/ 262250 w 4546203"/>
              <a:gd name="connsiteY2510" fmla="*/ 1431831 h 5092591"/>
              <a:gd name="connsiteX2511" fmla="*/ 198578 w 4546203"/>
              <a:gd name="connsiteY2511" fmla="*/ 1396413 h 5092591"/>
              <a:gd name="connsiteX2512" fmla="*/ 294882 w 4546203"/>
              <a:gd name="connsiteY2512" fmla="*/ 1237631 h 5092591"/>
              <a:gd name="connsiteX2513" fmla="*/ 272597 w 4546203"/>
              <a:gd name="connsiteY2513" fmla="*/ 1220121 h 5092591"/>
              <a:gd name="connsiteX2514" fmla="*/ 196190 w 4546203"/>
              <a:gd name="connsiteY2514" fmla="*/ 1310854 h 5092591"/>
              <a:gd name="connsiteX2515" fmla="*/ 132120 w 4546203"/>
              <a:gd name="connsiteY2515" fmla="*/ 1366567 h 5092591"/>
              <a:gd name="connsiteX2516" fmla="*/ 97100 w 4546203"/>
              <a:gd name="connsiteY2516" fmla="*/ 1345476 h 5092591"/>
              <a:gd name="connsiteX2517" fmla="*/ 98692 w 4546203"/>
              <a:gd name="connsiteY2517" fmla="*/ 1331547 h 5092591"/>
              <a:gd name="connsiteX2518" fmla="*/ 158385 w 4546203"/>
              <a:gd name="connsiteY2518" fmla="*/ 1167989 h 5092591"/>
              <a:gd name="connsiteX2519" fmla="*/ 149630 w 4546203"/>
              <a:gd name="connsiteY2519" fmla="*/ 1118245 h 5092591"/>
              <a:gd name="connsiteX2520" fmla="*/ 63672 w 4546203"/>
              <a:gd name="connsiteY2520" fmla="*/ 1044226 h 5092591"/>
              <a:gd name="connsiteX2521" fmla="*/ 0 w 4546203"/>
              <a:gd name="connsiteY2521" fmla="*/ 990900 h 5092591"/>
              <a:gd name="connsiteX2522" fmla="*/ 0 w 4546203"/>
              <a:gd name="connsiteY2522" fmla="*/ 982941 h 5092591"/>
              <a:gd name="connsiteX2523" fmla="*/ 14724 w 4546203"/>
              <a:gd name="connsiteY2523" fmla="*/ 971401 h 5092591"/>
              <a:gd name="connsiteX2524" fmla="*/ 215292 w 4546203"/>
              <a:gd name="connsiteY2524" fmla="*/ 1080440 h 5092591"/>
              <a:gd name="connsiteX2525" fmla="*/ 228424 w 4546203"/>
              <a:gd name="connsiteY2525" fmla="*/ 1064919 h 5092591"/>
              <a:gd name="connsiteX2526" fmla="*/ 344228 w 4546203"/>
              <a:gd name="connsiteY2526" fmla="*/ 953891 h 5092591"/>
              <a:gd name="connsiteX2527" fmla="*/ 386809 w 4546203"/>
              <a:gd name="connsiteY2527" fmla="*/ 933993 h 5092591"/>
              <a:gd name="connsiteX2528" fmla="*/ 411880 w 4546203"/>
              <a:gd name="connsiteY2528" fmla="*/ 955085 h 5092591"/>
              <a:gd name="connsiteX2529" fmla="*/ 402727 w 4546203"/>
              <a:gd name="connsiteY2529" fmla="*/ 995278 h 5092591"/>
              <a:gd name="connsiteX2530" fmla="*/ 333882 w 4546203"/>
              <a:gd name="connsiteY2530" fmla="*/ 1125010 h 5092591"/>
              <a:gd name="connsiteX2531" fmla="*/ 322739 w 4546203"/>
              <a:gd name="connsiteY2531" fmla="*/ 1143714 h 5092591"/>
              <a:gd name="connsiteX2532" fmla="*/ 347810 w 4546203"/>
              <a:gd name="connsiteY2532" fmla="*/ 1158438 h 5092591"/>
              <a:gd name="connsiteX2533" fmla="*/ 460828 w 4546203"/>
              <a:gd name="connsiteY2533" fmla="*/ 1014777 h 5092591"/>
              <a:gd name="connsiteX2534" fmla="*/ 516144 w 4546203"/>
              <a:gd name="connsiteY2534" fmla="*/ 1061736 h 5092591"/>
              <a:gd name="connsiteX2535" fmla="*/ 410686 w 4546203"/>
              <a:gd name="connsiteY2535" fmla="*/ 1196642 h 5092591"/>
              <a:gd name="connsiteX2536" fmla="*/ 433370 w 4546203"/>
              <a:gd name="connsiteY2536" fmla="*/ 1210172 h 5092591"/>
              <a:gd name="connsiteX2537" fmla="*/ 542408 w 4546203"/>
              <a:gd name="connsiteY2537" fmla="*/ 1072481 h 5092591"/>
              <a:gd name="connsiteX2538" fmla="*/ 599316 w 4546203"/>
              <a:gd name="connsiteY2538" fmla="*/ 1121031 h 5092591"/>
              <a:gd name="connsiteX2539" fmla="*/ 497838 w 4546203"/>
              <a:gd name="connsiteY2539" fmla="*/ 1249967 h 5092591"/>
              <a:gd name="connsiteX2540" fmla="*/ 518133 w 4546203"/>
              <a:gd name="connsiteY2540" fmla="*/ 1263100 h 5092591"/>
              <a:gd name="connsiteX2541" fmla="*/ 623591 w 4546203"/>
              <a:gd name="connsiteY2541" fmla="*/ 1130979 h 5092591"/>
              <a:gd name="connsiteX2542" fmla="*/ 681692 w 4546203"/>
              <a:gd name="connsiteY2542" fmla="*/ 1181121 h 5092591"/>
              <a:gd name="connsiteX2543" fmla="*/ 583398 w 4546203"/>
              <a:gd name="connsiteY2543" fmla="*/ 1305283 h 5092591"/>
              <a:gd name="connsiteX2544" fmla="*/ 602499 w 4546203"/>
              <a:gd name="connsiteY2544" fmla="*/ 1316823 h 5092591"/>
              <a:gd name="connsiteX2545" fmla="*/ 704375 w 4546203"/>
              <a:gd name="connsiteY2545" fmla="*/ 1190274 h 5092591"/>
              <a:gd name="connsiteX2546" fmla="*/ 764068 w 4546203"/>
              <a:gd name="connsiteY2546" fmla="*/ 1242008 h 5092591"/>
              <a:gd name="connsiteX2547" fmla="*/ 669355 w 4546203"/>
              <a:gd name="connsiteY2547" fmla="*/ 1360598 h 5092591"/>
              <a:gd name="connsiteX2548" fmla="*/ 686865 w 4546203"/>
              <a:gd name="connsiteY2548" fmla="*/ 1370547 h 5092591"/>
              <a:gd name="connsiteX2549" fmla="*/ 784363 w 4546203"/>
              <a:gd name="connsiteY2549" fmla="*/ 1250365 h 5092591"/>
              <a:gd name="connsiteX2550" fmla="*/ 814210 w 4546203"/>
              <a:gd name="connsiteY2550" fmla="*/ 1275436 h 5092591"/>
              <a:gd name="connsiteX2551" fmla="*/ 829332 w 4546203"/>
              <a:gd name="connsiteY2551" fmla="*/ 1277426 h 5092591"/>
              <a:gd name="connsiteX2552" fmla="*/ 898178 w 4546203"/>
              <a:gd name="connsiteY2552" fmla="*/ 1243202 h 5092591"/>
              <a:gd name="connsiteX2553" fmla="*/ 777598 w 4546203"/>
              <a:gd name="connsiteY2553" fmla="*/ 1127796 h 5092591"/>
              <a:gd name="connsiteX2554" fmla="*/ 829730 w 4546203"/>
              <a:gd name="connsiteY2554" fmla="*/ 1082031 h 5092591"/>
              <a:gd name="connsiteX2555" fmla="*/ 809434 w 4546203"/>
              <a:gd name="connsiteY2555" fmla="*/ 1062930 h 5092591"/>
              <a:gd name="connsiteX2556" fmla="*/ 762078 w 4546203"/>
              <a:gd name="connsiteY2556" fmla="*/ 1111878 h 5092591"/>
              <a:gd name="connsiteX2557" fmla="*/ 740589 w 4546203"/>
              <a:gd name="connsiteY2557" fmla="*/ 1094368 h 5092591"/>
              <a:gd name="connsiteX2558" fmla="*/ 768843 w 4546203"/>
              <a:gd name="connsiteY2558" fmla="*/ 1064124 h 5092591"/>
              <a:gd name="connsiteX2559" fmla="*/ 734619 w 4546203"/>
              <a:gd name="connsiteY2559" fmla="*/ 1037859 h 5092591"/>
              <a:gd name="connsiteX2560" fmla="*/ 778394 w 4546203"/>
              <a:gd name="connsiteY2560" fmla="*/ 1009604 h 5092591"/>
              <a:gd name="connsiteX2561" fmla="*/ 703181 w 4546203"/>
              <a:gd name="connsiteY2561" fmla="*/ 943544 h 5092591"/>
              <a:gd name="connsiteX2562" fmla="*/ 740589 w 4546203"/>
              <a:gd name="connsiteY2562" fmla="*/ 914096 h 5092591"/>
              <a:gd name="connsiteX2563" fmla="*/ 660998 w 4546203"/>
              <a:gd name="connsiteY2563" fmla="*/ 828934 h 5092591"/>
              <a:gd name="connsiteX2564" fmla="*/ 728650 w 4546203"/>
              <a:gd name="connsiteY2564" fmla="*/ 767649 h 5092591"/>
              <a:gd name="connsiteX2565" fmla="*/ 804261 w 4546203"/>
              <a:gd name="connsiteY2565" fmla="*/ 854801 h 5092591"/>
              <a:gd name="connsiteX2566" fmla="*/ 839281 w 4546203"/>
              <a:gd name="connsiteY2566" fmla="*/ 826148 h 5092591"/>
              <a:gd name="connsiteX2567" fmla="*/ 896984 w 4546203"/>
              <a:gd name="connsiteY2567" fmla="*/ 894994 h 5092591"/>
              <a:gd name="connsiteX2568" fmla="*/ 926034 w 4546203"/>
              <a:gd name="connsiteY2568" fmla="*/ 873107 h 5092591"/>
              <a:gd name="connsiteX2569" fmla="*/ 949911 w 4546203"/>
              <a:gd name="connsiteY2569" fmla="*/ 900963 h 5092591"/>
              <a:gd name="connsiteX2570" fmla="*/ 978962 w 4546203"/>
              <a:gd name="connsiteY2570" fmla="*/ 879872 h 5092591"/>
              <a:gd name="connsiteX2571" fmla="*/ 1193458 w 4546203"/>
              <a:gd name="connsiteY2571" fmla="*/ 1156051 h 5092591"/>
              <a:gd name="connsiteX2572" fmla="*/ 1247181 w 4546203"/>
              <a:gd name="connsiteY2572" fmla="*/ 1115857 h 5092591"/>
              <a:gd name="connsiteX2573" fmla="*/ 1230070 w 4546203"/>
              <a:gd name="connsiteY2573" fmla="*/ 1089195 h 5092591"/>
              <a:gd name="connsiteX2574" fmla="*/ 1266283 w 4546203"/>
              <a:gd name="connsiteY2574" fmla="*/ 1062532 h 5092591"/>
              <a:gd name="connsiteX2575" fmla="*/ 1237631 w 4546203"/>
              <a:gd name="connsiteY2575" fmla="*/ 1017961 h 5092591"/>
              <a:gd name="connsiteX2576" fmla="*/ 1362587 w 4546203"/>
              <a:gd name="connsiteY2576" fmla="*/ 940758 h 5092591"/>
              <a:gd name="connsiteX2577" fmla="*/ 1389250 w 4546203"/>
              <a:gd name="connsiteY2577" fmla="*/ 986125 h 5092591"/>
              <a:gd name="connsiteX2578" fmla="*/ 1433821 w 4546203"/>
              <a:gd name="connsiteY2578" fmla="*/ 962646 h 5092591"/>
              <a:gd name="connsiteX2579" fmla="*/ 1501473 w 4546203"/>
              <a:gd name="connsiteY2579" fmla="*/ 1089195 h 5092591"/>
              <a:gd name="connsiteX2580" fmla="*/ 1558380 w 4546203"/>
              <a:gd name="connsiteY2580" fmla="*/ 1059746 h 5092591"/>
              <a:gd name="connsiteX2581" fmla="*/ 1348659 w 4546203"/>
              <a:gd name="connsiteY2581" fmla="*/ 622397 h 5092591"/>
              <a:gd name="connsiteX2582" fmla="*/ 1384077 w 4546203"/>
              <a:gd name="connsiteY2582" fmla="*/ 605683 h 5092591"/>
              <a:gd name="connsiteX2583" fmla="*/ 1392832 w 4546203"/>
              <a:gd name="connsiteY2583" fmla="*/ 605683 h 5092591"/>
              <a:gd name="connsiteX2584" fmla="*/ 1414719 w 4546203"/>
              <a:gd name="connsiteY2584" fmla="*/ 606877 h 5092591"/>
              <a:gd name="connsiteX2585" fmla="*/ 1660653 w 4546203"/>
              <a:gd name="connsiteY2585" fmla="*/ 516144 h 5092591"/>
              <a:gd name="connsiteX2586" fmla="*/ 1674980 w 4546203"/>
              <a:gd name="connsiteY2586" fmla="*/ 510572 h 5092591"/>
              <a:gd name="connsiteX2587" fmla="*/ 1713979 w 4546203"/>
              <a:gd name="connsiteY2587" fmla="*/ 485899 h 5092591"/>
              <a:gd name="connsiteX2588" fmla="*/ 1806702 w 4546203"/>
              <a:gd name="connsiteY2588" fmla="*/ 828536 h 5092591"/>
              <a:gd name="connsiteX2589" fmla="*/ 1829783 w 4546203"/>
              <a:gd name="connsiteY2589" fmla="*/ 820975 h 5092591"/>
              <a:gd name="connsiteX2590" fmla="*/ 1818242 w 4546203"/>
              <a:gd name="connsiteY2590" fmla="*/ 769241 h 5092591"/>
              <a:gd name="connsiteX2591" fmla="*/ 2005678 w 4546203"/>
              <a:gd name="connsiteY2591" fmla="*/ 732232 h 5092591"/>
              <a:gd name="connsiteX2592" fmla="*/ 2014831 w 4546203"/>
              <a:gd name="connsiteY2592" fmla="*/ 784761 h 5092591"/>
              <a:gd name="connsiteX2593" fmla="*/ 2080095 w 4546203"/>
              <a:gd name="connsiteY2593" fmla="*/ 777598 h 5092591"/>
              <a:gd name="connsiteX2594" fmla="*/ 2113125 w 4546203"/>
              <a:gd name="connsiteY2594" fmla="*/ 1086807 h 5092591"/>
              <a:gd name="connsiteX2595" fmla="*/ 2130635 w 4546203"/>
              <a:gd name="connsiteY2595" fmla="*/ 1070093 h 5092591"/>
              <a:gd name="connsiteX2596" fmla="*/ 2097605 w 4546203"/>
              <a:gd name="connsiteY2596" fmla="*/ 715518 h 5092591"/>
              <a:gd name="connsiteX2597" fmla="*/ 2043881 w 4546203"/>
              <a:gd name="connsiteY2597" fmla="*/ 137293 h 5092591"/>
              <a:gd name="connsiteX2598" fmla="*/ 2043881 w 4546203"/>
              <a:gd name="connsiteY2598" fmla="*/ 116600 h 5092591"/>
              <a:gd name="connsiteX2599" fmla="*/ 2070942 w 4546203"/>
              <a:gd name="connsiteY2599" fmla="*/ 111824 h 5092591"/>
              <a:gd name="connsiteX2600" fmla="*/ 2066166 w 4546203"/>
              <a:gd name="connsiteY2600" fmla="*/ 42979 h 5092591"/>
              <a:gd name="connsiteX2601" fmla="*/ 2095615 w 4546203"/>
              <a:gd name="connsiteY2601" fmla="*/ 38203 h 5092591"/>
              <a:gd name="connsiteX2602" fmla="*/ 2095615 w 4546203"/>
              <a:gd name="connsiteY2602" fmla="*/ 7163 h 5092591"/>
              <a:gd name="connsiteX2603" fmla="*/ 2175205 w 4546203"/>
              <a:gd name="connsiteY2603" fmla="*/ 0 h 5092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</a:cxnLst>
            <a:rect l="l" t="t" r="r" b="b"/>
            <a:pathLst>
              <a:path w="4546203" h="5092591">
                <a:moveTo>
                  <a:pt x="2251214" y="4846657"/>
                </a:moveTo>
                <a:cubicBezTo>
                  <a:pt x="2251214" y="4868146"/>
                  <a:pt x="2251214" y="4887646"/>
                  <a:pt x="2251214" y="4907544"/>
                </a:cubicBezTo>
                <a:cubicBezTo>
                  <a:pt x="2278673" y="4907544"/>
                  <a:pt x="2304540" y="4907544"/>
                  <a:pt x="2330407" y="4907544"/>
                </a:cubicBezTo>
                <a:cubicBezTo>
                  <a:pt x="2330407" y="4886452"/>
                  <a:pt x="2330407" y="4866952"/>
                  <a:pt x="2330407" y="4846657"/>
                </a:cubicBezTo>
                <a:cubicBezTo>
                  <a:pt x="2301754" y="4846657"/>
                  <a:pt x="2276683" y="4846657"/>
                  <a:pt x="2251214" y="4846657"/>
                </a:cubicBezTo>
                <a:close/>
                <a:moveTo>
                  <a:pt x="2445813" y="4838698"/>
                </a:moveTo>
                <a:cubicBezTo>
                  <a:pt x="2417956" y="4840290"/>
                  <a:pt x="2392885" y="4841882"/>
                  <a:pt x="2365824" y="4843474"/>
                </a:cubicBezTo>
                <a:cubicBezTo>
                  <a:pt x="2367018" y="4864963"/>
                  <a:pt x="2367814" y="4884860"/>
                  <a:pt x="2369008" y="4907146"/>
                </a:cubicBezTo>
                <a:cubicBezTo>
                  <a:pt x="2397263" y="4905554"/>
                  <a:pt x="2423129" y="4903962"/>
                  <a:pt x="2450588" y="4902370"/>
                </a:cubicBezTo>
                <a:cubicBezTo>
                  <a:pt x="2448598" y="4880085"/>
                  <a:pt x="2447404" y="4860585"/>
                  <a:pt x="2445813" y="4838698"/>
                </a:cubicBezTo>
                <a:close/>
                <a:moveTo>
                  <a:pt x="2019208" y="4832729"/>
                </a:moveTo>
                <a:cubicBezTo>
                  <a:pt x="2016820" y="4855014"/>
                  <a:pt x="2014831" y="4874514"/>
                  <a:pt x="2012841" y="4895605"/>
                </a:cubicBezTo>
                <a:cubicBezTo>
                  <a:pt x="2041095" y="4897993"/>
                  <a:pt x="2067360" y="4900381"/>
                  <a:pt x="2094421" y="4902768"/>
                </a:cubicBezTo>
                <a:cubicBezTo>
                  <a:pt x="2096013" y="4880483"/>
                  <a:pt x="2097605" y="4860983"/>
                  <a:pt x="2099196" y="4839494"/>
                </a:cubicBezTo>
                <a:cubicBezTo>
                  <a:pt x="2070942" y="4837106"/>
                  <a:pt x="2045473" y="4835116"/>
                  <a:pt x="2019208" y="4832729"/>
                </a:cubicBezTo>
                <a:close/>
                <a:moveTo>
                  <a:pt x="2251612" y="4753934"/>
                </a:moveTo>
                <a:cubicBezTo>
                  <a:pt x="2251612" y="4775026"/>
                  <a:pt x="2251612" y="4795321"/>
                  <a:pt x="2251612" y="4814821"/>
                </a:cubicBezTo>
                <a:cubicBezTo>
                  <a:pt x="2278275" y="4814821"/>
                  <a:pt x="2303346" y="4814821"/>
                  <a:pt x="2328019" y="4814821"/>
                </a:cubicBezTo>
                <a:cubicBezTo>
                  <a:pt x="2328019" y="4793730"/>
                  <a:pt x="2328019" y="4774628"/>
                  <a:pt x="2328019" y="4753934"/>
                </a:cubicBezTo>
                <a:cubicBezTo>
                  <a:pt x="2301356" y="4753934"/>
                  <a:pt x="2277081" y="4753934"/>
                  <a:pt x="2251612" y="4753934"/>
                </a:cubicBezTo>
                <a:close/>
                <a:moveTo>
                  <a:pt x="2029157" y="4740404"/>
                </a:moveTo>
                <a:cubicBezTo>
                  <a:pt x="2027167" y="4761894"/>
                  <a:pt x="2024779" y="4781791"/>
                  <a:pt x="2022392" y="4803678"/>
                </a:cubicBezTo>
                <a:cubicBezTo>
                  <a:pt x="2049452" y="4806066"/>
                  <a:pt x="2074125" y="4808454"/>
                  <a:pt x="2101186" y="4811239"/>
                </a:cubicBezTo>
                <a:cubicBezTo>
                  <a:pt x="2102778" y="4788158"/>
                  <a:pt x="2104370" y="4768659"/>
                  <a:pt x="2105564" y="4747965"/>
                </a:cubicBezTo>
                <a:cubicBezTo>
                  <a:pt x="2079697" y="4745577"/>
                  <a:pt x="2055422" y="4743189"/>
                  <a:pt x="2029157" y="4740404"/>
                </a:cubicBezTo>
                <a:close/>
                <a:moveTo>
                  <a:pt x="2252408" y="4661609"/>
                </a:moveTo>
                <a:cubicBezTo>
                  <a:pt x="2252408" y="4682701"/>
                  <a:pt x="2252408" y="4702201"/>
                  <a:pt x="2252408" y="4722894"/>
                </a:cubicBezTo>
                <a:cubicBezTo>
                  <a:pt x="2277081" y="4722894"/>
                  <a:pt x="2300560" y="4722894"/>
                  <a:pt x="2324835" y="4722894"/>
                </a:cubicBezTo>
                <a:cubicBezTo>
                  <a:pt x="2324835" y="4701007"/>
                  <a:pt x="2324835" y="4681507"/>
                  <a:pt x="2324835" y="4661609"/>
                </a:cubicBezTo>
                <a:cubicBezTo>
                  <a:pt x="2299764" y="4661609"/>
                  <a:pt x="2276683" y="4661609"/>
                  <a:pt x="2252408" y="4661609"/>
                </a:cubicBezTo>
                <a:close/>
                <a:moveTo>
                  <a:pt x="2144961" y="4660017"/>
                </a:moveTo>
                <a:cubicBezTo>
                  <a:pt x="2143767" y="4679915"/>
                  <a:pt x="2142971" y="4699415"/>
                  <a:pt x="2141777" y="4721302"/>
                </a:cubicBezTo>
                <a:cubicBezTo>
                  <a:pt x="2168042" y="4721302"/>
                  <a:pt x="2192317" y="4721302"/>
                  <a:pt x="2217388" y="4721302"/>
                </a:cubicBezTo>
                <a:cubicBezTo>
                  <a:pt x="2217388" y="4701405"/>
                  <a:pt x="2217388" y="4681507"/>
                  <a:pt x="2217388" y="4660017"/>
                </a:cubicBezTo>
                <a:cubicBezTo>
                  <a:pt x="2193113" y="4660017"/>
                  <a:pt x="2170032" y="4660017"/>
                  <a:pt x="2144961" y="4660017"/>
                </a:cubicBezTo>
                <a:close/>
                <a:moveTo>
                  <a:pt x="2431088" y="4654844"/>
                </a:moveTo>
                <a:cubicBezTo>
                  <a:pt x="2406018" y="4656834"/>
                  <a:pt x="2382538" y="4658426"/>
                  <a:pt x="2357467" y="4660017"/>
                </a:cubicBezTo>
                <a:cubicBezTo>
                  <a:pt x="2358661" y="4681507"/>
                  <a:pt x="2359855" y="4701007"/>
                  <a:pt x="2361049" y="4723292"/>
                </a:cubicBezTo>
                <a:cubicBezTo>
                  <a:pt x="2387712" y="4721302"/>
                  <a:pt x="2411191" y="4719710"/>
                  <a:pt x="2436660" y="4718119"/>
                </a:cubicBezTo>
                <a:cubicBezTo>
                  <a:pt x="2435068" y="4696231"/>
                  <a:pt x="2433476" y="4676334"/>
                  <a:pt x="2431088" y="4654844"/>
                </a:cubicBezTo>
                <a:close/>
                <a:moveTo>
                  <a:pt x="2150930" y="4567295"/>
                </a:moveTo>
                <a:cubicBezTo>
                  <a:pt x="2149736" y="4587193"/>
                  <a:pt x="2148543" y="4605896"/>
                  <a:pt x="2146951" y="4628580"/>
                </a:cubicBezTo>
                <a:cubicBezTo>
                  <a:pt x="2171624" y="4629375"/>
                  <a:pt x="2194705" y="4630569"/>
                  <a:pt x="2219378" y="4631763"/>
                </a:cubicBezTo>
                <a:cubicBezTo>
                  <a:pt x="2219378" y="4609876"/>
                  <a:pt x="2219378" y="4589978"/>
                  <a:pt x="2219378" y="4567295"/>
                </a:cubicBezTo>
                <a:cubicBezTo>
                  <a:pt x="2196695" y="4567295"/>
                  <a:pt x="2174012" y="4567295"/>
                  <a:pt x="2150930" y="4567295"/>
                </a:cubicBezTo>
                <a:close/>
                <a:moveTo>
                  <a:pt x="2424323" y="4562918"/>
                </a:moveTo>
                <a:cubicBezTo>
                  <a:pt x="2400048" y="4564509"/>
                  <a:pt x="2377365" y="4565703"/>
                  <a:pt x="2353488" y="4567295"/>
                </a:cubicBezTo>
                <a:cubicBezTo>
                  <a:pt x="2355080" y="4590376"/>
                  <a:pt x="2356274" y="4610273"/>
                  <a:pt x="2357467" y="4630967"/>
                </a:cubicBezTo>
                <a:cubicBezTo>
                  <a:pt x="2382936" y="4629375"/>
                  <a:pt x="2404824" y="4627783"/>
                  <a:pt x="2429497" y="4626192"/>
                </a:cubicBezTo>
                <a:cubicBezTo>
                  <a:pt x="2427905" y="4605100"/>
                  <a:pt x="2426711" y="4585601"/>
                  <a:pt x="2424323" y="4562918"/>
                </a:cubicBezTo>
                <a:close/>
                <a:moveTo>
                  <a:pt x="2049452" y="4556550"/>
                </a:moveTo>
                <a:cubicBezTo>
                  <a:pt x="2047065" y="4578039"/>
                  <a:pt x="2045075" y="4597937"/>
                  <a:pt x="2042687" y="4619427"/>
                </a:cubicBezTo>
                <a:cubicBezTo>
                  <a:pt x="2067360" y="4621814"/>
                  <a:pt x="2090044" y="4624202"/>
                  <a:pt x="2114717" y="4626590"/>
                </a:cubicBezTo>
                <a:cubicBezTo>
                  <a:pt x="2116309" y="4605100"/>
                  <a:pt x="2117900" y="4584805"/>
                  <a:pt x="2119492" y="4563315"/>
                </a:cubicBezTo>
                <a:cubicBezTo>
                  <a:pt x="2095615" y="4560928"/>
                  <a:pt x="2073330" y="4558938"/>
                  <a:pt x="2049452" y="4556550"/>
                </a:cubicBezTo>
                <a:close/>
                <a:moveTo>
                  <a:pt x="2897488" y="4513571"/>
                </a:moveTo>
                <a:cubicBezTo>
                  <a:pt x="2880376" y="4518744"/>
                  <a:pt x="2864856" y="4523520"/>
                  <a:pt x="2847744" y="4528693"/>
                </a:cubicBezTo>
                <a:cubicBezTo>
                  <a:pt x="2852122" y="4542622"/>
                  <a:pt x="2855703" y="4554560"/>
                  <a:pt x="2859683" y="4567295"/>
                </a:cubicBezTo>
                <a:cubicBezTo>
                  <a:pt x="2877988" y="4562121"/>
                  <a:pt x="2893509" y="4557346"/>
                  <a:pt x="2910223" y="4551775"/>
                </a:cubicBezTo>
                <a:cubicBezTo>
                  <a:pt x="2905845" y="4538244"/>
                  <a:pt x="2901866" y="4526704"/>
                  <a:pt x="2897488" y="4513571"/>
                </a:cubicBezTo>
                <a:close/>
                <a:moveTo>
                  <a:pt x="1790386" y="4506408"/>
                </a:moveTo>
                <a:cubicBezTo>
                  <a:pt x="1786406" y="4521928"/>
                  <a:pt x="1783223" y="4535061"/>
                  <a:pt x="1779641" y="4549785"/>
                </a:cubicBezTo>
                <a:cubicBezTo>
                  <a:pt x="1811079" y="4556550"/>
                  <a:pt x="1840130" y="4562918"/>
                  <a:pt x="1872364" y="4570080"/>
                </a:cubicBezTo>
                <a:cubicBezTo>
                  <a:pt x="1875547" y="4553764"/>
                  <a:pt x="1877935" y="4540632"/>
                  <a:pt x="1881119" y="4525908"/>
                </a:cubicBezTo>
                <a:cubicBezTo>
                  <a:pt x="1850079" y="4519143"/>
                  <a:pt x="1820630" y="4512775"/>
                  <a:pt x="1790386" y="4506408"/>
                </a:cubicBezTo>
                <a:close/>
                <a:moveTo>
                  <a:pt x="3136658" y="4499245"/>
                </a:moveTo>
                <a:cubicBezTo>
                  <a:pt x="3139842" y="4505612"/>
                  <a:pt x="3143423" y="4513173"/>
                  <a:pt x="3148995" y="4525908"/>
                </a:cubicBezTo>
                <a:cubicBezTo>
                  <a:pt x="3132679" y="4528295"/>
                  <a:pt x="3119546" y="4529887"/>
                  <a:pt x="3106414" y="4531877"/>
                </a:cubicBezTo>
                <a:cubicBezTo>
                  <a:pt x="3103230" y="4532275"/>
                  <a:pt x="3100046" y="4533469"/>
                  <a:pt x="3096863" y="4534662"/>
                </a:cubicBezTo>
                <a:cubicBezTo>
                  <a:pt x="3039956" y="4555357"/>
                  <a:pt x="2983446" y="4576050"/>
                  <a:pt x="2926936" y="4597142"/>
                </a:cubicBezTo>
                <a:cubicBezTo>
                  <a:pt x="2923355" y="4598336"/>
                  <a:pt x="2920569" y="4600724"/>
                  <a:pt x="2917784" y="4602714"/>
                </a:cubicBezTo>
                <a:cubicBezTo>
                  <a:pt x="2918579" y="4604703"/>
                  <a:pt x="2919773" y="4607091"/>
                  <a:pt x="2920569" y="4609479"/>
                </a:cubicBezTo>
                <a:cubicBezTo>
                  <a:pt x="2984242" y="4585999"/>
                  <a:pt x="3047517" y="4562918"/>
                  <a:pt x="3112383" y="4539439"/>
                </a:cubicBezTo>
                <a:cubicBezTo>
                  <a:pt x="3116760" y="4548990"/>
                  <a:pt x="3120740" y="4558540"/>
                  <a:pt x="3126311" y="4570877"/>
                </a:cubicBezTo>
                <a:cubicBezTo>
                  <a:pt x="3061445" y="4594754"/>
                  <a:pt x="2997374" y="4618632"/>
                  <a:pt x="2931314" y="4642907"/>
                </a:cubicBezTo>
                <a:cubicBezTo>
                  <a:pt x="2926539" y="4630172"/>
                  <a:pt x="2922957" y="4621019"/>
                  <a:pt x="2918977" y="4609876"/>
                </a:cubicBezTo>
                <a:cubicBezTo>
                  <a:pt x="2909427" y="4611866"/>
                  <a:pt x="2899876" y="4614254"/>
                  <a:pt x="2888335" y="4617040"/>
                </a:cubicBezTo>
                <a:cubicBezTo>
                  <a:pt x="2885947" y="4608683"/>
                  <a:pt x="2883958" y="4601122"/>
                  <a:pt x="2881570" y="4593560"/>
                </a:cubicBezTo>
                <a:cubicBezTo>
                  <a:pt x="2967130" y="4561724"/>
                  <a:pt x="3051098" y="4530683"/>
                  <a:pt x="3136658" y="4499245"/>
                </a:cubicBezTo>
                <a:close/>
                <a:moveTo>
                  <a:pt x="2955987" y="4494470"/>
                </a:moveTo>
                <a:cubicBezTo>
                  <a:pt x="2938477" y="4500439"/>
                  <a:pt x="2922957" y="4505612"/>
                  <a:pt x="2905845" y="4511184"/>
                </a:cubicBezTo>
                <a:cubicBezTo>
                  <a:pt x="2910621" y="4524714"/>
                  <a:pt x="2914998" y="4536652"/>
                  <a:pt x="2919376" y="4549387"/>
                </a:cubicBezTo>
                <a:cubicBezTo>
                  <a:pt x="2936885" y="4543020"/>
                  <a:pt x="2952405" y="4537846"/>
                  <a:pt x="2969119" y="4532275"/>
                </a:cubicBezTo>
                <a:cubicBezTo>
                  <a:pt x="2964344" y="4518744"/>
                  <a:pt x="2960365" y="4507204"/>
                  <a:pt x="2955987" y="4494470"/>
                </a:cubicBezTo>
                <a:close/>
                <a:moveTo>
                  <a:pt x="2254398" y="4476562"/>
                </a:moveTo>
                <a:cubicBezTo>
                  <a:pt x="2254398" y="4498449"/>
                  <a:pt x="2254398" y="4517949"/>
                  <a:pt x="2254398" y="4538244"/>
                </a:cubicBezTo>
                <a:cubicBezTo>
                  <a:pt x="2277081" y="4538244"/>
                  <a:pt x="2298172" y="4538244"/>
                  <a:pt x="2320060" y="4538244"/>
                </a:cubicBezTo>
                <a:cubicBezTo>
                  <a:pt x="2320060" y="4517153"/>
                  <a:pt x="2320060" y="4496857"/>
                  <a:pt x="2320060" y="4476562"/>
                </a:cubicBezTo>
                <a:cubicBezTo>
                  <a:pt x="2297775" y="4476562"/>
                  <a:pt x="2276683" y="4476562"/>
                  <a:pt x="2254398" y="4476562"/>
                </a:cubicBezTo>
                <a:close/>
                <a:moveTo>
                  <a:pt x="3013292" y="4472980"/>
                </a:moveTo>
                <a:cubicBezTo>
                  <a:pt x="2996180" y="4479348"/>
                  <a:pt x="2981058" y="4484919"/>
                  <a:pt x="2964344" y="4491286"/>
                </a:cubicBezTo>
                <a:cubicBezTo>
                  <a:pt x="2969119" y="4504816"/>
                  <a:pt x="2973099" y="4516357"/>
                  <a:pt x="2977874" y="4529489"/>
                </a:cubicBezTo>
                <a:cubicBezTo>
                  <a:pt x="2995384" y="4522724"/>
                  <a:pt x="3010904" y="4516755"/>
                  <a:pt x="3028016" y="4510388"/>
                </a:cubicBezTo>
                <a:cubicBezTo>
                  <a:pt x="3022843" y="4497255"/>
                  <a:pt x="3018465" y="4486510"/>
                  <a:pt x="3013292" y="4472980"/>
                </a:cubicBezTo>
                <a:close/>
                <a:moveTo>
                  <a:pt x="2156104" y="4472582"/>
                </a:moveTo>
                <a:cubicBezTo>
                  <a:pt x="2154910" y="4494867"/>
                  <a:pt x="2154114" y="4514765"/>
                  <a:pt x="2152920" y="4537051"/>
                </a:cubicBezTo>
                <a:cubicBezTo>
                  <a:pt x="2177195" y="4537051"/>
                  <a:pt x="2199083" y="4537051"/>
                  <a:pt x="2222164" y="4537051"/>
                </a:cubicBezTo>
                <a:cubicBezTo>
                  <a:pt x="2222164" y="4516755"/>
                  <a:pt x="2222164" y="4497653"/>
                  <a:pt x="2222164" y="4475766"/>
                </a:cubicBezTo>
                <a:cubicBezTo>
                  <a:pt x="2199878" y="4474970"/>
                  <a:pt x="2179185" y="4473776"/>
                  <a:pt x="2156104" y="4472582"/>
                </a:cubicBezTo>
                <a:close/>
                <a:moveTo>
                  <a:pt x="2059401" y="4465021"/>
                </a:moveTo>
                <a:cubicBezTo>
                  <a:pt x="2057014" y="4486510"/>
                  <a:pt x="2055024" y="4506408"/>
                  <a:pt x="2052636" y="4528295"/>
                </a:cubicBezTo>
                <a:cubicBezTo>
                  <a:pt x="2076513" y="4530285"/>
                  <a:pt x="2098401" y="4532275"/>
                  <a:pt x="2121482" y="4534265"/>
                </a:cubicBezTo>
                <a:cubicBezTo>
                  <a:pt x="2123074" y="4511979"/>
                  <a:pt x="2124665" y="4492480"/>
                  <a:pt x="2126257" y="4470990"/>
                </a:cubicBezTo>
                <a:cubicBezTo>
                  <a:pt x="2103574" y="4469000"/>
                  <a:pt x="2082483" y="4467011"/>
                  <a:pt x="2059401" y="4465021"/>
                </a:cubicBezTo>
                <a:close/>
                <a:moveTo>
                  <a:pt x="2881172" y="4462236"/>
                </a:moveTo>
                <a:cubicBezTo>
                  <a:pt x="2864060" y="4467409"/>
                  <a:pt x="2849336" y="4472184"/>
                  <a:pt x="2833020" y="4477358"/>
                </a:cubicBezTo>
                <a:cubicBezTo>
                  <a:pt x="2836602" y="4488898"/>
                  <a:pt x="2839387" y="4498847"/>
                  <a:pt x="2842571" y="4511184"/>
                </a:cubicBezTo>
                <a:cubicBezTo>
                  <a:pt x="2860479" y="4505612"/>
                  <a:pt x="2875203" y="4501235"/>
                  <a:pt x="2891917" y="4496061"/>
                </a:cubicBezTo>
                <a:cubicBezTo>
                  <a:pt x="2887937" y="4483725"/>
                  <a:pt x="2884754" y="4473378"/>
                  <a:pt x="2881172" y="4462236"/>
                </a:cubicBezTo>
                <a:close/>
                <a:moveTo>
                  <a:pt x="3070199" y="4449899"/>
                </a:moveTo>
                <a:cubicBezTo>
                  <a:pt x="3052291" y="4457460"/>
                  <a:pt x="3037169" y="4463827"/>
                  <a:pt x="3021649" y="4470195"/>
                </a:cubicBezTo>
                <a:cubicBezTo>
                  <a:pt x="3026823" y="4483725"/>
                  <a:pt x="3031598" y="4494867"/>
                  <a:pt x="3036373" y="4507602"/>
                </a:cubicBezTo>
                <a:cubicBezTo>
                  <a:pt x="3053883" y="4500041"/>
                  <a:pt x="3069403" y="4493674"/>
                  <a:pt x="3085719" y="4486908"/>
                </a:cubicBezTo>
                <a:cubicBezTo>
                  <a:pt x="3080148" y="4473776"/>
                  <a:pt x="3075771" y="4463031"/>
                  <a:pt x="3070199" y="4449899"/>
                </a:cubicBezTo>
                <a:close/>
                <a:moveTo>
                  <a:pt x="2937283" y="4443134"/>
                </a:moveTo>
                <a:cubicBezTo>
                  <a:pt x="2920171" y="4449103"/>
                  <a:pt x="2905049" y="4454674"/>
                  <a:pt x="2889131" y="4460644"/>
                </a:cubicBezTo>
                <a:cubicBezTo>
                  <a:pt x="2893509" y="4472582"/>
                  <a:pt x="2896692" y="4482531"/>
                  <a:pt x="2900672" y="4493276"/>
                </a:cubicBezTo>
                <a:cubicBezTo>
                  <a:pt x="2917386" y="4487705"/>
                  <a:pt x="2932110" y="4482531"/>
                  <a:pt x="2949620" y="4476562"/>
                </a:cubicBezTo>
                <a:cubicBezTo>
                  <a:pt x="2945242" y="4464225"/>
                  <a:pt x="2941263" y="4454276"/>
                  <a:pt x="2937283" y="4443134"/>
                </a:cubicBezTo>
                <a:close/>
                <a:moveTo>
                  <a:pt x="1805906" y="4442736"/>
                </a:moveTo>
                <a:cubicBezTo>
                  <a:pt x="1802324" y="4457460"/>
                  <a:pt x="1799141" y="4470990"/>
                  <a:pt x="1795161" y="4486510"/>
                </a:cubicBezTo>
                <a:cubicBezTo>
                  <a:pt x="1826599" y="4493276"/>
                  <a:pt x="1854854" y="4499245"/>
                  <a:pt x="1885098" y="4506010"/>
                </a:cubicBezTo>
                <a:cubicBezTo>
                  <a:pt x="1887884" y="4489694"/>
                  <a:pt x="1890670" y="4476164"/>
                  <a:pt x="1893455" y="4461838"/>
                </a:cubicBezTo>
                <a:cubicBezTo>
                  <a:pt x="1862813" y="4455072"/>
                  <a:pt x="1834956" y="4449103"/>
                  <a:pt x="1805906" y="4442736"/>
                </a:cubicBezTo>
                <a:close/>
                <a:moveTo>
                  <a:pt x="3125515" y="4426022"/>
                </a:moveTo>
                <a:cubicBezTo>
                  <a:pt x="3108403" y="4433583"/>
                  <a:pt x="3093678" y="4440348"/>
                  <a:pt x="3078158" y="4447113"/>
                </a:cubicBezTo>
                <a:cubicBezTo>
                  <a:pt x="3083332" y="4459848"/>
                  <a:pt x="3088107" y="4470592"/>
                  <a:pt x="3093678" y="4484123"/>
                </a:cubicBezTo>
                <a:cubicBezTo>
                  <a:pt x="3110790" y="4476164"/>
                  <a:pt x="3126311" y="4469399"/>
                  <a:pt x="3142626" y="4461838"/>
                </a:cubicBezTo>
                <a:cubicBezTo>
                  <a:pt x="3136259" y="4448705"/>
                  <a:pt x="3131086" y="4437563"/>
                  <a:pt x="3125515" y="4426022"/>
                </a:cubicBezTo>
                <a:close/>
                <a:moveTo>
                  <a:pt x="1534503" y="4425226"/>
                </a:moveTo>
                <a:cubicBezTo>
                  <a:pt x="1528931" y="4439552"/>
                  <a:pt x="1524156" y="4452287"/>
                  <a:pt x="1518187" y="4467011"/>
                </a:cubicBezTo>
                <a:cubicBezTo>
                  <a:pt x="1548431" y="4478154"/>
                  <a:pt x="1577481" y="4488500"/>
                  <a:pt x="1607328" y="4499643"/>
                </a:cubicBezTo>
                <a:cubicBezTo>
                  <a:pt x="1612501" y="4484521"/>
                  <a:pt x="1617277" y="4471786"/>
                  <a:pt x="1621654" y="4457062"/>
                </a:cubicBezTo>
                <a:cubicBezTo>
                  <a:pt x="1592206" y="4446317"/>
                  <a:pt x="1563951" y="4435971"/>
                  <a:pt x="1534503" y="4425226"/>
                </a:cubicBezTo>
                <a:close/>
                <a:moveTo>
                  <a:pt x="2993394" y="4422440"/>
                </a:moveTo>
                <a:cubicBezTo>
                  <a:pt x="2976680" y="4428807"/>
                  <a:pt x="2961558" y="4434777"/>
                  <a:pt x="2945640" y="4440746"/>
                </a:cubicBezTo>
                <a:cubicBezTo>
                  <a:pt x="2950416" y="4452685"/>
                  <a:pt x="2954395" y="4463031"/>
                  <a:pt x="2958375" y="4473378"/>
                </a:cubicBezTo>
                <a:cubicBezTo>
                  <a:pt x="2975089" y="4467011"/>
                  <a:pt x="2989813" y="4461440"/>
                  <a:pt x="3006527" y="4455072"/>
                </a:cubicBezTo>
                <a:cubicBezTo>
                  <a:pt x="3001752" y="4443134"/>
                  <a:pt x="2997772" y="4433583"/>
                  <a:pt x="2993394" y="4422440"/>
                </a:cubicBezTo>
                <a:close/>
                <a:moveTo>
                  <a:pt x="1680949" y="4407318"/>
                </a:moveTo>
                <a:cubicBezTo>
                  <a:pt x="1676174" y="4422838"/>
                  <a:pt x="1672194" y="4435573"/>
                  <a:pt x="1667817" y="4450297"/>
                </a:cubicBezTo>
                <a:cubicBezTo>
                  <a:pt x="1698061" y="4459052"/>
                  <a:pt x="1726315" y="4467409"/>
                  <a:pt x="1755764" y="4475766"/>
                </a:cubicBezTo>
                <a:cubicBezTo>
                  <a:pt x="1759743" y="4460644"/>
                  <a:pt x="1763325" y="4447511"/>
                  <a:pt x="1767305" y="4431991"/>
                </a:cubicBezTo>
                <a:cubicBezTo>
                  <a:pt x="1737856" y="4423634"/>
                  <a:pt x="1709999" y="4415675"/>
                  <a:pt x="1680949" y="4407318"/>
                </a:cubicBezTo>
                <a:close/>
                <a:moveTo>
                  <a:pt x="3048710" y="4400155"/>
                </a:moveTo>
                <a:cubicBezTo>
                  <a:pt x="3031996" y="4407318"/>
                  <a:pt x="3017272" y="4413686"/>
                  <a:pt x="3001752" y="4420451"/>
                </a:cubicBezTo>
                <a:cubicBezTo>
                  <a:pt x="3006527" y="4431991"/>
                  <a:pt x="3010506" y="4441542"/>
                  <a:pt x="3014884" y="4452685"/>
                </a:cubicBezTo>
                <a:cubicBezTo>
                  <a:pt x="3031200" y="4445920"/>
                  <a:pt x="3046322" y="4439950"/>
                  <a:pt x="3062638" y="4433185"/>
                </a:cubicBezTo>
                <a:cubicBezTo>
                  <a:pt x="3057863" y="4421645"/>
                  <a:pt x="3053883" y="4412094"/>
                  <a:pt x="3048710" y="4400155"/>
                </a:cubicBezTo>
                <a:close/>
                <a:moveTo>
                  <a:pt x="2161277" y="4383043"/>
                </a:moveTo>
                <a:cubicBezTo>
                  <a:pt x="2160481" y="4402941"/>
                  <a:pt x="2159287" y="4422440"/>
                  <a:pt x="2158094" y="4444328"/>
                </a:cubicBezTo>
                <a:cubicBezTo>
                  <a:pt x="2181175" y="4444328"/>
                  <a:pt x="2201868" y="4444328"/>
                  <a:pt x="2224153" y="4444328"/>
                </a:cubicBezTo>
                <a:cubicBezTo>
                  <a:pt x="2224153" y="4424828"/>
                  <a:pt x="2224153" y="4404930"/>
                  <a:pt x="2224153" y="4383043"/>
                </a:cubicBezTo>
                <a:cubicBezTo>
                  <a:pt x="2203858" y="4383043"/>
                  <a:pt x="2183164" y="4383043"/>
                  <a:pt x="2161277" y="4383043"/>
                </a:cubicBezTo>
                <a:close/>
                <a:moveTo>
                  <a:pt x="2411191" y="4378666"/>
                </a:moveTo>
                <a:cubicBezTo>
                  <a:pt x="2388508" y="4379860"/>
                  <a:pt x="2368610" y="4381053"/>
                  <a:pt x="2346723" y="4382247"/>
                </a:cubicBezTo>
                <a:cubicBezTo>
                  <a:pt x="2347916" y="4404532"/>
                  <a:pt x="2348712" y="4424430"/>
                  <a:pt x="2349906" y="4445920"/>
                </a:cubicBezTo>
                <a:cubicBezTo>
                  <a:pt x="2372988" y="4444328"/>
                  <a:pt x="2393681" y="4443134"/>
                  <a:pt x="2415170" y="4441940"/>
                </a:cubicBezTo>
                <a:cubicBezTo>
                  <a:pt x="2413977" y="4419655"/>
                  <a:pt x="2412783" y="4400553"/>
                  <a:pt x="2411191" y="4378666"/>
                </a:cubicBezTo>
                <a:close/>
                <a:moveTo>
                  <a:pt x="3103229" y="4376676"/>
                </a:moveTo>
                <a:cubicBezTo>
                  <a:pt x="3086913" y="4383839"/>
                  <a:pt x="3072189" y="4390604"/>
                  <a:pt x="3056669" y="4397369"/>
                </a:cubicBezTo>
                <a:cubicBezTo>
                  <a:pt x="3061842" y="4409308"/>
                  <a:pt x="3066220" y="4418859"/>
                  <a:pt x="3070995" y="4430001"/>
                </a:cubicBezTo>
                <a:cubicBezTo>
                  <a:pt x="3087709" y="4422440"/>
                  <a:pt x="3102831" y="4415675"/>
                  <a:pt x="3118351" y="4408512"/>
                </a:cubicBezTo>
                <a:cubicBezTo>
                  <a:pt x="3112780" y="4396573"/>
                  <a:pt x="3108403" y="4387022"/>
                  <a:pt x="3103229" y="4376676"/>
                </a:cubicBezTo>
                <a:close/>
                <a:moveTo>
                  <a:pt x="1411933" y="4372696"/>
                </a:moveTo>
                <a:cubicBezTo>
                  <a:pt x="1405566" y="4386227"/>
                  <a:pt x="1399597" y="4398961"/>
                  <a:pt x="1392832" y="4413287"/>
                </a:cubicBezTo>
                <a:cubicBezTo>
                  <a:pt x="1422280" y="4426420"/>
                  <a:pt x="1449739" y="4438358"/>
                  <a:pt x="1479187" y="4451491"/>
                </a:cubicBezTo>
                <a:cubicBezTo>
                  <a:pt x="1485555" y="4436369"/>
                  <a:pt x="1490728" y="4423634"/>
                  <a:pt x="1496697" y="4410104"/>
                </a:cubicBezTo>
                <a:cubicBezTo>
                  <a:pt x="1467647" y="4397369"/>
                  <a:pt x="1440586" y="4385431"/>
                  <a:pt x="1411933" y="4372696"/>
                </a:cubicBezTo>
                <a:close/>
                <a:moveTo>
                  <a:pt x="1558778" y="4364339"/>
                </a:moveTo>
                <a:cubicBezTo>
                  <a:pt x="1553206" y="4379063"/>
                  <a:pt x="1548033" y="4392196"/>
                  <a:pt x="1542462" y="4406522"/>
                </a:cubicBezTo>
                <a:cubicBezTo>
                  <a:pt x="1572308" y="4417665"/>
                  <a:pt x="1600165" y="4427614"/>
                  <a:pt x="1628817" y="4437961"/>
                </a:cubicBezTo>
                <a:cubicBezTo>
                  <a:pt x="1633991" y="4422440"/>
                  <a:pt x="1637970" y="4409308"/>
                  <a:pt x="1642746" y="4394982"/>
                </a:cubicBezTo>
                <a:cubicBezTo>
                  <a:pt x="1614093" y="4384635"/>
                  <a:pt x="1587032" y="4374686"/>
                  <a:pt x="1558778" y="4364339"/>
                </a:cubicBezTo>
                <a:close/>
                <a:moveTo>
                  <a:pt x="2904253" y="4347227"/>
                </a:moveTo>
                <a:cubicBezTo>
                  <a:pt x="2888335" y="4352401"/>
                  <a:pt x="2874009" y="4357176"/>
                  <a:pt x="2858489" y="4362350"/>
                </a:cubicBezTo>
                <a:cubicBezTo>
                  <a:pt x="2868040" y="4392594"/>
                  <a:pt x="2877591" y="4421246"/>
                  <a:pt x="2887539" y="4452287"/>
                </a:cubicBezTo>
                <a:cubicBezTo>
                  <a:pt x="2905049" y="4446317"/>
                  <a:pt x="2919773" y="4441144"/>
                  <a:pt x="2935691" y="4435573"/>
                </a:cubicBezTo>
                <a:cubicBezTo>
                  <a:pt x="2924947" y="4405328"/>
                  <a:pt x="2914998" y="4377074"/>
                  <a:pt x="2904253" y="4347227"/>
                </a:cubicBezTo>
                <a:close/>
                <a:moveTo>
                  <a:pt x="2956783" y="4327330"/>
                </a:moveTo>
                <a:cubicBezTo>
                  <a:pt x="2940865" y="4333299"/>
                  <a:pt x="2927335" y="4338473"/>
                  <a:pt x="2911416" y="4344442"/>
                </a:cubicBezTo>
                <a:cubicBezTo>
                  <a:pt x="2922559" y="4375482"/>
                  <a:pt x="2932906" y="4403737"/>
                  <a:pt x="2943253" y="4433185"/>
                </a:cubicBezTo>
                <a:cubicBezTo>
                  <a:pt x="2959967" y="4426818"/>
                  <a:pt x="2974691" y="4421246"/>
                  <a:pt x="2991007" y="4415277"/>
                </a:cubicBezTo>
                <a:cubicBezTo>
                  <a:pt x="2979466" y="4385033"/>
                  <a:pt x="2968324" y="4356778"/>
                  <a:pt x="2956783" y="4327330"/>
                </a:cubicBezTo>
                <a:close/>
                <a:moveTo>
                  <a:pt x="1836150" y="4315789"/>
                </a:moveTo>
                <a:cubicBezTo>
                  <a:pt x="1832569" y="4331707"/>
                  <a:pt x="1829783" y="4344840"/>
                  <a:pt x="1826599" y="4359564"/>
                </a:cubicBezTo>
                <a:cubicBezTo>
                  <a:pt x="1854854" y="4365931"/>
                  <a:pt x="1881119" y="4371502"/>
                  <a:pt x="1909771" y="4377870"/>
                </a:cubicBezTo>
                <a:cubicBezTo>
                  <a:pt x="1912955" y="4361553"/>
                  <a:pt x="1915343" y="4348421"/>
                  <a:pt x="1918128" y="4333299"/>
                </a:cubicBezTo>
                <a:cubicBezTo>
                  <a:pt x="1890272" y="4327330"/>
                  <a:pt x="1863609" y="4321758"/>
                  <a:pt x="1836150" y="4315789"/>
                </a:cubicBezTo>
                <a:close/>
                <a:moveTo>
                  <a:pt x="3009313" y="4306239"/>
                </a:moveTo>
                <a:cubicBezTo>
                  <a:pt x="2993394" y="4312606"/>
                  <a:pt x="2979864" y="4318177"/>
                  <a:pt x="2964344" y="4324544"/>
                </a:cubicBezTo>
                <a:cubicBezTo>
                  <a:pt x="2976283" y="4354788"/>
                  <a:pt x="2987425" y="4383441"/>
                  <a:pt x="2998966" y="4412094"/>
                </a:cubicBezTo>
                <a:cubicBezTo>
                  <a:pt x="3015680" y="4405328"/>
                  <a:pt x="3029608" y="4399757"/>
                  <a:pt x="3045924" y="4392992"/>
                </a:cubicBezTo>
                <a:cubicBezTo>
                  <a:pt x="3033190" y="4363145"/>
                  <a:pt x="3021649" y="4335289"/>
                  <a:pt x="3009313" y="4306239"/>
                </a:cubicBezTo>
                <a:close/>
                <a:moveTo>
                  <a:pt x="2166848" y="4291116"/>
                </a:moveTo>
                <a:cubicBezTo>
                  <a:pt x="2165654" y="4311014"/>
                  <a:pt x="2164461" y="4330514"/>
                  <a:pt x="2163267" y="4352003"/>
                </a:cubicBezTo>
                <a:cubicBezTo>
                  <a:pt x="2184756" y="4352003"/>
                  <a:pt x="2204654" y="4352003"/>
                  <a:pt x="2226143" y="4352003"/>
                </a:cubicBezTo>
                <a:cubicBezTo>
                  <a:pt x="2226143" y="4332105"/>
                  <a:pt x="2226143" y="4312606"/>
                  <a:pt x="2225745" y="4291116"/>
                </a:cubicBezTo>
                <a:cubicBezTo>
                  <a:pt x="2206246" y="4291116"/>
                  <a:pt x="2187144" y="4291116"/>
                  <a:pt x="2166848" y="4291116"/>
                </a:cubicBezTo>
                <a:close/>
                <a:moveTo>
                  <a:pt x="2297619" y="4290519"/>
                </a:moveTo>
                <a:cubicBezTo>
                  <a:pt x="2288995" y="4290868"/>
                  <a:pt x="2276683" y="4292012"/>
                  <a:pt x="2259173" y="4292310"/>
                </a:cubicBezTo>
                <a:cubicBezTo>
                  <a:pt x="2258377" y="4292310"/>
                  <a:pt x="2257979" y="4292708"/>
                  <a:pt x="2255592" y="4293902"/>
                </a:cubicBezTo>
                <a:cubicBezTo>
                  <a:pt x="2255592" y="4313799"/>
                  <a:pt x="2255592" y="4333299"/>
                  <a:pt x="2255592" y="4353197"/>
                </a:cubicBezTo>
                <a:cubicBezTo>
                  <a:pt x="2276683" y="4353197"/>
                  <a:pt x="2296581" y="4353197"/>
                  <a:pt x="2316478" y="4353197"/>
                </a:cubicBezTo>
                <a:cubicBezTo>
                  <a:pt x="2316179" y="4295594"/>
                  <a:pt x="2323492" y="4289475"/>
                  <a:pt x="2297619" y="4290519"/>
                </a:cubicBezTo>
                <a:close/>
                <a:moveTo>
                  <a:pt x="3061046" y="4283555"/>
                </a:moveTo>
                <a:cubicBezTo>
                  <a:pt x="3045526" y="4290320"/>
                  <a:pt x="3031996" y="4296688"/>
                  <a:pt x="3016874" y="4303453"/>
                </a:cubicBezTo>
                <a:cubicBezTo>
                  <a:pt x="3029608" y="4332901"/>
                  <a:pt x="3041547" y="4361156"/>
                  <a:pt x="3053883" y="4390206"/>
                </a:cubicBezTo>
                <a:cubicBezTo>
                  <a:pt x="3070597" y="4382645"/>
                  <a:pt x="3084526" y="4376278"/>
                  <a:pt x="3100046" y="4369115"/>
                </a:cubicBezTo>
                <a:cubicBezTo>
                  <a:pt x="3086913" y="4340064"/>
                  <a:pt x="3074577" y="4313401"/>
                  <a:pt x="3061046" y="4283555"/>
                </a:cubicBezTo>
                <a:close/>
                <a:moveTo>
                  <a:pt x="1719948" y="4283157"/>
                </a:moveTo>
                <a:cubicBezTo>
                  <a:pt x="1715571" y="4298677"/>
                  <a:pt x="1711591" y="4311809"/>
                  <a:pt x="1706816" y="4326136"/>
                </a:cubicBezTo>
                <a:cubicBezTo>
                  <a:pt x="1734673" y="4334493"/>
                  <a:pt x="1760539" y="4341656"/>
                  <a:pt x="1788794" y="4350013"/>
                </a:cubicBezTo>
                <a:cubicBezTo>
                  <a:pt x="1793171" y="4334493"/>
                  <a:pt x="1796753" y="4321360"/>
                  <a:pt x="1800733" y="4306239"/>
                </a:cubicBezTo>
                <a:cubicBezTo>
                  <a:pt x="1773274" y="4298279"/>
                  <a:pt x="1747407" y="4290718"/>
                  <a:pt x="1719948" y="4283157"/>
                </a:cubicBezTo>
                <a:close/>
                <a:moveTo>
                  <a:pt x="2079299" y="4281167"/>
                </a:moveTo>
                <a:cubicBezTo>
                  <a:pt x="2076911" y="4303055"/>
                  <a:pt x="2074921" y="4322952"/>
                  <a:pt x="2072534" y="4344442"/>
                </a:cubicBezTo>
                <a:cubicBezTo>
                  <a:pt x="2094023" y="4346432"/>
                  <a:pt x="2113523" y="4348023"/>
                  <a:pt x="2135012" y="4350013"/>
                </a:cubicBezTo>
                <a:cubicBezTo>
                  <a:pt x="2136604" y="4327728"/>
                  <a:pt x="2138196" y="4307830"/>
                  <a:pt x="2139390" y="4287137"/>
                </a:cubicBezTo>
                <a:cubicBezTo>
                  <a:pt x="2118696" y="4285147"/>
                  <a:pt x="2100390" y="4283157"/>
                  <a:pt x="2079299" y="4281167"/>
                </a:cubicBezTo>
                <a:close/>
                <a:moveTo>
                  <a:pt x="2819489" y="4267637"/>
                </a:moveTo>
                <a:cubicBezTo>
                  <a:pt x="2803969" y="4272413"/>
                  <a:pt x="2790439" y="4276790"/>
                  <a:pt x="2775715" y="4281167"/>
                </a:cubicBezTo>
                <a:cubicBezTo>
                  <a:pt x="2784868" y="4312208"/>
                  <a:pt x="2793225" y="4340860"/>
                  <a:pt x="2801980" y="4371104"/>
                </a:cubicBezTo>
                <a:cubicBezTo>
                  <a:pt x="2817898" y="4366329"/>
                  <a:pt x="2831826" y="4362350"/>
                  <a:pt x="2848142" y="4357574"/>
                </a:cubicBezTo>
                <a:cubicBezTo>
                  <a:pt x="2838193" y="4326534"/>
                  <a:pt x="2829040" y="4297881"/>
                  <a:pt x="2819489" y="4267637"/>
                </a:cubicBezTo>
                <a:close/>
                <a:moveTo>
                  <a:pt x="1467647" y="4254106"/>
                </a:moveTo>
                <a:cubicBezTo>
                  <a:pt x="1460882" y="4268035"/>
                  <a:pt x="1454912" y="4280372"/>
                  <a:pt x="1448545" y="4295096"/>
                </a:cubicBezTo>
                <a:cubicBezTo>
                  <a:pt x="1476004" y="4307034"/>
                  <a:pt x="1502269" y="4318575"/>
                  <a:pt x="1529727" y="4330911"/>
                </a:cubicBezTo>
                <a:cubicBezTo>
                  <a:pt x="1535697" y="4316187"/>
                  <a:pt x="1540870" y="4303453"/>
                  <a:pt x="1546839" y="4289524"/>
                </a:cubicBezTo>
                <a:cubicBezTo>
                  <a:pt x="1520574" y="4277586"/>
                  <a:pt x="1495503" y="4266443"/>
                  <a:pt x="1467647" y="4254106"/>
                </a:cubicBezTo>
                <a:close/>
                <a:moveTo>
                  <a:pt x="1851670" y="4251719"/>
                </a:moveTo>
                <a:cubicBezTo>
                  <a:pt x="1848487" y="4267637"/>
                  <a:pt x="1845303" y="4280770"/>
                  <a:pt x="1842120" y="4295494"/>
                </a:cubicBezTo>
                <a:cubicBezTo>
                  <a:pt x="1869578" y="4301861"/>
                  <a:pt x="1895047" y="4307432"/>
                  <a:pt x="1922108" y="4313401"/>
                </a:cubicBezTo>
                <a:cubicBezTo>
                  <a:pt x="1925291" y="4298677"/>
                  <a:pt x="1928077" y="4285147"/>
                  <a:pt x="1930863" y="4268831"/>
                </a:cubicBezTo>
                <a:cubicBezTo>
                  <a:pt x="1903404" y="4262862"/>
                  <a:pt x="1877935" y="4257290"/>
                  <a:pt x="1851670" y="4251719"/>
                </a:cubicBezTo>
                <a:close/>
                <a:moveTo>
                  <a:pt x="2870029" y="4250525"/>
                </a:moveTo>
                <a:cubicBezTo>
                  <a:pt x="2854907" y="4255698"/>
                  <a:pt x="2841775" y="4260474"/>
                  <a:pt x="2826653" y="4265647"/>
                </a:cubicBezTo>
                <a:cubicBezTo>
                  <a:pt x="2836999" y="4296688"/>
                  <a:pt x="2846152" y="4325340"/>
                  <a:pt x="2856101" y="4355186"/>
                </a:cubicBezTo>
                <a:cubicBezTo>
                  <a:pt x="2872417" y="4349217"/>
                  <a:pt x="2886346" y="4344442"/>
                  <a:pt x="2901468" y="4338870"/>
                </a:cubicBezTo>
                <a:cubicBezTo>
                  <a:pt x="2890325" y="4307830"/>
                  <a:pt x="2880376" y="4279575"/>
                  <a:pt x="2870029" y="4250525"/>
                </a:cubicBezTo>
                <a:close/>
                <a:moveTo>
                  <a:pt x="1606134" y="4242964"/>
                </a:moveTo>
                <a:cubicBezTo>
                  <a:pt x="1600563" y="4257290"/>
                  <a:pt x="1595787" y="4270025"/>
                  <a:pt x="1589818" y="4284749"/>
                </a:cubicBezTo>
                <a:cubicBezTo>
                  <a:pt x="1617277" y="4294698"/>
                  <a:pt x="1643144" y="4304249"/>
                  <a:pt x="1670204" y="4314198"/>
                </a:cubicBezTo>
                <a:cubicBezTo>
                  <a:pt x="1675378" y="4299075"/>
                  <a:pt x="1679755" y="4286739"/>
                  <a:pt x="1684929" y="4271616"/>
                </a:cubicBezTo>
                <a:cubicBezTo>
                  <a:pt x="1658266" y="4261668"/>
                  <a:pt x="1633195" y="4252515"/>
                  <a:pt x="1606134" y="4242964"/>
                </a:cubicBezTo>
                <a:close/>
                <a:moveTo>
                  <a:pt x="2919773" y="4232219"/>
                </a:moveTo>
                <a:cubicBezTo>
                  <a:pt x="2904651" y="4237791"/>
                  <a:pt x="2891917" y="4242566"/>
                  <a:pt x="2877192" y="4248137"/>
                </a:cubicBezTo>
                <a:cubicBezTo>
                  <a:pt x="2887937" y="4277984"/>
                  <a:pt x="2898284" y="4307034"/>
                  <a:pt x="2909029" y="4336881"/>
                </a:cubicBezTo>
                <a:cubicBezTo>
                  <a:pt x="2925345" y="4330911"/>
                  <a:pt x="2939273" y="4325738"/>
                  <a:pt x="2953997" y="4320167"/>
                </a:cubicBezTo>
                <a:cubicBezTo>
                  <a:pt x="2942059" y="4289922"/>
                  <a:pt x="2931314" y="4261270"/>
                  <a:pt x="2919773" y="4232219"/>
                </a:cubicBezTo>
                <a:close/>
                <a:moveTo>
                  <a:pt x="1739846" y="4221077"/>
                </a:moveTo>
                <a:cubicBezTo>
                  <a:pt x="1735070" y="4235801"/>
                  <a:pt x="1731091" y="4248137"/>
                  <a:pt x="1726315" y="4264055"/>
                </a:cubicBezTo>
                <a:cubicBezTo>
                  <a:pt x="1754172" y="4271616"/>
                  <a:pt x="1779641" y="4278780"/>
                  <a:pt x="1806304" y="4286341"/>
                </a:cubicBezTo>
                <a:cubicBezTo>
                  <a:pt x="1810283" y="4270423"/>
                  <a:pt x="1813865" y="4257290"/>
                  <a:pt x="1817446" y="4242964"/>
                </a:cubicBezTo>
                <a:cubicBezTo>
                  <a:pt x="1790386" y="4235403"/>
                  <a:pt x="1765713" y="4228240"/>
                  <a:pt x="1739846" y="4221077"/>
                </a:cubicBezTo>
                <a:close/>
                <a:moveTo>
                  <a:pt x="2969915" y="4211924"/>
                </a:moveTo>
                <a:cubicBezTo>
                  <a:pt x="2955191" y="4218291"/>
                  <a:pt x="2942059" y="4223862"/>
                  <a:pt x="2927732" y="4229831"/>
                </a:cubicBezTo>
                <a:cubicBezTo>
                  <a:pt x="2939273" y="4260076"/>
                  <a:pt x="2950416" y="4288331"/>
                  <a:pt x="2961956" y="4317381"/>
                </a:cubicBezTo>
                <a:cubicBezTo>
                  <a:pt x="2978272" y="4310616"/>
                  <a:pt x="2992201" y="4304647"/>
                  <a:pt x="3006527" y="4298677"/>
                </a:cubicBezTo>
                <a:cubicBezTo>
                  <a:pt x="2994190" y="4269229"/>
                  <a:pt x="2982650" y="4241770"/>
                  <a:pt x="2969915" y="4211924"/>
                </a:cubicBezTo>
                <a:close/>
                <a:moveTo>
                  <a:pt x="2171624" y="4197995"/>
                </a:moveTo>
                <a:cubicBezTo>
                  <a:pt x="2170828" y="4218291"/>
                  <a:pt x="2170032" y="4238188"/>
                  <a:pt x="2168838" y="4259678"/>
                </a:cubicBezTo>
                <a:cubicBezTo>
                  <a:pt x="2189532" y="4259678"/>
                  <a:pt x="2208235" y="4259678"/>
                  <a:pt x="2228133" y="4259678"/>
                </a:cubicBezTo>
                <a:cubicBezTo>
                  <a:pt x="2228133" y="4239382"/>
                  <a:pt x="2228133" y="4219485"/>
                  <a:pt x="2227735" y="4197995"/>
                </a:cubicBezTo>
                <a:cubicBezTo>
                  <a:pt x="2208633" y="4197995"/>
                  <a:pt x="2191123" y="4197995"/>
                  <a:pt x="2171624" y="4197995"/>
                </a:cubicBezTo>
                <a:close/>
                <a:moveTo>
                  <a:pt x="2396069" y="4194016"/>
                </a:moveTo>
                <a:cubicBezTo>
                  <a:pt x="2376171" y="4195608"/>
                  <a:pt x="2358661" y="4196802"/>
                  <a:pt x="2341947" y="4197995"/>
                </a:cubicBezTo>
                <a:cubicBezTo>
                  <a:pt x="2341947" y="4219485"/>
                  <a:pt x="2341947" y="4239382"/>
                  <a:pt x="2341549" y="4261270"/>
                </a:cubicBezTo>
                <a:cubicBezTo>
                  <a:pt x="2362243" y="4260076"/>
                  <a:pt x="2380549" y="4258882"/>
                  <a:pt x="2401640" y="4257688"/>
                </a:cubicBezTo>
                <a:cubicBezTo>
                  <a:pt x="2399650" y="4235005"/>
                  <a:pt x="2398058" y="4214710"/>
                  <a:pt x="2396069" y="4194016"/>
                </a:cubicBezTo>
                <a:close/>
                <a:moveTo>
                  <a:pt x="2089248" y="4189638"/>
                </a:moveTo>
                <a:cubicBezTo>
                  <a:pt x="2087258" y="4210730"/>
                  <a:pt x="2084870" y="4230229"/>
                  <a:pt x="2082483" y="4252515"/>
                </a:cubicBezTo>
                <a:cubicBezTo>
                  <a:pt x="2103574" y="4254505"/>
                  <a:pt x="2122278" y="4256096"/>
                  <a:pt x="2141777" y="4258086"/>
                </a:cubicBezTo>
                <a:cubicBezTo>
                  <a:pt x="2143369" y="4235403"/>
                  <a:pt x="2144563" y="4215505"/>
                  <a:pt x="2146155" y="4194812"/>
                </a:cubicBezTo>
                <a:cubicBezTo>
                  <a:pt x="2125859" y="4192822"/>
                  <a:pt x="2108350" y="4191230"/>
                  <a:pt x="2089248" y="4189638"/>
                </a:cubicBezTo>
                <a:close/>
                <a:moveTo>
                  <a:pt x="2687767" y="4183669"/>
                </a:moveTo>
                <a:cubicBezTo>
                  <a:pt x="2673839" y="4187251"/>
                  <a:pt x="2662697" y="4190434"/>
                  <a:pt x="2649962" y="4193618"/>
                </a:cubicBezTo>
                <a:cubicBezTo>
                  <a:pt x="2653544" y="4207944"/>
                  <a:pt x="2656727" y="4220281"/>
                  <a:pt x="2659911" y="4233811"/>
                </a:cubicBezTo>
                <a:cubicBezTo>
                  <a:pt x="2673441" y="4230628"/>
                  <a:pt x="2684982" y="4227444"/>
                  <a:pt x="2697716" y="4224260"/>
                </a:cubicBezTo>
                <a:cubicBezTo>
                  <a:pt x="2694135" y="4210730"/>
                  <a:pt x="2691349" y="4198393"/>
                  <a:pt x="2687767" y="4183669"/>
                </a:cubicBezTo>
                <a:close/>
                <a:moveTo>
                  <a:pt x="1630011" y="4182077"/>
                </a:moveTo>
                <a:cubicBezTo>
                  <a:pt x="1624440" y="4196403"/>
                  <a:pt x="1619664" y="4209536"/>
                  <a:pt x="1614093" y="4223862"/>
                </a:cubicBezTo>
                <a:cubicBezTo>
                  <a:pt x="1640358" y="4233413"/>
                  <a:pt x="1665429" y="4242566"/>
                  <a:pt x="1691296" y="4252515"/>
                </a:cubicBezTo>
                <a:cubicBezTo>
                  <a:pt x="1696469" y="4237393"/>
                  <a:pt x="1700847" y="4225056"/>
                  <a:pt x="1706020" y="4209934"/>
                </a:cubicBezTo>
                <a:cubicBezTo>
                  <a:pt x="1679755" y="4200383"/>
                  <a:pt x="1655480" y="4191230"/>
                  <a:pt x="1630011" y="4182077"/>
                </a:cubicBezTo>
                <a:close/>
                <a:moveTo>
                  <a:pt x="2788449" y="4170139"/>
                </a:moveTo>
                <a:cubicBezTo>
                  <a:pt x="2773327" y="4174914"/>
                  <a:pt x="2760991" y="4178894"/>
                  <a:pt x="2747062" y="4183271"/>
                </a:cubicBezTo>
                <a:cubicBezTo>
                  <a:pt x="2756215" y="4213913"/>
                  <a:pt x="2764970" y="4243362"/>
                  <a:pt x="2773725" y="4273208"/>
                </a:cubicBezTo>
                <a:cubicBezTo>
                  <a:pt x="2789245" y="4268433"/>
                  <a:pt x="2802378" y="4264454"/>
                  <a:pt x="2817102" y="4259678"/>
                </a:cubicBezTo>
                <a:cubicBezTo>
                  <a:pt x="2807153" y="4229036"/>
                  <a:pt x="2798000" y="4199985"/>
                  <a:pt x="2788449" y="4170139"/>
                </a:cubicBezTo>
                <a:close/>
                <a:moveTo>
                  <a:pt x="2836203" y="4154220"/>
                </a:moveTo>
                <a:cubicBezTo>
                  <a:pt x="2821479" y="4159394"/>
                  <a:pt x="2809143" y="4163374"/>
                  <a:pt x="2794817" y="4167751"/>
                </a:cubicBezTo>
                <a:cubicBezTo>
                  <a:pt x="2804765" y="4198393"/>
                  <a:pt x="2814316" y="4227444"/>
                  <a:pt x="2824265" y="4257688"/>
                </a:cubicBezTo>
                <a:cubicBezTo>
                  <a:pt x="2840183" y="4252117"/>
                  <a:pt x="2853315" y="4247341"/>
                  <a:pt x="2867244" y="4242168"/>
                </a:cubicBezTo>
                <a:cubicBezTo>
                  <a:pt x="2856897" y="4211924"/>
                  <a:pt x="2846948" y="4184067"/>
                  <a:pt x="2836203" y="4154220"/>
                </a:cubicBezTo>
                <a:close/>
                <a:moveTo>
                  <a:pt x="2599820" y="4145864"/>
                </a:moveTo>
                <a:cubicBezTo>
                  <a:pt x="2587484" y="4148251"/>
                  <a:pt x="2576739" y="4150241"/>
                  <a:pt x="2563209" y="4152629"/>
                </a:cubicBezTo>
                <a:cubicBezTo>
                  <a:pt x="2565994" y="4168149"/>
                  <a:pt x="2568382" y="4180485"/>
                  <a:pt x="2571168" y="4194016"/>
                </a:cubicBezTo>
                <a:cubicBezTo>
                  <a:pt x="2584698" y="4191230"/>
                  <a:pt x="2595841" y="4188843"/>
                  <a:pt x="2608575" y="4186454"/>
                </a:cubicBezTo>
                <a:cubicBezTo>
                  <a:pt x="2605391" y="4171730"/>
                  <a:pt x="2602606" y="4159394"/>
                  <a:pt x="2599820" y="4145864"/>
                </a:cubicBezTo>
                <a:close/>
                <a:moveTo>
                  <a:pt x="1522962" y="4135915"/>
                </a:moveTo>
                <a:cubicBezTo>
                  <a:pt x="1516595" y="4149843"/>
                  <a:pt x="1510626" y="4162577"/>
                  <a:pt x="1504258" y="4176506"/>
                </a:cubicBezTo>
                <a:cubicBezTo>
                  <a:pt x="1530125" y="4188046"/>
                  <a:pt x="1554002" y="4198792"/>
                  <a:pt x="1579471" y="4209934"/>
                </a:cubicBezTo>
                <a:cubicBezTo>
                  <a:pt x="1585441" y="4196006"/>
                  <a:pt x="1590614" y="4183271"/>
                  <a:pt x="1596981" y="4168547"/>
                </a:cubicBezTo>
                <a:cubicBezTo>
                  <a:pt x="1571512" y="4157404"/>
                  <a:pt x="1548033" y="4147058"/>
                  <a:pt x="1522962" y="4135915"/>
                </a:cubicBezTo>
                <a:close/>
                <a:moveTo>
                  <a:pt x="2773725" y="4125568"/>
                </a:moveTo>
                <a:cubicBezTo>
                  <a:pt x="2759399" y="4130343"/>
                  <a:pt x="2747460" y="4134323"/>
                  <a:pt x="2734328" y="4138700"/>
                </a:cubicBezTo>
                <a:cubicBezTo>
                  <a:pt x="2738307" y="4151833"/>
                  <a:pt x="2741491" y="4162976"/>
                  <a:pt x="2745073" y="4175312"/>
                </a:cubicBezTo>
                <a:cubicBezTo>
                  <a:pt x="2759001" y="4170935"/>
                  <a:pt x="2770939" y="4167353"/>
                  <a:pt x="2786062" y="4162976"/>
                </a:cubicBezTo>
                <a:cubicBezTo>
                  <a:pt x="2781684" y="4149047"/>
                  <a:pt x="2777704" y="4137905"/>
                  <a:pt x="2773725" y="4125568"/>
                </a:cubicBezTo>
                <a:close/>
                <a:moveTo>
                  <a:pt x="1883507" y="4125170"/>
                </a:moveTo>
                <a:cubicBezTo>
                  <a:pt x="1879925" y="4140292"/>
                  <a:pt x="1876343" y="4154220"/>
                  <a:pt x="1872762" y="4168945"/>
                </a:cubicBezTo>
                <a:cubicBezTo>
                  <a:pt x="1898231" y="4174516"/>
                  <a:pt x="1921312" y="4179689"/>
                  <a:pt x="1947577" y="4185659"/>
                </a:cubicBezTo>
                <a:cubicBezTo>
                  <a:pt x="1950363" y="4169741"/>
                  <a:pt x="1953148" y="4155812"/>
                  <a:pt x="1956332" y="4141088"/>
                </a:cubicBezTo>
                <a:cubicBezTo>
                  <a:pt x="1930863" y="4135517"/>
                  <a:pt x="1908180" y="4130741"/>
                  <a:pt x="1883507" y="4125170"/>
                </a:cubicBezTo>
                <a:close/>
                <a:moveTo>
                  <a:pt x="1996525" y="4124374"/>
                </a:moveTo>
                <a:cubicBezTo>
                  <a:pt x="1991352" y="4153027"/>
                  <a:pt x="1986974" y="4179292"/>
                  <a:pt x="1982199" y="4207546"/>
                </a:cubicBezTo>
                <a:cubicBezTo>
                  <a:pt x="2004882" y="4210730"/>
                  <a:pt x="2025177" y="4213913"/>
                  <a:pt x="2047463" y="4217097"/>
                </a:cubicBezTo>
                <a:cubicBezTo>
                  <a:pt x="2051442" y="4188444"/>
                  <a:pt x="2055024" y="4161782"/>
                  <a:pt x="2058605" y="4133527"/>
                </a:cubicBezTo>
                <a:cubicBezTo>
                  <a:pt x="2037514" y="4130343"/>
                  <a:pt x="2017616" y="4127558"/>
                  <a:pt x="1996525" y="4124374"/>
                </a:cubicBezTo>
                <a:close/>
                <a:moveTo>
                  <a:pt x="1653888" y="4120792"/>
                </a:moveTo>
                <a:cubicBezTo>
                  <a:pt x="1648317" y="4135517"/>
                  <a:pt x="1643144" y="4148649"/>
                  <a:pt x="1637572" y="4162976"/>
                </a:cubicBezTo>
                <a:cubicBezTo>
                  <a:pt x="1663837" y="4172526"/>
                  <a:pt x="1687316" y="4181281"/>
                  <a:pt x="1712785" y="4190036"/>
                </a:cubicBezTo>
                <a:cubicBezTo>
                  <a:pt x="1717958" y="4174516"/>
                  <a:pt x="1721938" y="4161782"/>
                  <a:pt x="1726713" y="4147455"/>
                </a:cubicBezTo>
                <a:cubicBezTo>
                  <a:pt x="1702040" y="4138700"/>
                  <a:pt x="1678561" y="4129945"/>
                  <a:pt x="1653888" y="4120792"/>
                </a:cubicBezTo>
                <a:close/>
                <a:moveTo>
                  <a:pt x="2930518" y="4117609"/>
                </a:moveTo>
                <a:cubicBezTo>
                  <a:pt x="2916192" y="4123578"/>
                  <a:pt x="2904651" y="4127956"/>
                  <a:pt x="2890325" y="4133925"/>
                </a:cubicBezTo>
                <a:cubicBezTo>
                  <a:pt x="2901866" y="4164169"/>
                  <a:pt x="2913008" y="4192026"/>
                  <a:pt x="2924549" y="4221872"/>
                </a:cubicBezTo>
                <a:cubicBezTo>
                  <a:pt x="2939273" y="4215903"/>
                  <a:pt x="2952405" y="4210730"/>
                  <a:pt x="2967130" y="4204362"/>
                </a:cubicBezTo>
                <a:cubicBezTo>
                  <a:pt x="2954395" y="4174516"/>
                  <a:pt x="2942457" y="4146261"/>
                  <a:pt x="2930518" y="4117609"/>
                </a:cubicBezTo>
                <a:close/>
                <a:moveTo>
                  <a:pt x="2820683" y="4110446"/>
                </a:moveTo>
                <a:cubicBezTo>
                  <a:pt x="2806755" y="4114823"/>
                  <a:pt x="2795214" y="4118803"/>
                  <a:pt x="2780888" y="4123976"/>
                </a:cubicBezTo>
                <a:cubicBezTo>
                  <a:pt x="2785266" y="4137109"/>
                  <a:pt x="2788847" y="4147853"/>
                  <a:pt x="2792827" y="4160588"/>
                </a:cubicBezTo>
                <a:cubicBezTo>
                  <a:pt x="2807153" y="4155415"/>
                  <a:pt x="2819888" y="4151037"/>
                  <a:pt x="2833418" y="4146261"/>
                </a:cubicBezTo>
                <a:cubicBezTo>
                  <a:pt x="2828643" y="4132731"/>
                  <a:pt x="2824663" y="4121986"/>
                  <a:pt x="2820683" y="4110446"/>
                </a:cubicBezTo>
                <a:close/>
                <a:moveTo>
                  <a:pt x="2256786" y="4107660"/>
                </a:moveTo>
                <a:cubicBezTo>
                  <a:pt x="2256786" y="4128751"/>
                  <a:pt x="2256786" y="4148251"/>
                  <a:pt x="2256786" y="4168547"/>
                </a:cubicBezTo>
                <a:cubicBezTo>
                  <a:pt x="2275887" y="4168547"/>
                  <a:pt x="2293795" y="4168547"/>
                  <a:pt x="2310111" y="4168547"/>
                </a:cubicBezTo>
                <a:cubicBezTo>
                  <a:pt x="2310111" y="4146659"/>
                  <a:pt x="2310111" y="4126762"/>
                  <a:pt x="2310111" y="4107660"/>
                </a:cubicBezTo>
                <a:cubicBezTo>
                  <a:pt x="2291009" y="4107660"/>
                  <a:pt x="2274295" y="4107660"/>
                  <a:pt x="2256786" y="4107660"/>
                </a:cubicBezTo>
                <a:close/>
                <a:moveTo>
                  <a:pt x="2177593" y="4104079"/>
                </a:moveTo>
                <a:cubicBezTo>
                  <a:pt x="2176399" y="4125568"/>
                  <a:pt x="2175205" y="4145466"/>
                  <a:pt x="2173613" y="4167751"/>
                </a:cubicBezTo>
                <a:cubicBezTo>
                  <a:pt x="2193511" y="4167751"/>
                  <a:pt x="2211021" y="4167751"/>
                  <a:pt x="2230123" y="4167751"/>
                </a:cubicBezTo>
                <a:cubicBezTo>
                  <a:pt x="2230123" y="4147853"/>
                  <a:pt x="2230123" y="4128354"/>
                  <a:pt x="2230123" y="4106466"/>
                </a:cubicBezTo>
                <a:cubicBezTo>
                  <a:pt x="2212613" y="4105671"/>
                  <a:pt x="2196297" y="4104874"/>
                  <a:pt x="2177593" y="4104079"/>
                </a:cubicBezTo>
                <a:close/>
                <a:moveTo>
                  <a:pt x="2389701" y="4102089"/>
                </a:moveTo>
                <a:cubicBezTo>
                  <a:pt x="2370600" y="4103283"/>
                  <a:pt x="2354284" y="4104476"/>
                  <a:pt x="2335580" y="4105671"/>
                </a:cubicBezTo>
                <a:cubicBezTo>
                  <a:pt x="2336376" y="4127956"/>
                  <a:pt x="2337570" y="4147455"/>
                  <a:pt x="2338764" y="4169343"/>
                </a:cubicBezTo>
                <a:cubicBezTo>
                  <a:pt x="2357865" y="4168149"/>
                  <a:pt x="2375375" y="4166955"/>
                  <a:pt x="2394875" y="4165363"/>
                </a:cubicBezTo>
                <a:cubicBezTo>
                  <a:pt x="2392885" y="4143476"/>
                  <a:pt x="2391293" y="4123578"/>
                  <a:pt x="2389701" y="4102089"/>
                </a:cubicBezTo>
                <a:close/>
                <a:moveTo>
                  <a:pt x="2514260" y="4101293"/>
                </a:moveTo>
                <a:cubicBezTo>
                  <a:pt x="2502720" y="4102487"/>
                  <a:pt x="2492373" y="4104079"/>
                  <a:pt x="2478843" y="4105671"/>
                </a:cubicBezTo>
                <a:cubicBezTo>
                  <a:pt x="2481230" y="4121191"/>
                  <a:pt x="2483220" y="4133527"/>
                  <a:pt x="2485210" y="4147455"/>
                </a:cubicBezTo>
                <a:cubicBezTo>
                  <a:pt x="2498342" y="4145068"/>
                  <a:pt x="2509485" y="4143476"/>
                  <a:pt x="2521025" y="4141486"/>
                </a:cubicBezTo>
                <a:cubicBezTo>
                  <a:pt x="2518638" y="4127160"/>
                  <a:pt x="2516648" y="4114823"/>
                  <a:pt x="2514260" y="4101293"/>
                </a:cubicBezTo>
                <a:close/>
                <a:moveTo>
                  <a:pt x="1067705" y="4101293"/>
                </a:moveTo>
                <a:cubicBezTo>
                  <a:pt x="1057358" y="4114823"/>
                  <a:pt x="1047807" y="4127160"/>
                  <a:pt x="1037859" y="4140292"/>
                </a:cubicBezTo>
                <a:cubicBezTo>
                  <a:pt x="1054573" y="4152231"/>
                  <a:pt x="1067307" y="4161782"/>
                  <a:pt x="1081235" y="4172128"/>
                </a:cubicBezTo>
                <a:cubicBezTo>
                  <a:pt x="1091582" y="4158200"/>
                  <a:pt x="1100337" y="4145864"/>
                  <a:pt x="1109888" y="4133129"/>
                </a:cubicBezTo>
                <a:cubicBezTo>
                  <a:pt x="1095164" y="4121986"/>
                  <a:pt x="1082031" y="4112038"/>
                  <a:pt x="1067705" y="4101293"/>
                </a:cubicBezTo>
                <a:close/>
                <a:moveTo>
                  <a:pt x="2975885" y="4097711"/>
                </a:moveTo>
                <a:cubicBezTo>
                  <a:pt x="2962354" y="4104079"/>
                  <a:pt x="2950018" y="4109650"/>
                  <a:pt x="2936487" y="4115619"/>
                </a:cubicBezTo>
                <a:cubicBezTo>
                  <a:pt x="2949222" y="4145068"/>
                  <a:pt x="2961160" y="4173322"/>
                  <a:pt x="2973497" y="4201975"/>
                </a:cubicBezTo>
                <a:cubicBezTo>
                  <a:pt x="2989017" y="4195210"/>
                  <a:pt x="3001354" y="4189638"/>
                  <a:pt x="3015282" y="4183271"/>
                </a:cubicBezTo>
                <a:cubicBezTo>
                  <a:pt x="3002149" y="4154220"/>
                  <a:pt x="2989813" y="4126762"/>
                  <a:pt x="2975885" y="4097711"/>
                </a:cubicBezTo>
                <a:close/>
                <a:moveTo>
                  <a:pt x="1779243" y="4096120"/>
                </a:moveTo>
                <a:cubicBezTo>
                  <a:pt x="1774866" y="4110844"/>
                  <a:pt x="1770886" y="4123976"/>
                  <a:pt x="1766111" y="4139099"/>
                </a:cubicBezTo>
                <a:cubicBezTo>
                  <a:pt x="1791580" y="4146261"/>
                  <a:pt x="1815059" y="4153027"/>
                  <a:pt x="1839732" y="4159792"/>
                </a:cubicBezTo>
                <a:cubicBezTo>
                  <a:pt x="1843711" y="4144272"/>
                  <a:pt x="1846895" y="4131537"/>
                  <a:pt x="1850875" y="4116415"/>
                </a:cubicBezTo>
                <a:cubicBezTo>
                  <a:pt x="1825803" y="4109252"/>
                  <a:pt x="1803518" y="4102885"/>
                  <a:pt x="1779243" y="4096120"/>
                </a:cubicBezTo>
                <a:close/>
                <a:moveTo>
                  <a:pt x="2866050" y="4093334"/>
                </a:moveTo>
                <a:cubicBezTo>
                  <a:pt x="2852122" y="4098507"/>
                  <a:pt x="2840183" y="4103283"/>
                  <a:pt x="2827448" y="4108058"/>
                </a:cubicBezTo>
                <a:cubicBezTo>
                  <a:pt x="2831826" y="4120395"/>
                  <a:pt x="2835806" y="4130741"/>
                  <a:pt x="2840581" y="4144272"/>
                </a:cubicBezTo>
                <a:cubicBezTo>
                  <a:pt x="2854907" y="4138700"/>
                  <a:pt x="2867642" y="4133527"/>
                  <a:pt x="2880774" y="4128354"/>
                </a:cubicBezTo>
                <a:cubicBezTo>
                  <a:pt x="2875203" y="4115221"/>
                  <a:pt x="2870825" y="4104476"/>
                  <a:pt x="2866050" y="4093334"/>
                </a:cubicBezTo>
                <a:close/>
                <a:moveTo>
                  <a:pt x="3548537" y="4083783"/>
                </a:moveTo>
                <a:cubicBezTo>
                  <a:pt x="3535007" y="4094926"/>
                  <a:pt x="3522671" y="4104874"/>
                  <a:pt x="3509538" y="4115619"/>
                </a:cubicBezTo>
                <a:cubicBezTo>
                  <a:pt x="3517895" y="4125966"/>
                  <a:pt x="3525058" y="4135119"/>
                  <a:pt x="3533017" y="4145068"/>
                </a:cubicBezTo>
                <a:cubicBezTo>
                  <a:pt x="3546946" y="4133925"/>
                  <a:pt x="3559282" y="4123578"/>
                  <a:pt x="3572813" y="4112436"/>
                </a:cubicBezTo>
                <a:cubicBezTo>
                  <a:pt x="3564058" y="4102487"/>
                  <a:pt x="3556895" y="4093334"/>
                  <a:pt x="3548537" y="4083783"/>
                </a:cubicBezTo>
                <a:close/>
                <a:moveTo>
                  <a:pt x="1550819" y="4077018"/>
                </a:moveTo>
                <a:cubicBezTo>
                  <a:pt x="1544452" y="4090946"/>
                  <a:pt x="1538880" y="4102487"/>
                  <a:pt x="1531717" y="4117211"/>
                </a:cubicBezTo>
                <a:cubicBezTo>
                  <a:pt x="1556788" y="4128751"/>
                  <a:pt x="1579869" y="4139099"/>
                  <a:pt x="1604542" y="4149843"/>
                </a:cubicBezTo>
                <a:cubicBezTo>
                  <a:pt x="1610909" y="4134721"/>
                  <a:pt x="1616481" y="4121589"/>
                  <a:pt x="1622052" y="4108058"/>
                </a:cubicBezTo>
                <a:cubicBezTo>
                  <a:pt x="1596981" y="4096915"/>
                  <a:pt x="1574298" y="4087365"/>
                  <a:pt x="1550819" y="4077018"/>
                </a:cubicBezTo>
                <a:close/>
                <a:moveTo>
                  <a:pt x="2911814" y="4075028"/>
                </a:moveTo>
                <a:cubicBezTo>
                  <a:pt x="2898284" y="4080599"/>
                  <a:pt x="2886346" y="4085375"/>
                  <a:pt x="2873213" y="4090946"/>
                </a:cubicBezTo>
                <a:cubicBezTo>
                  <a:pt x="2878387" y="4103681"/>
                  <a:pt x="2882764" y="4114425"/>
                  <a:pt x="2887539" y="4127160"/>
                </a:cubicBezTo>
                <a:cubicBezTo>
                  <a:pt x="2901468" y="4121191"/>
                  <a:pt x="2913804" y="4116017"/>
                  <a:pt x="2926936" y="4110446"/>
                </a:cubicBezTo>
                <a:cubicBezTo>
                  <a:pt x="2921763" y="4097711"/>
                  <a:pt x="2916988" y="4087365"/>
                  <a:pt x="2911814" y="4075028"/>
                </a:cubicBezTo>
                <a:close/>
                <a:moveTo>
                  <a:pt x="2757409" y="4073038"/>
                </a:moveTo>
                <a:cubicBezTo>
                  <a:pt x="2743481" y="4077416"/>
                  <a:pt x="2731940" y="4080997"/>
                  <a:pt x="2718808" y="4084977"/>
                </a:cubicBezTo>
                <a:cubicBezTo>
                  <a:pt x="2722389" y="4097314"/>
                  <a:pt x="2725573" y="4107660"/>
                  <a:pt x="2729155" y="4119997"/>
                </a:cubicBezTo>
                <a:cubicBezTo>
                  <a:pt x="2742685" y="4116017"/>
                  <a:pt x="2755021" y="4112436"/>
                  <a:pt x="2768552" y="4108058"/>
                </a:cubicBezTo>
                <a:cubicBezTo>
                  <a:pt x="2764970" y="4096120"/>
                  <a:pt x="2761389" y="4085375"/>
                  <a:pt x="2757409" y="4073038"/>
                </a:cubicBezTo>
                <a:close/>
                <a:moveTo>
                  <a:pt x="2801980" y="4057916"/>
                </a:moveTo>
                <a:cubicBezTo>
                  <a:pt x="2788449" y="4062692"/>
                  <a:pt x="2776909" y="4066671"/>
                  <a:pt x="2763776" y="4071447"/>
                </a:cubicBezTo>
                <a:cubicBezTo>
                  <a:pt x="2768154" y="4083385"/>
                  <a:pt x="2771735" y="4094528"/>
                  <a:pt x="2775715" y="4106068"/>
                </a:cubicBezTo>
                <a:cubicBezTo>
                  <a:pt x="2789245" y="4101293"/>
                  <a:pt x="2801184" y="4097314"/>
                  <a:pt x="2814316" y="4092538"/>
                </a:cubicBezTo>
                <a:cubicBezTo>
                  <a:pt x="2809939" y="4080599"/>
                  <a:pt x="2806357" y="4069457"/>
                  <a:pt x="2801980" y="4057916"/>
                </a:cubicBezTo>
                <a:close/>
                <a:moveTo>
                  <a:pt x="2956783" y="4055528"/>
                </a:moveTo>
                <a:cubicBezTo>
                  <a:pt x="2942855" y="4061896"/>
                  <a:pt x="2930916" y="4067069"/>
                  <a:pt x="2918580" y="4072640"/>
                </a:cubicBezTo>
                <a:cubicBezTo>
                  <a:pt x="2924151" y="4085375"/>
                  <a:pt x="2928528" y="4095722"/>
                  <a:pt x="2934100" y="4107660"/>
                </a:cubicBezTo>
                <a:cubicBezTo>
                  <a:pt x="2947630" y="4101691"/>
                  <a:pt x="2959569" y="4096517"/>
                  <a:pt x="2973497" y="4090548"/>
                </a:cubicBezTo>
                <a:cubicBezTo>
                  <a:pt x="2967130" y="4077018"/>
                  <a:pt x="2961956" y="4066671"/>
                  <a:pt x="2956783" y="4055528"/>
                </a:cubicBezTo>
                <a:close/>
                <a:moveTo>
                  <a:pt x="1008410" y="4053539"/>
                </a:moveTo>
                <a:cubicBezTo>
                  <a:pt x="997666" y="4066671"/>
                  <a:pt x="988115" y="4078610"/>
                  <a:pt x="977370" y="4091344"/>
                </a:cubicBezTo>
                <a:cubicBezTo>
                  <a:pt x="992094" y="4103283"/>
                  <a:pt x="1005227" y="4113630"/>
                  <a:pt x="1019155" y="4125170"/>
                </a:cubicBezTo>
                <a:cubicBezTo>
                  <a:pt x="1029900" y="4111640"/>
                  <a:pt x="1039053" y="4100099"/>
                  <a:pt x="1049399" y="4086966"/>
                </a:cubicBezTo>
                <a:cubicBezTo>
                  <a:pt x="1035471" y="4075824"/>
                  <a:pt x="1022339" y="4065079"/>
                  <a:pt x="1008410" y="4053539"/>
                </a:cubicBezTo>
                <a:close/>
                <a:moveTo>
                  <a:pt x="1111082" y="4045182"/>
                </a:moveTo>
                <a:cubicBezTo>
                  <a:pt x="1100337" y="4059110"/>
                  <a:pt x="1091184" y="4071049"/>
                  <a:pt x="1081235" y="4084181"/>
                </a:cubicBezTo>
                <a:cubicBezTo>
                  <a:pt x="1095960" y="4094926"/>
                  <a:pt x="1108694" y="4104476"/>
                  <a:pt x="1123020" y="4115221"/>
                </a:cubicBezTo>
                <a:cubicBezTo>
                  <a:pt x="1132571" y="4101691"/>
                  <a:pt x="1141724" y="4089752"/>
                  <a:pt x="1151673" y="4075824"/>
                </a:cubicBezTo>
                <a:cubicBezTo>
                  <a:pt x="1137347" y="4064681"/>
                  <a:pt x="1124612" y="4055131"/>
                  <a:pt x="1111082" y="4045182"/>
                </a:cubicBezTo>
                <a:close/>
                <a:moveTo>
                  <a:pt x="2846152" y="4041600"/>
                </a:moveTo>
                <a:cubicBezTo>
                  <a:pt x="2833020" y="4046773"/>
                  <a:pt x="2821479" y="4051151"/>
                  <a:pt x="2808745" y="4056722"/>
                </a:cubicBezTo>
                <a:cubicBezTo>
                  <a:pt x="2813122" y="4068661"/>
                  <a:pt x="2816704" y="4079007"/>
                  <a:pt x="2821081" y="4090946"/>
                </a:cubicBezTo>
                <a:cubicBezTo>
                  <a:pt x="2834214" y="4085773"/>
                  <a:pt x="2846550" y="4081396"/>
                  <a:pt x="2860081" y="4076222"/>
                </a:cubicBezTo>
                <a:cubicBezTo>
                  <a:pt x="2855305" y="4063886"/>
                  <a:pt x="2850928" y="4053141"/>
                  <a:pt x="2846152" y="4041600"/>
                </a:cubicBezTo>
                <a:close/>
                <a:moveTo>
                  <a:pt x="3512722" y="4040008"/>
                </a:moveTo>
                <a:cubicBezTo>
                  <a:pt x="3499192" y="4051151"/>
                  <a:pt x="3486855" y="4061100"/>
                  <a:pt x="3474518" y="4071447"/>
                </a:cubicBezTo>
                <a:cubicBezTo>
                  <a:pt x="3482079" y="4080997"/>
                  <a:pt x="3488447" y="4088956"/>
                  <a:pt x="3495610" y="4097314"/>
                </a:cubicBezTo>
                <a:cubicBezTo>
                  <a:pt x="3509538" y="4085773"/>
                  <a:pt x="3521079" y="4076222"/>
                  <a:pt x="3534211" y="4065875"/>
                </a:cubicBezTo>
                <a:cubicBezTo>
                  <a:pt x="3526650" y="4057120"/>
                  <a:pt x="3520681" y="4049559"/>
                  <a:pt x="3512722" y="4040008"/>
                </a:cubicBezTo>
                <a:close/>
                <a:moveTo>
                  <a:pt x="2889927" y="4024090"/>
                </a:moveTo>
                <a:cubicBezTo>
                  <a:pt x="2876795" y="4029662"/>
                  <a:pt x="2865254" y="4034437"/>
                  <a:pt x="2852917" y="4039610"/>
                </a:cubicBezTo>
                <a:cubicBezTo>
                  <a:pt x="2857693" y="4051151"/>
                  <a:pt x="2861672" y="4061498"/>
                  <a:pt x="2866448" y="4073834"/>
                </a:cubicBezTo>
                <a:cubicBezTo>
                  <a:pt x="2881172" y="4067467"/>
                  <a:pt x="2892315" y="4062692"/>
                  <a:pt x="2904651" y="4057518"/>
                </a:cubicBezTo>
                <a:cubicBezTo>
                  <a:pt x="2899478" y="4045580"/>
                  <a:pt x="2894702" y="4035631"/>
                  <a:pt x="2889927" y="4024090"/>
                </a:cubicBezTo>
                <a:close/>
                <a:moveTo>
                  <a:pt x="2629667" y="4019713"/>
                </a:moveTo>
                <a:cubicBezTo>
                  <a:pt x="2617330" y="4022498"/>
                  <a:pt x="2607381" y="4024886"/>
                  <a:pt x="2595841" y="4027672"/>
                </a:cubicBezTo>
                <a:cubicBezTo>
                  <a:pt x="2599422" y="4041600"/>
                  <a:pt x="2602208" y="4053937"/>
                  <a:pt x="2605391" y="4067865"/>
                </a:cubicBezTo>
                <a:cubicBezTo>
                  <a:pt x="2616932" y="4065079"/>
                  <a:pt x="2627279" y="4063090"/>
                  <a:pt x="2639615" y="4060304"/>
                </a:cubicBezTo>
                <a:cubicBezTo>
                  <a:pt x="2636034" y="4045580"/>
                  <a:pt x="2632850" y="4033243"/>
                  <a:pt x="2629667" y="4019713"/>
                </a:cubicBezTo>
                <a:close/>
                <a:moveTo>
                  <a:pt x="2183562" y="4012152"/>
                </a:moveTo>
                <a:cubicBezTo>
                  <a:pt x="2181971" y="4034039"/>
                  <a:pt x="2180777" y="4053937"/>
                  <a:pt x="2179583" y="4075426"/>
                </a:cubicBezTo>
                <a:cubicBezTo>
                  <a:pt x="2197889" y="4076222"/>
                  <a:pt x="2213807" y="4077018"/>
                  <a:pt x="2232908" y="4078212"/>
                </a:cubicBezTo>
                <a:cubicBezTo>
                  <a:pt x="2232908" y="4054732"/>
                  <a:pt x="2232908" y="4034835"/>
                  <a:pt x="2232908" y="4014539"/>
                </a:cubicBezTo>
                <a:cubicBezTo>
                  <a:pt x="2216194" y="4013743"/>
                  <a:pt x="2200674" y="4012948"/>
                  <a:pt x="2183562" y="4012152"/>
                </a:cubicBezTo>
                <a:close/>
                <a:moveTo>
                  <a:pt x="2382538" y="4010162"/>
                </a:moveTo>
                <a:cubicBezTo>
                  <a:pt x="2364630" y="4011356"/>
                  <a:pt x="2349110" y="4012550"/>
                  <a:pt x="2334386" y="4013346"/>
                </a:cubicBezTo>
                <a:cubicBezTo>
                  <a:pt x="2334386" y="4035631"/>
                  <a:pt x="2334386" y="4055131"/>
                  <a:pt x="2334386" y="4076620"/>
                </a:cubicBezTo>
                <a:cubicBezTo>
                  <a:pt x="2352294" y="4075426"/>
                  <a:pt x="2368610" y="4074630"/>
                  <a:pt x="2387712" y="4073834"/>
                </a:cubicBezTo>
                <a:cubicBezTo>
                  <a:pt x="2385722" y="4051549"/>
                  <a:pt x="2384130" y="4031651"/>
                  <a:pt x="2382538" y="4010162"/>
                </a:cubicBezTo>
                <a:close/>
                <a:moveTo>
                  <a:pt x="2109145" y="4005387"/>
                </a:moveTo>
                <a:cubicBezTo>
                  <a:pt x="2106758" y="4027274"/>
                  <a:pt x="2104768" y="4047172"/>
                  <a:pt x="2102380" y="4068661"/>
                </a:cubicBezTo>
                <a:cubicBezTo>
                  <a:pt x="2120686" y="4070651"/>
                  <a:pt x="2136604" y="4072242"/>
                  <a:pt x="2155308" y="4073436"/>
                </a:cubicBezTo>
                <a:cubicBezTo>
                  <a:pt x="2156899" y="4051947"/>
                  <a:pt x="2158094" y="4032049"/>
                  <a:pt x="2159685" y="4010162"/>
                </a:cubicBezTo>
                <a:cubicBezTo>
                  <a:pt x="2142175" y="4008570"/>
                  <a:pt x="2126655" y="4006978"/>
                  <a:pt x="2109145" y="4005387"/>
                </a:cubicBezTo>
                <a:close/>
                <a:moveTo>
                  <a:pt x="2933702" y="4004988"/>
                </a:moveTo>
                <a:cubicBezTo>
                  <a:pt x="2921365" y="4010560"/>
                  <a:pt x="2910621" y="4015335"/>
                  <a:pt x="2897090" y="4021305"/>
                </a:cubicBezTo>
                <a:cubicBezTo>
                  <a:pt x="2902264" y="4033641"/>
                  <a:pt x="2907039" y="4043988"/>
                  <a:pt x="2912212" y="4055528"/>
                </a:cubicBezTo>
                <a:cubicBezTo>
                  <a:pt x="2925743" y="4049161"/>
                  <a:pt x="2936885" y="4043590"/>
                  <a:pt x="2949620" y="4037621"/>
                </a:cubicBezTo>
                <a:cubicBezTo>
                  <a:pt x="2943650" y="4025284"/>
                  <a:pt x="2938875" y="4015733"/>
                  <a:pt x="2933702" y="4004988"/>
                </a:cubicBezTo>
                <a:close/>
                <a:moveTo>
                  <a:pt x="951503" y="4003397"/>
                </a:moveTo>
                <a:cubicBezTo>
                  <a:pt x="939962" y="4015733"/>
                  <a:pt x="930014" y="4026876"/>
                  <a:pt x="918473" y="4039610"/>
                </a:cubicBezTo>
                <a:cubicBezTo>
                  <a:pt x="933197" y="4052743"/>
                  <a:pt x="945534" y="4063487"/>
                  <a:pt x="959064" y="4075426"/>
                </a:cubicBezTo>
                <a:cubicBezTo>
                  <a:pt x="970207" y="4061896"/>
                  <a:pt x="980156" y="4050355"/>
                  <a:pt x="990900" y="4037621"/>
                </a:cubicBezTo>
                <a:cubicBezTo>
                  <a:pt x="976574" y="4025284"/>
                  <a:pt x="964636" y="4014539"/>
                  <a:pt x="951503" y="4003397"/>
                </a:cubicBezTo>
                <a:close/>
                <a:moveTo>
                  <a:pt x="1701643" y="3999815"/>
                </a:moveTo>
                <a:cubicBezTo>
                  <a:pt x="1696071" y="4014539"/>
                  <a:pt x="1691296" y="4027274"/>
                  <a:pt x="1685724" y="4041600"/>
                </a:cubicBezTo>
                <a:cubicBezTo>
                  <a:pt x="1708806" y="4049957"/>
                  <a:pt x="1731091" y="4058314"/>
                  <a:pt x="1754570" y="4066671"/>
                </a:cubicBezTo>
                <a:cubicBezTo>
                  <a:pt x="1759346" y="4051549"/>
                  <a:pt x="1764121" y="4038417"/>
                  <a:pt x="1768896" y="4024090"/>
                </a:cubicBezTo>
                <a:cubicBezTo>
                  <a:pt x="1745019" y="4015335"/>
                  <a:pt x="1723928" y="4007376"/>
                  <a:pt x="1701643" y="3999815"/>
                </a:cubicBezTo>
                <a:close/>
                <a:moveTo>
                  <a:pt x="1054175" y="3999019"/>
                </a:moveTo>
                <a:cubicBezTo>
                  <a:pt x="1043032" y="4012550"/>
                  <a:pt x="1033083" y="4024090"/>
                  <a:pt x="1022737" y="4036825"/>
                </a:cubicBezTo>
                <a:cubicBezTo>
                  <a:pt x="1036267" y="4047967"/>
                  <a:pt x="1049001" y="4058314"/>
                  <a:pt x="1062930" y="4069457"/>
                </a:cubicBezTo>
                <a:cubicBezTo>
                  <a:pt x="1073674" y="4056324"/>
                  <a:pt x="1083225" y="4044386"/>
                  <a:pt x="1093572" y="4031253"/>
                </a:cubicBezTo>
                <a:cubicBezTo>
                  <a:pt x="1080042" y="4020111"/>
                  <a:pt x="1067705" y="4010162"/>
                  <a:pt x="1054175" y="3999019"/>
                </a:cubicBezTo>
                <a:close/>
                <a:moveTo>
                  <a:pt x="1914149" y="3997825"/>
                </a:moveTo>
                <a:cubicBezTo>
                  <a:pt x="1910169" y="4012948"/>
                  <a:pt x="1906986" y="4026478"/>
                  <a:pt x="1903404" y="4041998"/>
                </a:cubicBezTo>
                <a:cubicBezTo>
                  <a:pt x="1927281" y="4047172"/>
                  <a:pt x="1948771" y="4051549"/>
                  <a:pt x="1972648" y="4056722"/>
                </a:cubicBezTo>
                <a:cubicBezTo>
                  <a:pt x="1975831" y="4041202"/>
                  <a:pt x="1978219" y="4027672"/>
                  <a:pt x="1980607" y="4012550"/>
                </a:cubicBezTo>
                <a:cubicBezTo>
                  <a:pt x="1957924" y="4007774"/>
                  <a:pt x="1937230" y="4002999"/>
                  <a:pt x="1914149" y="3997825"/>
                </a:cubicBezTo>
                <a:close/>
                <a:moveTo>
                  <a:pt x="2515056" y="3993846"/>
                </a:moveTo>
                <a:cubicBezTo>
                  <a:pt x="2503516" y="3995836"/>
                  <a:pt x="2493965" y="3997428"/>
                  <a:pt x="2482026" y="3999417"/>
                </a:cubicBezTo>
                <a:cubicBezTo>
                  <a:pt x="2484016" y="4014142"/>
                  <a:pt x="2486006" y="4026080"/>
                  <a:pt x="2487996" y="4040008"/>
                </a:cubicBezTo>
                <a:cubicBezTo>
                  <a:pt x="2499934" y="4038417"/>
                  <a:pt x="2509883" y="4036825"/>
                  <a:pt x="2521821" y="4035233"/>
                </a:cubicBezTo>
                <a:cubicBezTo>
                  <a:pt x="2519434" y="4020509"/>
                  <a:pt x="2517444" y="4007774"/>
                  <a:pt x="2515056" y="3993846"/>
                </a:cubicBezTo>
                <a:close/>
                <a:moveTo>
                  <a:pt x="1266681" y="3993050"/>
                </a:moveTo>
                <a:cubicBezTo>
                  <a:pt x="1262304" y="3999417"/>
                  <a:pt x="1259120" y="4004193"/>
                  <a:pt x="1253947" y="4010958"/>
                </a:cubicBezTo>
                <a:cubicBezTo>
                  <a:pt x="1283793" y="4030458"/>
                  <a:pt x="1311650" y="4048365"/>
                  <a:pt x="1340302" y="4067069"/>
                </a:cubicBezTo>
                <a:cubicBezTo>
                  <a:pt x="1344680" y="4059110"/>
                  <a:pt x="1347465" y="4053539"/>
                  <a:pt x="1350251" y="4047569"/>
                </a:cubicBezTo>
                <a:cubicBezTo>
                  <a:pt x="1321996" y="4028866"/>
                  <a:pt x="1294538" y="4010958"/>
                  <a:pt x="1266681" y="3993050"/>
                </a:cubicBezTo>
                <a:close/>
                <a:moveTo>
                  <a:pt x="3163718" y="3989866"/>
                </a:moveTo>
                <a:cubicBezTo>
                  <a:pt x="3153769" y="3995836"/>
                  <a:pt x="3145412" y="4001009"/>
                  <a:pt x="3135861" y="4006978"/>
                </a:cubicBezTo>
                <a:cubicBezTo>
                  <a:pt x="3142626" y="4018121"/>
                  <a:pt x="3148198" y="4027274"/>
                  <a:pt x="3154565" y="4038019"/>
                </a:cubicBezTo>
                <a:cubicBezTo>
                  <a:pt x="3164514" y="4031651"/>
                  <a:pt x="3173269" y="4026478"/>
                  <a:pt x="3183218" y="4020509"/>
                </a:cubicBezTo>
                <a:cubicBezTo>
                  <a:pt x="3176054" y="4009764"/>
                  <a:pt x="3170483" y="4000213"/>
                  <a:pt x="3163718" y="3989866"/>
                </a:cubicBezTo>
                <a:close/>
                <a:moveTo>
                  <a:pt x="1154459" y="3989070"/>
                </a:moveTo>
                <a:cubicBezTo>
                  <a:pt x="1144112" y="4002601"/>
                  <a:pt x="1134959" y="4014539"/>
                  <a:pt x="1125010" y="4027672"/>
                </a:cubicBezTo>
                <a:cubicBezTo>
                  <a:pt x="1138938" y="4038019"/>
                  <a:pt x="1151275" y="4047569"/>
                  <a:pt x="1164805" y="4057518"/>
                </a:cubicBezTo>
                <a:cubicBezTo>
                  <a:pt x="1174754" y="4043988"/>
                  <a:pt x="1183907" y="4032049"/>
                  <a:pt x="1193458" y="4018519"/>
                </a:cubicBezTo>
                <a:cubicBezTo>
                  <a:pt x="1179928" y="4008172"/>
                  <a:pt x="1167591" y="3999019"/>
                  <a:pt x="1154459" y="3989070"/>
                </a:cubicBezTo>
                <a:close/>
                <a:moveTo>
                  <a:pt x="2726369" y="3975938"/>
                </a:moveTo>
                <a:cubicBezTo>
                  <a:pt x="2713634" y="3979918"/>
                  <a:pt x="2702492" y="3983499"/>
                  <a:pt x="2690155" y="3987479"/>
                </a:cubicBezTo>
                <a:cubicBezTo>
                  <a:pt x="2699308" y="4018121"/>
                  <a:pt x="2707665" y="4047172"/>
                  <a:pt x="2716818" y="4077416"/>
                </a:cubicBezTo>
                <a:cubicBezTo>
                  <a:pt x="2730348" y="4073436"/>
                  <a:pt x="2741889" y="4069855"/>
                  <a:pt x="2755419" y="4065875"/>
                </a:cubicBezTo>
                <a:cubicBezTo>
                  <a:pt x="2745470" y="4034437"/>
                  <a:pt x="2735920" y="4005784"/>
                  <a:pt x="2726369" y="3975938"/>
                </a:cubicBezTo>
                <a:close/>
                <a:moveTo>
                  <a:pt x="1818640" y="3971561"/>
                </a:moveTo>
                <a:cubicBezTo>
                  <a:pt x="1814263" y="3986285"/>
                  <a:pt x="1810283" y="3999417"/>
                  <a:pt x="1805508" y="4014142"/>
                </a:cubicBezTo>
                <a:cubicBezTo>
                  <a:pt x="1828589" y="4020907"/>
                  <a:pt x="1850079" y="4026876"/>
                  <a:pt x="1873160" y="4033641"/>
                </a:cubicBezTo>
                <a:cubicBezTo>
                  <a:pt x="1877139" y="4018917"/>
                  <a:pt x="1880721" y="4005784"/>
                  <a:pt x="1884700" y="3990264"/>
                </a:cubicBezTo>
                <a:cubicBezTo>
                  <a:pt x="1861619" y="3983897"/>
                  <a:pt x="1840926" y="3977928"/>
                  <a:pt x="1818640" y="3971561"/>
                </a:cubicBezTo>
                <a:close/>
                <a:moveTo>
                  <a:pt x="3108801" y="3966387"/>
                </a:moveTo>
                <a:cubicBezTo>
                  <a:pt x="3098056" y="3973152"/>
                  <a:pt x="3089699" y="3977928"/>
                  <a:pt x="3081342" y="3983101"/>
                </a:cubicBezTo>
                <a:cubicBezTo>
                  <a:pt x="3088107" y="3994642"/>
                  <a:pt x="3093678" y="4003795"/>
                  <a:pt x="3099648" y="4014142"/>
                </a:cubicBezTo>
                <a:cubicBezTo>
                  <a:pt x="3109994" y="4008172"/>
                  <a:pt x="3117953" y="4003397"/>
                  <a:pt x="3127106" y="3997825"/>
                </a:cubicBezTo>
                <a:cubicBezTo>
                  <a:pt x="3120739" y="3986683"/>
                  <a:pt x="3115168" y="3977132"/>
                  <a:pt x="3108801" y="3966387"/>
                </a:cubicBezTo>
                <a:close/>
                <a:moveTo>
                  <a:pt x="2768154" y="3961612"/>
                </a:moveTo>
                <a:cubicBezTo>
                  <a:pt x="2755021" y="3965989"/>
                  <a:pt x="2744675" y="3969571"/>
                  <a:pt x="2732338" y="3973948"/>
                </a:cubicBezTo>
                <a:cubicBezTo>
                  <a:pt x="2742287" y="4004193"/>
                  <a:pt x="2751440" y="4033243"/>
                  <a:pt x="2761389" y="4063487"/>
                </a:cubicBezTo>
                <a:cubicBezTo>
                  <a:pt x="2774919" y="4059110"/>
                  <a:pt x="2786062" y="4055528"/>
                  <a:pt x="2799592" y="4050753"/>
                </a:cubicBezTo>
                <a:cubicBezTo>
                  <a:pt x="2788847" y="4019713"/>
                  <a:pt x="2778500" y="3991060"/>
                  <a:pt x="2768154" y="3961612"/>
                </a:cubicBezTo>
                <a:close/>
                <a:moveTo>
                  <a:pt x="1606532" y="3958428"/>
                </a:moveTo>
                <a:cubicBezTo>
                  <a:pt x="1600165" y="3972357"/>
                  <a:pt x="1594196" y="3984693"/>
                  <a:pt x="1587430" y="3999019"/>
                </a:cubicBezTo>
                <a:cubicBezTo>
                  <a:pt x="1610511" y="4008968"/>
                  <a:pt x="1631603" y="4018519"/>
                  <a:pt x="1654684" y="4028866"/>
                </a:cubicBezTo>
                <a:cubicBezTo>
                  <a:pt x="1660653" y="4014539"/>
                  <a:pt x="1666225" y="4002203"/>
                  <a:pt x="1672194" y="3987479"/>
                </a:cubicBezTo>
                <a:cubicBezTo>
                  <a:pt x="1649113" y="3977132"/>
                  <a:pt x="1628419" y="3967979"/>
                  <a:pt x="1606532" y="3958428"/>
                </a:cubicBezTo>
                <a:close/>
                <a:moveTo>
                  <a:pt x="897780" y="3953653"/>
                </a:moveTo>
                <a:cubicBezTo>
                  <a:pt x="885443" y="3964795"/>
                  <a:pt x="874300" y="3975142"/>
                  <a:pt x="861566" y="3986683"/>
                </a:cubicBezTo>
                <a:cubicBezTo>
                  <a:pt x="875892" y="3999815"/>
                  <a:pt x="887831" y="4011356"/>
                  <a:pt x="900565" y="4022896"/>
                </a:cubicBezTo>
                <a:cubicBezTo>
                  <a:pt x="912106" y="4010560"/>
                  <a:pt x="922453" y="3999417"/>
                  <a:pt x="933595" y="3987479"/>
                </a:cubicBezTo>
                <a:cubicBezTo>
                  <a:pt x="920463" y="3975142"/>
                  <a:pt x="908524" y="3963602"/>
                  <a:pt x="897780" y="3953653"/>
                </a:cubicBezTo>
                <a:close/>
                <a:moveTo>
                  <a:pt x="998859" y="3950867"/>
                </a:moveTo>
                <a:cubicBezTo>
                  <a:pt x="987319" y="3963602"/>
                  <a:pt x="976972" y="3975142"/>
                  <a:pt x="966227" y="3987479"/>
                </a:cubicBezTo>
                <a:cubicBezTo>
                  <a:pt x="979360" y="3999019"/>
                  <a:pt x="991298" y="4009366"/>
                  <a:pt x="1004829" y="4021703"/>
                </a:cubicBezTo>
                <a:cubicBezTo>
                  <a:pt x="1016369" y="4008570"/>
                  <a:pt x="1026318" y="3997428"/>
                  <a:pt x="1037063" y="3984693"/>
                </a:cubicBezTo>
                <a:cubicBezTo>
                  <a:pt x="1023930" y="3973152"/>
                  <a:pt x="1011992" y="3962408"/>
                  <a:pt x="998859" y="3950867"/>
                </a:cubicBezTo>
                <a:close/>
                <a:moveTo>
                  <a:pt x="1099541" y="3944898"/>
                </a:moveTo>
                <a:cubicBezTo>
                  <a:pt x="1088399" y="3958030"/>
                  <a:pt x="1078848" y="3969173"/>
                  <a:pt x="1068103" y="3982305"/>
                </a:cubicBezTo>
                <a:cubicBezTo>
                  <a:pt x="1081633" y="3993050"/>
                  <a:pt x="1093970" y="4002999"/>
                  <a:pt x="1107102" y="4013743"/>
                </a:cubicBezTo>
                <a:cubicBezTo>
                  <a:pt x="1117847" y="4000213"/>
                  <a:pt x="1127000" y="3988275"/>
                  <a:pt x="1137347" y="3975540"/>
                </a:cubicBezTo>
                <a:cubicBezTo>
                  <a:pt x="1124612" y="3965193"/>
                  <a:pt x="1113072" y="3956040"/>
                  <a:pt x="1099541" y="3944898"/>
                </a:cubicBezTo>
                <a:close/>
                <a:moveTo>
                  <a:pt x="3234553" y="3943704"/>
                </a:moveTo>
                <a:cubicBezTo>
                  <a:pt x="3225003" y="3950071"/>
                  <a:pt x="3217043" y="3955643"/>
                  <a:pt x="3207493" y="3962010"/>
                </a:cubicBezTo>
                <a:cubicBezTo>
                  <a:pt x="3213860" y="3971959"/>
                  <a:pt x="3220227" y="3981111"/>
                  <a:pt x="3227788" y="3992652"/>
                </a:cubicBezTo>
                <a:cubicBezTo>
                  <a:pt x="3238135" y="3984693"/>
                  <a:pt x="3246094" y="3978326"/>
                  <a:pt x="3254849" y="3971959"/>
                </a:cubicBezTo>
                <a:cubicBezTo>
                  <a:pt x="3247288" y="3961214"/>
                  <a:pt x="3241318" y="3952857"/>
                  <a:pt x="3234553" y="3943704"/>
                </a:cubicBezTo>
                <a:close/>
                <a:moveTo>
                  <a:pt x="2712441" y="3932959"/>
                </a:moveTo>
                <a:cubicBezTo>
                  <a:pt x="2700502" y="3936939"/>
                  <a:pt x="2689757" y="3940122"/>
                  <a:pt x="2677819" y="3943704"/>
                </a:cubicBezTo>
                <a:cubicBezTo>
                  <a:pt x="2681400" y="3956439"/>
                  <a:pt x="2684584" y="3967183"/>
                  <a:pt x="2688165" y="3979122"/>
                </a:cubicBezTo>
                <a:cubicBezTo>
                  <a:pt x="2700900" y="3975142"/>
                  <a:pt x="2711247" y="3971959"/>
                  <a:pt x="2723981" y="3967979"/>
                </a:cubicBezTo>
                <a:cubicBezTo>
                  <a:pt x="2719604" y="3955244"/>
                  <a:pt x="2716420" y="3944898"/>
                  <a:pt x="2712441" y="3932959"/>
                </a:cubicBezTo>
                <a:close/>
                <a:moveTo>
                  <a:pt x="1197835" y="3932561"/>
                </a:moveTo>
                <a:cubicBezTo>
                  <a:pt x="1187489" y="3946490"/>
                  <a:pt x="1178336" y="3958428"/>
                  <a:pt x="1168387" y="3971561"/>
                </a:cubicBezTo>
                <a:cubicBezTo>
                  <a:pt x="1181519" y="3981509"/>
                  <a:pt x="1193458" y="3990662"/>
                  <a:pt x="1206590" y="4000611"/>
                </a:cubicBezTo>
                <a:cubicBezTo>
                  <a:pt x="1216539" y="3986683"/>
                  <a:pt x="1225692" y="3974346"/>
                  <a:pt x="1235243" y="3960816"/>
                </a:cubicBezTo>
                <a:cubicBezTo>
                  <a:pt x="1222110" y="3950867"/>
                  <a:pt x="1210570" y="3942112"/>
                  <a:pt x="1197835" y="3932561"/>
                </a:cubicBezTo>
                <a:close/>
                <a:moveTo>
                  <a:pt x="2850928" y="3929378"/>
                </a:moveTo>
                <a:cubicBezTo>
                  <a:pt x="2838193" y="3934949"/>
                  <a:pt x="2827448" y="3939326"/>
                  <a:pt x="2815908" y="3944500"/>
                </a:cubicBezTo>
                <a:cubicBezTo>
                  <a:pt x="2827448" y="3974744"/>
                  <a:pt x="2838591" y="4002999"/>
                  <a:pt x="2850132" y="4032049"/>
                </a:cubicBezTo>
                <a:cubicBezTo>
                  <a:pt x="2864458" y="4026080"/>
                  <a:pt x="2875601" y="4021305"/>
                  <a:pt x="2887539" y="4016131"/>
                </a:cubicBezTo>
                <a:cubicBezTo>
                  <a:pt x="2875203" y="3986683"/>
                  <a:pt x="2863662" y="3959224"/>
                  <a:pt x="2850928" y="3929378"/>
                </a:cubicBezTo>
                <a:close/>
                <a:moveTo>
                  <a:pt x="3171677" y="3928184"/>
                </a:moveTo>
                <a:cubicBezTo>
                  <a:pt x="3162126" y="3934153"/>
                  <a:pt x="3154565" y="3938929"/>
                  <a:pt x="3145014" y="3945296"/>
                </a:cubicBezTo>
                <a:cubicBezTo>
                  <a:pt x="3151779" y="3956040"/>
                  <a:pt x="3157749" y="3965591"/>
                  <a:pt x="3164514" y="3975938"/>
                </a:cubicBezTo>
                <a:cubicBezTo>
                  <a:pt x="3174065" y="3969173"/>
                  <a:pt x="3182422" y="3963602"/>
                  <a:pt x="3191973" y="3958030"/>
                </a:cubicBezTo>
                <a:cubicBezTo>
                  <a:pt x="3184411" y="3946888"/>
                  <a:pt x="3178044" y="3937735"/>
                  <a:pt x="3171677" y="3928184"/>
                </a:cubicBezTo>
                <a:close/>
                <a:moveTo>
                  <a:pt x="3480488" y="3921817"/>
                </a:moveTo>
                <a:cubicBezTo>
                  <a:pt x="3468151" y="3932561"/>
                  <a:pt x="3457407" y="3941714"/>
                  <a:pt x="3445468" y="3952061"/>
                </a:cubicBezTo>
                <a:cubicBezTo>
                  <a:pt x="3453427" y="3961612"/>
                  <a:pt x="3460590" y="3969969"/>
                  <a:pt x="3468151" y="3979520"/>
                </a:cubicBezTo>
                <a:cubicBezTo>
                  <a:pt x="3480488" y="3969173"/>
                  <a:pt x="3491630" y="3959622"/>
                  <a:pt x="3504365" y="3948877"/>
                </a:cubicBezTo>
                <a:cubicBezTo>
                  <a:pt x="3495610" y="3938929"/>
                  <a:pt x="3488447" y="3930970"/>
                  <a:pt x="3480488" y="3921817"/>
                </a:cubicBezTo>
                <a:close/>
                <a:moveTo>
                  <a:pt x="3055873" y="3919827"/>
                </a:moveTo>
                <a:cubicBezTo>
                  <a:pt x="3046720" y="3925000"/>
                  <a:pt x="3038761" y="3929378"/>
                  <a:pt x="3029210" y="3934551"/>
                </a:cubicBezTo>
                <a:cubicBezTo>
                  <a:pt x="3035975" y="3946490"/>
                  <a:pt x="3041547" y="3956040"/>
                  <a:pt x="3047516" y="3966387"/>
                </a:cubicBezTo>
                <a:cubicBezTo>
                  <a:pt x="3057465" y="3960816"/>
                  <a:pt x="3065424" y="3956040"/>
                  <a:pt x="3074179" y="3950469"/>
                </a:cubicBezTo>
                <a:cubicBezTo>
                  <a:pt x="3067414" y="3939326"/>
                  <a:pt x="3061842" y="3930174"/>
                  <a:pt x="3055873" y="3919827"/>
                </a:cubicBezTo>
                <a:close/>
                <a:moveTo>
                  <a:pt x="2753032" y="3919031"/>
                </a:moveTo>
                <a:cubicBezTo>
                  <a:pt x="2740695" y="3923408"/>
                  <a:pt x="2729950" y="3927388"/>
                  <a:pt x="2718808" y="3931367"/>
                </a:cubicBezTo>
                <a:cubicBezTo>
                  <a:pt x="2722787" y="3943704"/>
                  <a:pt x="2725971" y="3953653"/>
                  <a:pt x="2729950" y="3966785"/>
                </a:cubicBezTo>
                <a:cubicBezTo>
                  <a:pt x="2743083" y="3962010"/>
                  <a:pt x="2753430" y="3958030"/>
                  <a:pt x="2765368" y="3953653"/>
                </a:cubicBezTo>
                <a:cubicBezTo>
                  <a:pt x="2760991" y="3940918"/>
                  <a:pt x="2757011" y="3930572"/>
                  <a:pt x="2753032" y="3919031"/>
                </a:cubicBezTo>
                <a:close/>
                <a:moveTo>
                  <a:pt x="2032341" y="3917439"/>
                </a:moveTo>
                <a:cubicBezTo>
                  <a:pt x="2022392" y="3974744"/>
                  <a:pt x="2012841" y="4030458"/>
                  <a:pt x="2002892" y="4087763"/>
                </a:cubicBezTo>
                <a:cubicBezTo>
                  <a:pt x="2023984" y="4090946"/>
                  <a:pt x="2042687" y="4093732"/>
                  <a:pt x="2063779" y="4096517"/>
                </a:cubicBezTo>
                <a:cubicBezTo>
                  <a:pt x="2071340" y="4038814"/>
                  <a:pt x="2078901" y="3982703"/>
                  <a:pt x="2086462" y="3925000"/>
                </a:cubicBezTo>
                <a:cubicBezTo>
                  <a:pt x="2067360" y="3922613"/>
                  <a:pt x="2050646" y="3920225"/>
                  <a:pt x="2032341" y="3917439"/>
                </a:cubicBezTo>
                <a:close/>
                <a:moveTo>
                  <a:pt x="2891917" y="3911868"/>
                </a:moveTo>
                <a:cubicBezTo>
                  <a:pt x="2879580" y="3917041"/>
                  <a:pt x="2869632" y="3921419"/>
                  <a:pt x="2856897" y="3926990"/>
                </a:cubicBezTo>
                <a:cubicBezTo>
                  <a:pt x="2870029" y="3957632"/>
                  <a:pt x="2881968" y="3985489"/>
                  <a:pt x="2894305" y="4014142"/>
                </a:cubicBezTo>
                <a:cubicBezTo>
                  <a:pt x="2907835" y="4007774"/>
                  <a:pt x="2918977" y="4002601"/>
                  <a:pt x="2930916" y="3996632"/>
                </a:cubicBezTo>
                <a:cubicBezTo>
                  <a:pt x="2917386" y="3967183"/>
                  <a:pt x="2905049" y="3940122"/>
                  <a:pt x="2891917" y="3911868"/>
                </a:cubicBezTo>
                <a:close/>
                <a:moveTo>
                  <a:pt x="1838538" y="3909082"/>
                </a:moveTo>
                <a:cubicBezTo>
                  <a:pt x="1833763" y="3924602"/>
                  <a:pt x="1829385" y="3937735"/>
                  <a:pt x="1825008" y="3952061"/>
                </a:cubicBezTo>
                <a:cubicBezTo>
                  <a:pt x="1847691" y="3958826"/>
                  <a:pt x="1868384" y="3964795"/>
                  <a:pt x="1889874" y="3970765"/>
                </a:cubicBezTo>
                <a:cubicBezTo>
                  <a:pt x="1893853" y="3954847"/>
                  <a:pt x="1897435" y="3941714"/>
                  <a:pt x="1901016" y="3926990"/>
                </a:cubicBezTo>
                <a:cubicBezTo>
                  <a:pt x="1879925" y="3921021"/>
                  <a:pt x="1860425" y="3915449"/>
                  <a:pt x="1838538" y="3909082"/>
                </a:cubicBezTo>
                <a:close/>
                <a:moveTo>
                  <a:pt x="2793225" y="3904307"/>
                </a:moveTo>
                <a:cubicBezTo>
                  <a:pt x="2780888" y="3909082"/>
                  <a:pt x="2770541" y="3912664"/>
                  <a:pt x="2759001" y="3917041"/>
                </a:cubicBezTo>
                <a:cubicBezTo>
                  <a:pt x="2763378" y="3928980"/>
                  <a:pt x="2766960" y="3939326"/>
                  <a:pt x="2771735" y="3952061"/>
                </a:cubicBezTo>
                <a:cubicBezTo>
                  <a:pt x="2784470" y="3947285"/>
                  <a:pt x="2794817" y="3943306"/>
                  <a:pt x="2806755" y="3938929"/>
                </a:cubicBezTo>
                <a:cubicBezTo>
                  <a:pt x="2801980" y="3926592"/>
                  <a:pt x="2798000" y="3915847"/>
                  <a:pt x="2793225" y="3904307"/>
                </a:cubicBezTo>
                <a:close/>
                <a:moveTo>
                  <a:pt x="949115" y="3904307"/>
                </a:moveTo>
                <a:cubicBezTo>
                  <a:pt x="935585" y="3915847"/>
                  <a:pt x="924044" y="3925398"/>
                  <a:pt x="911708" y="3936143"/>
                </a:cubicBezTo>
                <a:cubicBezTo>
                  <a:pt x="924044" y="3948081"/>
                  <a:pt x="935983" y="3959224"/>
                  <a:pt x="948717" y="3971561"/>
                </a:cubicBezTo>
                <a:cubicBezTo>
                  <a:pt x="960258" y="3959224"/>
                  <a:pt x="971003" y="3948081"/>
                  <a:pt x="982145" y="3935745"/>
                </a:cubicBezTo>
                <a:cubicBezTo>
                  <a:pt x="969411" y="3923408"/>
                  <a:pt x="958268" y="3912664"/>
                  <a:pt x="949115" y="3904307"/>
                </a:cubicBezTo>
                <a:close/>
                <a:moveTo>
                  <a:pt x="2983844" y="3899531"/>
                </a:moveTo>
                <a:cubicBezTo>
                  <a:pt x="2965936" y="3908684"/>
                  <a:pt x="2949222" y="3917439"/>
                  <a:pt x="2930916" y="3926592"/>
                </a:cubicBezTo>
                <a:cubicBezTo>
                  <a:pt x="2946834" y="3959622"/>
                  <a:pt x="2961956" y="3991458"/>
                  <a:pt x="2977874" y="4024090"/>
                </a:cubicBezTo>
                <a:cubicBezTo>
                  <a:pt x="2998170" y="4013743"/>
                  <a:pt x="3016078" y="4004591"/>
                  <a:pt x="3034782" y="3995040"/>
                </a:cubicBezTo>
                <a:cubicBezTo>
                  <a:pt x="3017272" y="3962408"/>
                  <a:pt x="3000956" y="3931367"/>
                  <a:pt x="2983844" y="3899531"/>
                </a:cubicBezTo>
                <a:close/>
                <a:moveTo>
                  <a:pt x="1046216" y="3898337"/>
                </a:moveTo>
                <a:cubicBezTo>
                  <a:pt x="1035073" y="3911072"/>
                  <a:pt x="1025124" y="3922613"/>
                  <a:pt x="1013982" y="3934949"/>
                </a:cubicBezTo>
                <a:cubicBezTo>
                  <a:pt x="1026716" y="3946490"/>
                  <a:pt x="1038257" y="3956439"/>
                  <a:pt x="1051389" y="3967979"/>
                </a:cubicBezTo>
                <a:cubicBezTo>
                  <a:pt x="1062532" y="3954449"/>
                  <a:pt x="1072481" y="3942510"/>
                  <a:pt x="1082827" y="3930174"/>
                </a:cubicBezTo>
                <a:cubicBezTo>
                  <a:pt x="1069695" y="3918633"/>
                  <a:pt x="1058552" y="3909082"/>
                  <a:pt x="1046216" y="3898337"/>
                </a:cubicBezTo>
                <a:close/>
                <a:moveTo>
                  <a:pt x="1145306" y="3890378"/>
                </a:moveTo>
                <a:cubicBezTo>
                  <a:pt x="1134163" y="3903511"/>
                  <a:pt x="1124612" y="3915449"/>
                  <a:pt x="1113868" y="3928184"/>
                </a:cubicBezTo>
                <a:cubicBezTo>
                  <a:pt x="1127398" y="3938929"/>
                  <a:pt x="1138938" y="3948081"/>
                  <a:pt x="1151673" y="3958428"/>
                </a:cubicBezTo>
                <a:cubicBezTo>
                  <a:pt x="1162020" y="3944898"/>
                  <a:pt x="1171173" y="3933357"/>
                  <a:pt x="1181519" y="3920225"/>
                </a:cubicBezTo>
                <a:cubicBezTo>
                  <a:pt x="1169183" y="3909878"/>
                  <a:pt x="1157642" y="3900725"/>
                  <a:pt x="1145306" y="3890378"/>
                </a:cubicBezTo>
                <a:close/>
                <a:moveTo>
                  <a:pt x="3438902" y="3889384"/>
                </a:moveTo>
                <a:cubicBezTo>
                  <a:pt x="3429948" y="3889881"/>
                  <a:pt x="3420198" y="3896348"/>
                  <a:pt x="3408856" y="3908684"/>
                </a:cubicBezTo>
                <a:cubicBezTo>
                  <a:pt x="3415622" y="3916643"/>
                  <a:pt x="3422785" y="3925000"/>
                  <a:pt x="3429948" y="3934153"/>
                </a:cubicBezTo>
                <a:cubicBezTo>
                  <a:pt x="3438305" y="3926990"/>
                  <a:pt x="3445070" y="3921419"/>
                  <a:pt x="3452233" y="3915449"/>
                </a:cubicBezTo>
                <a:cubicBezTo>
                  <a:pt x="3456213" y="3912266"/>
                  <a:pt x="3460590" y="3909082"/>
                  <a:pt x="3464172" y="3905899"/>
                </a:cubicBezTo>
                <a:cubicBezTo>
                  <a:pt x="3456014" y="3894358"/>
                  <a:pt x="3447856" y="3888886"/>
                  <a:pt x="3438902" y="3889384"/>
                </a:cubicBezTo>
                <a:close/>
                <a:moveTo>
                  <a:pt x="2833418" y="3888389"/>
                </a:moveTo>
                <a:cubicBezTo>
                  <a:pt x="2821479" y="3893164"/>
                  <a:pt x="2811133" y="3897541"/>
                  <a:pt x="2799592" y="3902317"/>
                </a:cubicBezTo>
                <a:cubicBezTo>
                  <a:pt x="2804367" y="3914654"/>
                  <a:pt x="2808347" y="3925000"/>
                  <a:pt x="2813520" y="3936541"/>
                </a:cubicBezTo>
                <a:cubicBezTo>
                  <a:pt x="2825061" y="3931765"/>
                  <a:pt x="2835408" y="3927388"/>
                  <a:pt x="2848142" y="3922215"/>
                </a:cubicBezTo>
                <a:cubicBezTo>
                  <a:pt x="2842969" y="3910276"/>
                  <a:pt x="2838591" y="3899929"/>
                  <a:pt x="2833418" y="3888389"/>
                </a:cubicBezTo>
                <a:close/>
                <a:moveTo>
                  <a:pt x="2694135" y="3878440"/>
                </a:moveTo>
                <a:cubicBezTo>
                  <a:pt x="2682196" y="3882419"/>
                  <a:pt x="2672645" y="3885603"/>
                  <a:pt x="2661503" y="3889185"/>
                </a:cubicBezTo>
                <a:cubicBezTo>
                  <a:pt x="2665482" y="3902317"/>
                  <a:pt x="2669064" y="3913460"/>
                  <a:pt x="2672645" y="3925398"/>
                </a:cubicBezTo>
                <a:cubicBezTo>
                  <a:pt x="2684186" y="3922215"/>
                  <a:pt x="2694135" y="3919031"/>
                  <a:pt x="2707267" y="3915449"/>
                </a:cubicBezTo>
                <a:cubicBezTo>
                  <a:pt x="2702492" y="3901521"/>
                  <a:pt x="2698512" y="3890378"/>
                  <a:pt x="2694135" y="3878440"/>
                </a:cubicBezTo>
                <a:close/>
                <a:moveTo>
                  <a:pt x="1749397" y="3877644"/>
                </a:moveTo>
                <a:cubicBezTo>
                  <a:pt x="1743428" y="3892766"/>
                  <a:pt x="1738652" y="3905500"/>
                  <a:pt x="1733081" y="3919827"/>
                </a:cubicBezTo>
                <a:cubicBezTo>
                  <a:pt x="1754172" y="3927388"/>
                  <a:pt x="1774468" y="3934949"/>
                  <a:pt x="1796355" y="3942908"/>
                </a:cubicBezTo>
                <a:cubicBezTo>
                  <a:pt x="1801528" y="3927786"/>
                  <a:pt x="1805906" y="3914654"/>
                  <a:pt x="1810681" y="3900327"/>
                </a:cubicBezTo>
                <a:cubicBezTo>
                  <a:pt x="1789590" y="3892368"/>
                  <a:pt x="1770488" y="3885603"/>
                  <a:pt x="1749397" y="3877644"/>
                </a:cubicBezTo>
                <a:close/>
                <a:moveTo>
                  <a:pt x="1241610" y="3876848"/>
                </a:moveTo>
                <a:cubicBezTo>
                  <a:pt x="1231263" y="3889981"/>
                  <a:pt x="1222110" y="3901521"/>
                  <a:pt x="1211366" y="3915449"/>
                </a:cubicBezTo>
                <a:cubicBezTo>
                  <a:pt x="1224896" y="3925398"/>
                  <a:pt x="1236437" y="3934153"/>
                  <a:pt x="1248773" y="3943306"/>
                </a:cubicBezTo>
                <a:cubicBezTo>
                  <a:pt x="1258722" y="3929378"/>
                  <a:pt x="1267477" y="3916643"/>
                  <a:pt x="1277028" y="3903511"/>
                </a:cubicBezTo>
                <a:cubicBezTo>
                  <a:pt x="1264293" y="3893960"/>
                  <a:pt x="1253549" y="3885603"/>
                  <a:pt x="1241610" y="3876848"/>
                </a:cubicBezTo>
                <a:close/>
                <a:moveTo>
                  <a:pt x="2872815" y="3870879"/>
                </a:moveTo>
                <a:cubicBezTo>
                  <a:pt x="2860877" y="3876052"/>
                  <a:pt x="2850530" y="3880828"/>
                  <a:pt x="2839387" y="3885603"/>
                </a:cubicBezTo>
                <a:cubicBezTo>
                  <a:pt x="2844561" y="3897940"/>
                  <a:pt x="2848938" y="3907888"/>
                  <a:pt x="2854111" y="3920225"/>
                </a:cubicBezTo>
                <a:cubicBezTo>
                  <a:pt x="2866846" y="3914255"/>
                  <a:pt x="2877192" y="3909480"/>
                  <a:pt x="2888335" y="3904307"/>
                </a:cubicBezTo>
                <a:cubicBezTo>
                  <a:pt x="2882764" y="3891970"/>
                  <a:pt x="2877988" y="3882021"/>
                  <a:pt x="2872815" y="3870879"/>
                </a:cubicBezTo>
                <a:close/>
                <a:moveTo>
                  <a:pt x="3182024" y="3868093"/>
                </a:moveTo>
                <a:cubicBezTo>
                  <a:pt x="3172871" y="3874460"/>
                  <a:pt x="3165310" y="3879634"/>
                  <a:pt x="3156953" y="3885603"/>
                </a:cubicBezTo>
                <a:cubicBezTo>
                  <a:pt x="3164116" y="3896348"/>
                  <a:pt x="3170483" y="3905899"/>
                  <a:pt x="3177248" y="3915847"/>
                </a:cubicBezTo>
                <a:cubicBezTo>
                  <a:pt x="3186799" y="3909082"/>
                  <a:pt x="3193962" y="3903909"/>
                  <a:pt x="3203115" y="3897541"/>
                </a:cubicBezTo>
                <a:cubicBezTo>
                  <a:pt x="3195156" y="3886399"/>
                  <a:pt x="3188789" y="3877644"/>
                  <a:pt x="3182024" y="3868093"/>
                </a:cubicBezTo>
                <a:close/>
                <a:moveTo>
                  <a:pt x="2734328" y="3865307"/>
                </a:moveTo>
                <a:cubicBezTo>
                  <a:pt x="2722389" y="3869685"/>
                  <a:pt x="2712838" y="3872869"/>
                  <a:pt x="2701696" y="3876848"/>
                </a:cubicBezTo>
                <a:cubicBezTo>
                  <a:pt x="2705675" y="3889185"/>
                  <a:pt x="2709257" y="3900327"/>
                  <a:pt x="2713236" y="3913062"/>
                </a:cubicBezTo>
                <a:cubicBezTo>
                  <a:pt x="2724777" y="3909082"/>
                  <a:pt x="2735124" y="3905500"/>
                  <a:pt x="2747460" y="3901521"/>
                </a:cubicBezTo>
                <a:cubicBezTo>
                  <a:pt x="2742287" y="3887991"/>
                  <a:pt x="2738307" y="3876848"/>
                  <a:pt x="2734328" y="3865307"/>
                </a:cubicBezTo>
                <a:close/>
                <a:moveTo>
                  <a:pt x="997268" y="3852573"/>
                </a:moveTo>
                <a:cubicBezTo>
                  <a:pt x="984533" y="3863716"/>
                  <a:pt x="972993" y="3873664"/>
                  <a:pt x="960258" y="3884807"/>
                </a:cubicBezTo>
                <a:cubicBezTo>
                  <a:pt x="973390" y="3897144"/>
                  <a:pt x="984533" y="3907888"/>
                  <a:pt x="996870" y="3919429"/>
                </a:cubicBezTo>
                <a:cubicBezTo>
                  <a:pt x="1008410" y="3907092"/>
                  <a:pt x="1018757" y="3896348"/>
                  <a:pt x="1030298" y="3883613"/>
                </a:cubicBezTo>
                <a:cubicBezTo>
                  <a:pt x="1017563" y="3871675"/>
                  <a:pt x="1006818" y="3861328"/>
                  <a:pt x="997268" y="3852573"/>
                </a:cubicBezTo>
                <a:close/>
                <a:moveTo>
                  <a:pt x="3121933" y="3850981"/>
                </a:moveTo>
                <a:cubicBezTo>
                  <a:pt x="3112382" y="3857348"/>
                  <a:pt x="3104821" y="3862124"/>
                  <a:pt x="3096862" y="3867695"/>
                </a:cubicBezTo>
                <a:cubicBezTo>
                  <a:pt x="3103627" y="3878440"/>
                  <a:pt x="3109199" y="3887593"/>
                  <a:pt x="3115964" y="3897940"/>
                </a:cubicBezTo>
                <a:cubicBezTo>
                  <a:pt x="3125117" y="3891970"/>
                  <a:pt x="3132678" y="3887195"/>
                  <a:pt x="3141433" y="3881623"/>
                </a:cubicBezTo>
                <a:cubicBezTo>
                  <a:pt x="3134667" y="3871675"/>
                  <a:pt x="3128698" y="3862124"/>
                  <a:pt x="3121933" y="3850981"/>
                </a:cubicBezTo>
                <a:close/>
                <a:moveTo>
                  <a:pt x="2772531" y="3850583"/>
                </a:moveTo>
                <a:cubicBezTo>
                  <a:pt x="2760593" y="3855359"/>
                  <a:pt x="2751042" y="3858940"/>
                  <a:pt x="2739899" y="3863318"/>
                </a:cubicBezTo>
                <a:cubicBezTo>
                  <a:pt x="2744675" y="3876052"/>
                  <a:pt x="2748654" y="3887195"/>
                  <a:pt x="2753032" y="3899531"/>
                </a:cubicBezTo>
                <a:cubicBezTo>
                  <a:pt x="2765368" y="3894756"/>
                  <a:pt x="2775317" y="3890776"/>
                  <a:pt x="2786459" y="3886399"/>
                </a:cubicBezTo>
                <a:cubicBezTo>
                  <a:pt x="2782082" y="3874062"/>
                  <a:pt x="2777704" y="3863318"/>
                  <a:pt x="2772531" y="3850583"/>
                </a:cubicBezTo>
                <a:close/>
                <a:moveTo>
                  <a:pt x="3039159" y="3848593"/>
                </a:moveTo>
                <a:cubicBezTo>
                  <a:pt x="3029608" y="3854563"/>
                  <a:pt x="3022047" y="3858940"/>
                  <a:pt x="3014088" y="3863318"/>
                </a:cubicBezTo>
                <a:cubicBezTo>
                  <a:pt x="3020853" y="3874858"/>
                  <a:pt x="3026027" y="3884409"/>
                  <a:pt x="3031996" y="3894358"/>
                </a:cubicBezTo>
                <a:cubicBezTo>
                  <a:pt x="3041149" y="3889185"/>
                  <a:pt x="3048312" y="3885205"/>
                  <a:pt x="3057863" y="3879634"/>
                </a:cubicBezTo>
                <a:cubicBezTo>
                  <a:pt x="3051097" y="3868491"/>
                  <a:pt x="3045526" y="3858940"/>
                  <a:pt x="3039159" y="3848593"/>
                </a:cubicBezTo>
                <a:close/>
                <a:moveTo>
                  <a:pt x="1093970" y="3846206"/>
                </a:moveTo>
                <a:cubicBezTo>
                  <a:pt x="1082827" y="3858542"/>
                  <a:pt x="1072481" y="3869685"/>
                  <a:pt x="1061338" y="3882419"/>
                </a:cubicBezTo>
                <a:cubicBezTo>
                  <a:pt x="1074072" y="3893164"/>
                  <a:pt x="1085215" y="3903113"/>
                  <a:pt x="1097551" y="3913858"/>
                </a:cubicBezTo>
                <a:cubicBezTo>
                  <a:pt x="1108694" y="3901123"/>
                  <a:pt x="1118643" y="3889185"/>
                  <a:pt x="1129388" y="3876848"/>
                </a:cubicBezTo>
                <a:cubicBezTo>
                  <a:pt x="1117051" y="3866103"/>
                  <a:pt x="1106306" y="3856552"/>
                  <a:pt x="1093970" y="3846206"/>
                </a:cubicBezTo>
                <a:close/>
                <a:moveTo>
                  <a:pt x="1662245" y="3840237"/>
                </a:moveTo>
                <a:cubicBezTo>
                  <a:pt x="1655480" y="3854165"/>
                  <a:pt x="1649511" y="3866899"/>
                  <a:pt x="1643144" y="3880828"/>
                </a:cubicBezTo>
                <a:cubicBezTo>
                  <a:pt x="1665429" y="3890776"/>
                  <a:pt x="1684929" y="3899133"/>
                  <a:pt x="1705224" y="3908286"/>
                </a:cubicBezTo>
                <a:cubicBezTo>
                  <a:pt x="1711193" y="3893562"/>
                  <a:pt x="1716367" y="3881623"/>
                  <a:pt x="1722336" y="3866899"/>
                </a:cubicBezTo>
                <a:cubicBezTo>
                  <a:pt x="1701643" y="3857746"/>
                  <a:pt x="1682541" y="3849389"/>
                  <a:pt x="1662245" y="3840237"/>
                </a:cubicBezTo>
                <a:close/>
                <a:moveTo>
                  <a:pt x="1190274" y="3836257"/>
                </a:moveTo>
                <a:cubicBezTo>
                  <a:pt x="1179530" y="3849389"/>
                  <a:pt x="1169581" y="3860930"/>
                  <a:pt x="1159234" y="3873664"/>
                </a:cubicBezTo>
                <a:cubicBezTo>
                  <a:pt x="1171969" y="3883613"/>
                  <a:pt x="1183509" y="3892766"/>
                  <a:pt x="1195448" y="3902317"/>
                </a:cubicBezTo>
                <a:cubicBezTo>
                  <a:pt x="1206192" y="3888787"/>
                  <a:pt x="1215345" y="3876848"/>
                  <a:pt x="1225692" y="3864114"/>
                </a:cubicBezTo>
                <a:cubicBezTo>
                  <a:pt x="1212958" y="3854165"/>
                  <a:pt x="1201815" y="3845410"/>
                  <a:pt x="1190274" y="3836257"/>
                </a:cubicBezTo>
                <a:close/>
                <a:moveTo>
                  <a:pt x="2810337" y="3835859"/>
                </a:moveTo>
                <a:cubicBezTo>
                  <a:pt x="2799194" y="3840237"/>
                  <a:pt x="2790041" y="3844216"/>
                  <a:pt x="2778500" y="3848992"/>
                </a:cubicBezTo>
                <a:cubicBezTo>
                  <a:pt x="2783674" y="3861726"/>
                  <a:pt x="2788051" y="3872471"/>
                  <a:pt x="2792827" y="3884807"/>
                </a:cubicBezTo>
                <a:cubicBezTo>
                  <a:pt x="2804367" y="3879634"/>
                  <a:pt x="2814714" y="3875256"/>
                  <a:pt x="2826255" y="3870481"/>
                </a:cubicBezTo>
                <a:cubicBezTo>
                  <a:pt x="2820683" y="3858144"/>
                  <a:pt x="2815908" y="3847002"/>
                  <a:pt x="2810337" y="3835859"/>
                </a:cubicBezTo>
                <a:close/>
                <a:moveTo>
                  <a:pt x="3191574" y="3828298"/>
                </a:moveTo>
                <a:cubicBezTo>
                  <a:pt x="3190779" y="3829492"/>
                  <a:pt x="3189585" y="3830686"/>
                  <a:pt x="3188789" y="3831879"/>
                </a:cubicBezTo>
                <a:cubicBezTo>
                  <a:pt x="3221421" y="3877246"/>
                  <a:pt x="3253655" y="3922613"/>
                  <a:pt x="3287481" y="3969571"/>
                </a:cubicBezTo>
                <a:cubicBezTo>
                  <a:pt x="3306185" y="3955643"/>
                  <a:pt x="3323297" y="3942908"/>
                  <a:pt x="3340806" y="3929378"/>
                </a:cubicBezTo>
                <a:cubicBezTo>
                  <a:pt x="3318521" y="3895154"/>
                  <a:pt x="3297032" y="3863716"/>
                  <a:pt x="3254053" y="3854961"/>
                </a:cubicBezTo>
                <a:cubicBezTo>
                  <a:pt x="3236941" y="3851777"/>
                  <a:pt x="3221421" y="3841032"/>
                  <a:pt x="3205105" y="3833471"/>
                </a:cubicBezTo>
                <a:cubicBezTo>
                  <a:pt x="3200728" y="3831482"/>
                  <a:pt x="3195952" y="3829890"/>
                  <a:pt x="3191574" y="3828298"/>
                </a:cubicBezTo>
                <a:close/>
                <a:moveTo>
                  <a:pt x="1284987" y="3820737"/>
                </a:moveTo>
                <a:cubicBezTo>
                  <a:pt x="1274242" y="3834665"/>
                  <a:pt x="1265089" y="3846206"/>
                  <a:pt x="1255140" y="3859338"/>
                </a:cubicBezTo>
                <a:cubicBezTo>
                  <a:pt x="1267875" y="3868491"/>
                  <a:pt x="1279018" y="3876848"/>
                  <a:pt x="1290956" y="3885603"/>
                </a:cubicBezTo>
                <a:cubicBezTo>
                  <a:pt x="1300905" y="3872073"/>
                  <a:pt x="1309660" y="3860134"/>
                  <a:pt x="1319609" y="3846604"/>
                </a:cubicBezTo>
                <a:cubicBezTo>
                  <a:pt x="1307272" y="3837451"/>
                  <a:pt x="1296527" y="3829492"/>
                  <a:pt x="1284987" y="3820737"/>
                </a:cubicBezTo>
                <a:close/>
                <a:moveTo>
                  <a:pt x="2848938" y="3818747"/>
                </a:moveTo>
                <a:cubicBezTo>
                  <a:pt x="2837795" y="3823522"/>
                  <a:pt x="2827847" y="3827900"/>
                  <a:pt x="2816704" y="3833073"/>
                </a:cubicBezTo>
                <a:cubicBezTo>
                  <a:pt x="2822275" y="3845410"/>
                  <a:pt x="2827051" y="3856155"/>
                  <a:pt x="2832224" y="3868491"/>
                </a:cubicBezTo>
                <a:cubicBezTo>
                  <a:pt x="2843367" y="3863716"/>
                  <a:pt x="2853315" y="3858940"/>
                  <a:pt x="2864856" y="3853369"/>
                </a:cubicBezTo>
                <a:cubicBezTo>
                  <a:pt x="2859285" y="3841430"/>
                  <a:pt x="2854509" y="3831084"/>
                  <a:pt x="2848938" y="3818747"/>
                </a:cubicBezTo>
                <a:close/>
                <a:moveTo>
                  <a:pt x="1048205" y="3802829"/>
                </a:moveTo>
                <a:cubicBezTo>
                  <a:pt x="1034675" y="3813972"/>
                  <a:pt x="1023134" y="3823522"/>
                  <a:pt x="1010400" y="3834665"/>
                </a:cubicBezTo>
                <a:cubicBezTo>
                  <a:pt x="1022737" y="3845808"/>
                  <a:pt x="1033481" y="3856155"/>
                  <a:pt x="1045420" y="3867695"/>
                </a:cubicBezTo>
                <a:cubicBezTo>
                  <a:pt x="1056960" y="3854961"/>
                  <a:pt x="1067307" y="3843818"/>
                  <a:pt x="1078450" y="3831482"/>
                </a:cubicBezTo>
                <a:cubicBezTo>
                  <a:pt x="1066113" y="3819941"/>
                  <a:pt x="1055766" y="3809992"/>
                  <a:pt x="1048205" y="3802829"/>
                </a:cubicBezTo>
                <a:close/>
                <a:moveTo>
                  <a:pt x="3237339" y="3794870"/>
                </a:moveTo>
                <a:cubicBezTo>
                  <a:pt x="3227390" y="3802431"/>
                  <a:pt x="3219033" y="3808798"/>
                  <a:pt x="3208289" y="3817553"/>
                </a:cubicBezTo>
                <a:cubicBezTo>
                  <a:pt x="3230972" y="3827502"/>
                  <a:pt x="3250472" y="3835859"/>
                  <a:pt x="3269573" y="3844216"/>
                </a:cubicBezTo>
                <a:cubicBezTo>
                  <a:pt x="3270767" y="3843420"/>
                  <a:pt x="3271961" y="3842226"/>
                  <a:pt x="3273155" y="3841032"/>
                </a:cubicBezTo>
                <a:cubicBezTo>
                  <a:pt x="3261614" y="3825910"/>
                  <a:pt x="3250073" y="3811186"/>
                  <a:pt x="3237339" y="3794870"/>
                </a:cubicBezTo>
                <a:close/>
                <a:moveTo>
                  <a:pt x="1141326" y="3792880"/>
                </a:moveTo>
                <a:cubicBezTo>
                  <a:pt x="1129786" y="3805615"/>
                  <a:pt x="1119837" y="3816757"/>
                  <a:pt x="1108694" y="3829492"/>
                </a:cubicBezTo>
                <a:cubicBezTo>
                  <a:pt x="1121031" y="3839838"/>
                  <a:pt x="1132173" y="3849389"/>
                  <a:pt x="1143714" y="3859736"/>
                </a:cubicBezTo>
                <a:cubicBezTo>
                  <a:pt x="1154857" y="3846604"/>
                  <a:pt x="1164805" y="3835461"/>
                  <a:pt x="1175550" y="3822727"/>
                </a:cubicBezTo>
                <a:cubicBezTo>
                  <a:pt x="1164009" y="3812778"/>
                  <a:pt x="1154061" y="3804023"/>
                  <a:pt x="1141326" y="3792880"/>
                </a:cubicBezTo>
                <a:close/>
                <a:moveTo>
                  <a:pt x="3128698" y="3790890"/>
                </a:moveTo>
                <a:cubicBezTo>
                  <a:pt x="3119943" y="3797258"/>
                  <a:pt x="3112780" y="3802431"/>
                  <a:pt x="3105219" y="3808002"/>
                </a:cubicBezTo>
                <a:cubicBezTo>
                  <a:pt x="3112780" y="3819145"/>
                  <a:pt x="3119147" y="3827900"/>
                  <a:pt x="3125515" y="3837451"/>
                </a:cubicBezTo>
                <a:cubicBezTo>
                  <a:pt x="3134667" y="3831084"/>
                  <a:pt x="3141830" y="3826308"/>
                  <a:pt x="3150188" y="3820737"/>
                </a:cubicBezTo>
                <a:cubicBezTo>
                  <a:pt x="3142626" y="3810390"/>
                  <a:pt x="3135861" y="3800839"/>
                  <a:pt x="3128698" y="3790890"/>
                </a:cubicBezTo>
                <a:close/>
                <a:moveTo>
                  <a:pt x="1236437" y="3781340"/>
                </a:moveTo>
                <a:cubicBezTo>
                  <a:pt x="1225692" y="3794472"/>
                  <a:pt x="1216141" y="3806411"/>
                  <a:pt x="1205396" y="3819145"/>
                </a:cubicBezTo>
                <a:cubicBezTo>
                  <a:pt x="1216937" y="3829094"/>
                  <a:pt x="1227284" y="3837053"/>
                  <a:pt x="1239620" y="3847002"/>
                </a:cubicBezTo>
                <a:cubicBezTo>
                  <a:pt x="1250365" y="3833471"/>
                  <a:pt x="1259518" y="3821931"/>
                  <a:pt x="1269865" y="3808798"/>
                </a:cubicBezTo>
                <a:cubicBezTo>
                  <a:pt x="1258722" y="3799645"/>
                  <a:pt x="1247977" y="3790890"/>
                  <a:pt x="1236437" y="3781340"/>
                </a:cubicBezTo>
                <a:close/>
                <a:moveTo>
                  <a:pt x="2919376" y="3776166"/>
                </a:moveTo>
                <a:cubicBezTo>
                  <a:pt x="2902661" y="3784921"/>
                  <a:pt x="2887937" y="3792482"/>
                  <a:pt x="2872019" y="3800839"/>
                </a:cubicBezTo>
                <a:cubicBezTo>
                  <a:pt x="2888335" y="3834665"/>
                  <a:pt x="2903855" y="3867297"/>
                  <a:pt x="2920171" y="3901123"/>
                </a:cubicBezTo>
                <a:cubicBezTo>
                  <a:pt x="2938079" y="3891970"/>
                  <a:pt x="2954395" y="3883613"/>
                  <a:pt x="2971507" y="3874858"/>
                </a:cubicBezTo>
                <a:cubicBezTo>
                  <a:pt x="2953599" y="3841032"/>
                  <a:pt x="2936885" y="3808798"/>
                  <a:pt x="2919376" y="3776166"/>
                </a:cubicBezTo>
                <a:close/>
                <a:moveTo>
                  <a:pt x="3070199" y="3772983"/>
                </a:moveTo>
                <a:cubicBezTo>
                  <a:pt x="3061444" y="3778952"/>
                  <a:pt x="3054679" y="3783329"/>
                  <a:pt x="3046720" y="3788503"/>
                </a:cubicBezTo>
                <a:cubicBezTo>
                  <a:pt x="3053485" y="3798849"/>
                  <a:pt x="3059057" y="3808400"/>
                  <a:pt x="3065822" y="3819145"/>
                </a:cubicBezTo>
                <a:cubicBezTo>
                  <a:pt x="3074577" y="3813176"/>
                  <a:pt x="3082138" y="3808400"/>
                  <a:pt x="3090097" y="3803227"/>
                </a:cubicBezTo>
                <a:cubicBezTo>
                  <a:pt x="3082934" y="3792482"/>
                  <a:pt x="3076964" y="3783329"/>
                  <a:pt x="3070199" y="3772983"/>
                </a:cubicBezTo>
                <a:close/>
                <a:moveTo>
                  <a:pt x="1328364" y="3764626"/>
                </a:moveTo>
                <a:cubicBezTo>
                  <a:pt x="1317619" y="3778554"/>
                  <a:pt x="1308466" y="3790094"/>
                  <a:pt x="1298517" y="3803227"/>
                </a:cubicBezTo>
                <a:cubicBezTo>
                  <a:pt x="1310456" y="3812380"/>
                  <a:pt x="1321200" y="3820339"/>
                  <a:pt x="1332741" y="3828696"/>
                </a:cubicBezTo>
                <a:cubicBezTo>
                  <a:pt x="1343088" y="3814767"/>
                  <a:pt x="1351843" y="3802431"/>
                  <a:pt x="1360996" y="3789697"/>
                </a:cubicBezTo>
                <a:cubicBezTo>
                  <a:pt x="1349853" y="3780942"/>
                  <a:pt x="1339904" y="3773381"/>
                  <a:pt x="1328364" y="3764626"/>
                </a:cubicBezTo>
                <a:close/>
                <a:moveTo>
                  <a:pt x="3011302" y="3758656"/>
                </a:moveTo>
                <a:cubicBezTo>
                  <a:pt x="3002945" y="3763830"/>
                  <a:pt x="2996180" y="3767809"/>
                  <a:pt x="2987823" y="3772983"/>
                </a:cubicBezTo>
                <a:cubicBezTo>
                  <a:pt x="2994986" y="3784921"/>
                  <a:pt x="3000956" y="3794074"/>
                  <a:pt x="3006925" y="3804023"/>
                </a:cubicBezTo>
                <a:cubicBezTo>
                  <a:pt x="3015680" y="3798452"/>
                  <a:pt x="3022843" y="3794074"/>
                  <a:pt x="3030404" y="3789299"/>
                </a:cubicBezTo>
                <a:cubicBezTo>
                  <a:pt x="3023241" y="3778156"/>
                  <a:pt x="3017670" y="3769003"/>
                  <a:pt x="3011302" y="3758656"/>
                </a:cubicBezTo>
                <a:close/>
                <a:moveTo>
                  <a:pt x="3476508" y="3754279"/>
                </a:moveTo>
                <a:cubicBezTo>
                  <a:pt x="3466559" y="3763830"/>
                  <a:pt x="3456611" y="3772983"/>
                  <a:pt x="3445468" y="3783727"/>
                </a:cubicBezTo>
                <a:cubicBezTo>
                  <a:pt x="3453427" y="3791686"/>
                  <a:pt x="3460590" y="3798849"/>
                  <a:pt x="3469345" y="3807604"/>
                </a:cubicBezTo>
                <a:cubicBezTo>
                  <a:pt x="3479692" y="3795666"/>
                  <a:pt x="3488845" y="3785717"/>
                  <a:pt x="3497202" y="3776166"/>
                </a:cubicBezTo>
                <a:cubicBezTo>
                  <a:pt x="3490437" y="3769003"/>
                  <a:pt x="3482875" y="3761044"/>
                  <a:pt x="3476508" y="3754279"/>
                </a:cubicBezTo>
                <a:close/>
                <a:moveTo>
                  <a:pt x="1097153" y="3751891"/>
                </a:moveTo>
                <a:cubicBezTo>
                  <a:pt x="1084419" y="3763034"/>
                  <a:pt x="1073276" y="3773381"/>
                  <a:pt x="1060542" y="3784523"/>
                </a:cubicBezTo>
                <a:cubicBezTo>
                  <a:pt x="1071685" y="3794870"/>
                  <a:pt x="1082429" y="3804819"/>
                  <a:pt x="1093572" y="3815563"/>
                </a:cubicBezTo>
                <a:cubicBezTo>
                  <a:pt x="1105113" y="3803227"/>
                  <a:pt x="1114663" y="3792482"/>
                  <a:pt x="1126602" y="3779748"/>
                </a:cubicBezTo>
                <a:cubicBezTo>
                  <a:pt x="1115061" y="3768605"/>
                  <a:pt x="1104715" y="3759054"/>
                  <a:pt x="1097153" y="3751891"/>
                </a:cubicBezTo>
                <a:close/>
                <a:moveTo>
                  <a:pt x="3299420" y="3746718"/>
                </a:moveTo>
                <a:cubicBezTo>
                  <a:pt x="3287879" y="3756269"/>
                  <a:pt x="3278328" y="3764228"/>
                  <a:pt x="3268777" y="3772585"/>
                </a:cubicBezTo>
                <a:cubicBezTo>
                  <a:pt x="3277134" y="3782931"/>
                  <a:pt x="3283899" y="3791288"/>
                  <a:pt x="3293052" y="3802033"/>
                </a:cubicBezTo>
                <a:cubicBezTo>
                  <a:pt x="3304593" y="3792084"/>
                  <a:pt x="3314144" y="3783727"/>
                  <a:pt x="3324093" y="3774972"/>
                </a:cubicBezTo>
                <a:cubicBezTo>
                  <a:pt x="3314940" y="3764228"/>
                  <a:pt x="3307379" y="3755871"/>
                  <a:pt x="3299420" y="3746718"/>
                </a:cubicBezTo>
                <a:close/>
                <a:moveTo>
                  <a:pt x="1189478" y="3740350"/>
                </a:moveTo>
                <a:cubicBezTo>
                  <a:pt x="1178336" y="3752687"/>
                  <a:pt x="1168387" y="3763830"/>
                  <a:pt x="1156448" y="3776962"/>
                </a:cubicBezTo>
                <a:cubicBezTo>
                  <a:pt x="1169183" y="3787707"/>
                  <a:pt x="1179530" y="3796462"/>
                  <a:pt x="1190672" y="3805615"/>
                </a:cubicBezTo>
                <a:cubicBezTo>
                  <a:pt x="1202213" y="3792084"/>
                  <a:pt x="1211366" y="3780942"/>
                  <a:pt x="1221713" y="3769003"/>
                </a:cubicBezTo>
                <a:cubicBezTo>
                  <a:pt x="1210570" y="3759054"/>
                  <a:pt x="1200621" y="3750299"/>
                  <a:pt x="1189478" y="3740350"/>
                </a:cubicBezTo>
                <a:close/>
                <a:moveTo>
                  <a:pt x="1281405" y="3727218"/>
                </a:moveTo>
                <a:cubicBezTo>
                  <a:pt x="1270263" y="3740749"/>
                  <a:pt x="1260712" y="3752289"/>
                  <a:pt x="1250365" y="3765024"/>
                </a:cubicBezTo>
                <a:cubicBezTo>
                  <a:pt x="1261906" y="3774176"/>
                  <a:pt x="1271854" y="3782135"/>
                  <a:pt x="1283395" y="3791686"/>
                </a:cubicBezTo>
                <a:cubicBezTo>
                  <a:pt x="1293742" y="3778554"/>
                  <a:pt x="1303293" y="3767013"/>
                  <a:pt x="1313639" y="3753085"/>
                </a:cubicBezTo>
                <a:cubicBezTo>
                  <a:pt x="1302099" y="3743932"/>
                  <a:pt x="1292150" y="3735575"/>
                  <a:pt x="1281405" y="3727218"/>
                </a:cubicBezTo>
                <a:close/>
                <a:moveTo>
                  <a:pt x="3161728" y="3709708"/>
                </a:moveTo>
                <a:cubicBezTo>
                  <a:pt x="3147800" y="3720055"/>
                  <a:pt x="3135463" y="3729606"/>
                  <a:pt x="3119147" y="3741942"/>
                </a:cubicBezTo>
                <a:cubicBezTo>
                  <a:pt x="3143025" y="3765819"/>
                  <a:pt x="3164912" y="3787707"/>
                  <a:pt x="3187197" y="3809594"/>
                </a:cubicBezTo>
                <a:cubicBezTo>
                  <a:pt x="3200728" y="3799645"/>
                  <a:pt x="3209482" y="3792880"/>
                  <a:pt x="3219829" y="3784921"/>
                </a:cubicBezTo>
                <a:cubicBezTo>
                  <a:pt x="3200329" y="3759850"/>
                  <a:pt x="3181626" y="3735177"/>
                  <a:pt x="3161728" y="3709708"/>
                </a:cubicBezTo>
                <a:close/>
                <a:moveTo>
                  <a:pt x="3433529" y="3708116"/>
                </a:moveTo>
                <a:cubicBezTo>
                  <a:pt x="3423581" y="3719657"/>
                  <a:pt x="3415224" y="3729208"/>
                  <a:pt x="3405673" y="3739953"/>
                </a:cubicBezTo>
                <a:cubicBezTo>
                  <a:pt x="3413234" y="3747912"/>
                  <a:pt x="3421193" y="3756269"/>
                  <a:pt x="3428356" y="3763830"/>
                </a:cubicBezTo>
                <a:cubicBezTo>
                  <a:pt x="3439897" y="3753483"/>
                  <a:pt x="3449845" y="3744330"/>
                  <a:pt x="3460192" y="3734779"/>
                </a:cubicBezTo>
                <a:cubicBezTo>
                  <a:pt x="3451437" y="3726024"/>
                  <a:pt x="3443876" y="3718463"/>
                  <a:pt x="3433529" y="3708116"/>
                </a:cubicBezTo>
                <a:close/>
                <a:moveTo>
                  <a:pt x="3263206" y="3704535"/>
                </a:moveTo>
                <a:cubicBezTo>
                  <a:pt x="3252859" y="3712892"/>
                  <a:pt x="3243706" y="3720851"/>
                  <a:pt x="3233359" y="3729208"/>
                </a:cubicBezTo>
                <a:cubicBezTo>
                  <a:pt x="3240523" y="3738361"/>
                  <a:pt x="3247288" y="3745922"/>
                  <a:pt x="3254849" y="3754677"/>
                </a:cubicBezTo>
                <a:cubicBezTo>
                  <a:pt x="3265594" y="3745524"/>
                  <a:pt x="3274747" y="3737565"/>
                  <a:pt x="3284695" y="3729208"/>
                </a:cubicBezTo>
                <a:cubicBezTo>
                  <a:pt x="3276736" y="3720453"/>
                  <a:pt x="3270369" y="3712892"/>
                  <a:pt x="3263206" y="3704535"/>
                </a:cubicBezTo>
                <a:close/>
                <a:moveTo>
                  <a:pt x="1146500" y="3700555"/>
                </a:moveTo>
                <a:cubicBezTo>
                  <a:pt x="1133765" y="3711698"/>
                  <a:pt x="1122225" y="3721647"/>
                  <a:pt x="1109888" y="3732789"/>
                </a:cubicBezTo>
                <a:cubicBezTo>
                  <a:pt x="1121429" y="3743534"/>
                  <a:pt x="1131377" y="3753085"/>
                  <a:pt x="1142520" y="3763432"/>
                </a:cubicBezTo>
                <a:cubicBezTo>
                  <a:pt x="1153663" y="3750697"/>
                  <a:pt x="1164009" y="3739157"/>
                  <a:pt x="1171571" y="3731198"/>
                </a:cubicBezTo>
                <a:cubicBezTo>
                  <a:pt x="1161622" y="3719259"/>
                  <a:pt x="1153663" y="3709310"/>
                  <a:pt x="1146500" y="3700555"/>
                </a:cubicBezTo>
                <a:close/>
                <a:moveTo>
                  <a:pt x="1236835" y="3687821"/>
                </a:moveTo>
                <a:cubicBezTo>
                  <a:pt x="1226090" y="3700157"/>
                  <a:pt x="1215743" y="3711698"/>
                  <a:pt x="1204600" y="3724432"/>
                </a:cubicBezTo>
                <a:cubicBezTo>
                  <a:pt x="1215743" y="3734381"/>
                  <a:pt x="1225692" y="3742738"/>
                  <a:pt x="1236437" y="3752289"/>
                </a:cubicBezTo>
                <a:cubicBezTo>
                  <a:pt x="1247579" y="3739157"/>
                  <a:pt x="1257528" y="3727218"/>
                  <a:pt x="1267875" y="3714882"/>
                </a:cubicBezTo>
                <a:cubicBezTo>
                  <a:pt x="1256732" y="3705331"/>
                  <a:pt x="1247579" y="3696974"/>
                  <a:pt x="1236835" y="3687821"/>
                </a:cubicBezTo>
                <a:close/>
                <a:moveTo>
                  <a:pt x="3141433" y="3683045"/>
                </a:moveTo>
                <a:cubicBezTo>
                  <a:pt x="3126708" y="3679066"/>
                  <a:pt x="3119545" y="3694586"/>
                  <a:pt x="3108801" y="3700157"/>
                </a:cubicBezTo>
                <a:cubicBezTo>
                  <a:pt x="3105219" y="3702147"/>
                  <a:pt x="3104025" y="3708116"/>
                  <a:pt x="3102035" y="3712096"/>
                </a:cubicBezTo>
                <a:cubicBezTo>
                  <a:pt x="3104025" y="3713290"/>
                  <a:pt x="3105617" y="3714484"/>
                  <a:pt x="3107607" y="3715678"/>
                </a:cubicBezTo>
                <a:cubicBezTo>
                  <a:pt x="3119147" y="3706923"/>
                  <a:pt x="3131086" y="3698168"/>
                  <a:pt x="3143025" y="3689413"/>
                </a:cubicBezTo>
                <a:cubicBezTo>
                  <a:pt x="3142626" y="3687423"/>
                  <a:pt x="3141830" y="3685035"/>
                  <a:pt x="3141433" y="3683045"/>
                </a:cubicBezTo>
                <a:close/>
                <a:moveTo>
                  <a:pt x="1195050" y="3647628"/>
                </a:moveTo>
                <a:cubicBezTo>
                  <a:pt x="1182315" y="3659964"/>
                  <a:pt x="1171173" y="3669913"/>
                  <a:pt x="1158438" y="3681852"/>
                </a:cubicBezTo>
                <a:cubicBezTo>
                  <a:pt x="1169581" y="3692198"/>
                  <a:pt x="1179530" y="3701351"/>
                  <a:pt x="1190274" y="3711300"/>
                </a:cubicBezTo>
                <a:cubicBezTo>
                  <a:pt x="1201815" y="3698964"/>
                  <a:pt x="1211366" y="3688617"/>
                  <a:pt x="1222110" y="3677076"/>
                </a:cubicBezTo>
                <a:cubicBezTo>
                  <a:pt x="1212560" y="3666729"/>
                  <a:pt x="1203407" y="3656781"/>
                  <a:pt x="1195050" y="3647628"/>
                </a:cubicBezTo>
                <a:close/>
                <a:moveTo>
                  <a:pt x="3344786" y="3613006"/>
                </a:moveTo>
                <a:cubicBezTo>
                  <a:pt x="3334837" y="3622159"/>
                  <a:pt x="3325684" y="3630516"/>
                  <a:pt x="3318123" y="3637679"/>
                </a:cubicBezTo>
                <a:cubicBezTo>
                  <a:pt x="3326480" y="3647230"/>
                  <a:pt x="3334837" y="3655985"/>
                  <a:pt x="3343990" y="3666331"/>
                </a:cubicBezTo>
                <a:cubicBezTo>
                  <a:pt x="3352745" y="3657179"/>
                  <a:pt x="3361102" y="3649220"/>
                  <a:pt x="3369857" y="3640067"/>
                </a:cubicBezTo>
                <a:cubicBezTo>
                  <a:pt x="3359908" y="3629720"/>
                  <a:pt x="3351949" y="3620965"/>
                  <a:pt x="3344786" y="3613006"/>
                </a:cubicBezTo>
                <a:close/>
                <a:moveTo>
                  <a:pt x="947922" y="3587537"/>
                </a:moveTo>
                <a:cubicBezTo>
                  <a:pt x="935983" y="3597088"/>
                  <a:pt x="926034" y="3605047"/>
                  <a:pt x="915289" y="3613802"/>
                </a:cubicBezTo>
                <a:cubicBezTo>
                  <a:pt x="924044" y="3624944"/>
                  <a:pt x="931605" y="3634097"/>
                  <a:pt x="939962" y="3644444"/>
                </a:cubicBezTo>
                <a:cubicBezTo>
                  <a:pt x="950707" y="3635291"/>
                  <a:pt x="960656" y="3626934"/>
                  <a:pt x="972197" y="3617781"/>
                </a:cubicBezTo>
                <a:cubicBezTo>
                  <a:pt x="963840" y="3607435"/>
                  <a:pt x="956676" y="3598282"/>
                  <a:pt x="947922" y="3587537"/>
                </a:cubicBezTo>
                <a:close/>
                <a:moveTo>
                  <a:pt x="3303797" y="3572017"/>
                </a:moveTo>
                <a:cubicBezTo>
                  <a:pt x="3294246" y="3581568"/>
                  <a:pt x="3286287" y="3589527"/>
                  <a:pt x="3277532" y="3598282"/>
                </a:cubicBezTo>
                <a:cubicBezTo>
                  <a:pt x="3285491" y="3606639"/>
                  <a:pt x="3291858" y="3613802"/>
                  <a:pt x="3299021" y="3620965"/>
                </a:cubicBezTo>
                <a:cubicBezTo>
                  <a:pt x="3308572" y="3612210"/>
                  <a:pt x="3316929" y="3603853"/>
                  <a:pt x="3325286" y="3595496"/>
                </a:cubicBezTo>
                <a:cubicBezTo>
                  <a:pt x="3318123" y="3587935"/>
                  <a:pt x="3312154" y="3581170"/>
                  <a:pt x="3303797" y="3572017"/>
                </a:cubicBezTo>
                <a:close/>
                <a:moveTo>
                  <a:pt x="951901" y="3509538"/>
                </a:moveTo>
                <a:cubicBezTo>
                  <a:pt x="939565" y="3518691"/>
                  <a:pt x="929218" y="3526650"/>
                  <a:pt x="918075" y="3535007"/>
                </a:cubicBezTo>
                <a:cubicBezTo>
                  <a:pt x="926432" y="3545752"/>
                  <a:pt x="933197" y="3554905"/>
                  <a:pt x="941156" y="3565252"/>
                </a:cubicBezTo>
                <a:cubicBezTo>
                  <a:pt x="952697" y="3556099"/>
                  <a:pt x="963044" y="3547742"/>
                  <a:pt x="974186" y="3539385"/>
                </a:cubicBezTo>
                <a:cubicBezTo>
                  <a:pt x="966625" y="3529436"/>
                  <a:pt x="960258" y="3520681"/>
                  <a:pt x="951901" y="3509538"/>
                </a:cubicBezTo>
                <a:close/>
                <a:moveTo>
                  <a:pt x="1078848" y="3484070"/>
                </a:moveTo>
                <a:cubicBezTo>
                  <a:pt x="1067705" y="3493222"/>
                  <a:pt x="1057358" y="3501181"/>
                  <a:pt x="1046216" y="3510334"/>
                </a:cubicBezTo>
                <a:cubicBezTo>
                  <a:pt x="1053777" y="3519885"/>
                  <a:pt x="1060542" y="3528640"/>
                  <a:pt x="1068501" y="3538191"/>
                </a:cubicBezTo>
                <a:cubicBezTo>
                  <a:pt x="1079644" y="3528640"/>
                  <a:pt x="1089990" y="3519885"/>
                  <a:pt x="1100337" y="3510732"/>
                </a:cubicBezTo>
                <a:cubicBezTo>
                  <a:pt x="1092776" y="3500784"/>
                  <a:pt x="1086011" y="3492825"/>
                  <a:pt x="1078848" y="3484070"/>
                </a:cubicBezTo>
                <a:close/>
                <a:moveTo>
                  <a:pt x="1236437" y="3478896"/>
                </a:moveTo>
                <a:cubicBezTo>
                  <a:pt x="1234447" y="3481284"/>
                  <a:pt x="1232457" y="3483274"/>
                  <a:pt x="1230467" y="3485263"/>
                </a:cubicBezTo>
                <a:cubicBezTo>
                  <a:pt x="1243202" y="3498794"/>
                  <a:pt x="1255936" y="3511926"/>
                  <a:pt x="1268671" y="3525456"/>
                </a:cubicBezTo>
                <a:cubicBezTo>
                  <a:pt x="1271059" y="3523069"/>
                  <a:pt x="1273446" y="3520681"/>
                  <a:pt x="1275436" y="3518293"/>
                </a:cubicBezTo>
                <a:cubicBezTo>
                  <a:pt x="1262304" y="3505161"/>
                  <a:pt x="1249569" y="3492029"/>
                  <a:pt x="1236437" y="3478896"/>
                </a:cubicBezTo>
                <a:close/>
                <a:moveTo>
                  <a:pt x="957074" y="3412836"/>
                </a:moveTo>
                <a:cubicBezTo>
                  <a:pt x="944340" y="3421591"/>
                  <a:pt x="933993" y="3428754"/>
                  <a:pt x="922453" y="3436713"/>
                </a:cubicBezTo>
                <a:cubicBezTo>
                  <a:pt x="930014" y="3447856"/>
                  <a:pt x="935983" y="3456611"/>
                  <a:pt x="943146" y="3466958"/>
                </a:cubicBezTo>
                <a:cubicBezTo>
                  <a:pt x="954687" y="3458601"/>
                  <a:pt x="965431" y="3451040"/>
                  <a:pt x="977370" y="3442682"/>
                </a:cubicBezTo>
                <a:cubicBezTo>
                  <a:pt x="970605" y="3432734"/>
                  <a:pt x="964636" y="3423979"/>
                  <a:pt x="957074" y="3412836"/>
                </a:cubicBezTo>
                <a:close/>
                <a:moveTo>
                  <a:pt x="3465366" y="3410050"/>
                </a:moveTo>
                <a:cubicBezTo>
                  <a:pt x="3430744" y="3452233"/>
                  <a:pt x="3397316" y="3493222"/>
                  <a:pt x="3363092" y="3535405"/>
                </a:cubicBezTo>
                <a:cubicBezTo>
                  <a:pt x="3341205" y="3515906"/>
                  <a:pt x="3320909" y="3498396"/>
                  <a:pt x="3300613" y="3480090"/>
                </a:cubicBezTo>
                <a:cubicBezTo>
                  <a:pt x="3292654" y="3488447"/>
                  <a:pt x="3286685" y="3495610"/>
                  <a:pt x="3278726" y="3503967"/>
                </a:cubicBezTo>
                <a:cubicBezTo>
                  <a:pt x="3393336" y="3612608"/>
                  <a:pt x="3505956" y="3720055"/>
                  <a:pt x="3619373" y="3826706"/>
                </a:cubicBezTo>
                <a:cubicBezTo>
                  <a:pt x="3623352" y="3830288"/>
                  <a:pt x="3633301" y="3831084"/>
                  <a:pt x="3638475" y="3829094"/>
                </a:cubicBezTo>
                <a:cubicBezTo>
                  <a:pt x="3659566" y="3820339"/>
                  <a:pt x="3680260" y="3809992"/>
                  <a:pt x="3701351" y="3800043"/>
                </a:cubicBezTo>
                <a:cubicBezTo>
                  <a:pt x="3700157" y="3798849"/>
                  <a:pt x="3698565" y="3797258"/>
                  <a:pt x="3697372" y="3796064"/>
                </a:cubicBezTo>
                <a:cubicBezTo>
                  <a:pt x="3700555" y="3788901"/>
                  <a:pt x="3702545" y="3781340"/>
                  <a:pt x="3706922" y="3775370"/>
                </a:cubicBezTo>
                <a:cubicBezTo>
                  <a:pt x="3731993" y="3743136"/>
                  <a:pt x="3758258" y="3711698"/>
                  <a:pt x="3785319" y="3678270"/>
                </a:cubicBezTo>
                <a:cubicBezTo>
                  <a:pt x="3778952" y="3674291"/>
                  <a:pt x="3774176" y="3671505"/>
                  <a:pt x="3769799" y="3668719"/>
                </a:cubicBezTo>
                <a:cubicBezTo>
                  <a:pt x="3738758" y="3707320"/>
                  <a:pt x="3708514" y="3743932"/>
                  <a:pt x="3677474" y="3782135"/>
                </a:cubicBezTo>
                <a:cubicBezTo>
                  <a:pt x="3655984" y="3762636"/>
                  <a:pt x="3635689" y="3745126"/>
                  <a:pt x="3615393" y="3727218"/>
                </a:cubicBezTo>
                <a:cubicBezTo>
                  <a:pt x="3644842" y="3691402"/>
                  <a:pt x="3673096" y="3656383"/>
                  <a:pt x="3700555" y="3622159"/>
                </a:cubicBezTo>
                <a:cubicBezTo>
                  <a:pt x="3691402" y="3609026"/>
                  <a:pt x="3686229" y="3613006"/>
                  <a:pt x="3679464" y="3621363"/>
                </a:cubicBezTo>
                <a:cubicBezTo>
                  <a:pt x="3653199" y="3654791"/>
                  <a:pt x="3626138" y="3687423"/>
                  <a:pt x="3598679" y="3721647"/>
                </a:cubicBezTo>
                <a:cubicBezTo>
                  <a:pt x="3575996" y="3701749"/>
                  <a:pt x="3555700" y="3683443"/>
                  <a:pt x="3534211" y="3664740"/>
                </a:cubicBezTo>
                <a:cubicBezTo>
                  <a:pt x="3539782" y="3657576"/>
                  <a:pt x="3544558" y="3652005"/>
                  <a:pt x="3548936" y="3646434"/>
                </a:cubicBezTo>
                <a:cubicBezTo>
                  <a:pt x="3570823" y="3619771"/>
                  <a:pt x="3592710" y="3593108"/>
                  <a:pt x="3613802" y="3566048"/>
                </a:cubicBezTo>
                <a:cubicBezTo>
                  <a:pt x="3616985" y="3562068"/>
                  <a:pt x="3615791" y="3555303"/>
                  <a:pt x="3616587" y="3549732"/>
                </a:cubicBezTo>
                <a:cubicBezTo>
                  <a:pt x="3614598" y="3549732"/>
                  <a:pt x="3612608" y="3549333"/>
                  <a:pt x="3610618" y="3548936"/>
                </a:cubicBezTo>
                <a:cubicBezTo>
                  <a:pt x="3580374" y="3585547"/>
                  <a:pt x="3550129" y="3622159"/>
                  <a:pt x="3519089" y="3659566"/>
                </a:cubicBezTo>
                <a:cubicBezTo>
                  <a:pt x="3496008" y="3638873"/>
                  <a:pt x="3474916" y="3620169"/>
                  <a:pt x="3454621" y="3601863"/>
                </a:cubicBezTo>
                <a:cubicBezTo>
                  <a:pt x="3483273" y="3566048"/>
                  <a:pt x="3510334" y="3532620"/>
                  <a:pt x="3536997" y="3498794"/>
                </a:cubicBezTo>
                <a:cubicBezTo>
                  <a:pt x="3540181" y="3494814"/>
                  <a:pt x="3540578" y="3488447"/>
                  <a:pt x="3542568" y="3483274"/>
                </a:cubicBezTo>
                <a:cubicBezTo>
                  <a:pt x="3540578" y="3482478"/>
                  <a:pt x="3538987" y="3481682"/>
                  <a:pt x="3536997" y="3480886"/>
                </a:cubicBezTo>
                <a:cubicBezTo>
                  <a:pt x="3505161" y="3519487"/>
                  <a:pt x="3473325" y="3558088"/>
                  <a:pt x="3440693" y="3597884"/>
                </a:cubicBezTo>
                <a:cubicBezTo>
                  <a:pt x="3417213" y="3577190"/>
                  <a:pt x="3395724" y="3557691"/>
                  <a:pt x="3373837" y="3538191"/>
                </a:cubicBezTo>
                <a:cubicBezTo>
                  <a:pt x="3392540" y="3515906"/>
                  <a:pt x="3409652" y="3496008"/>
                  <a:pt x="3426366" y="3475315"/>
                </a:cubicBezTo>
                <a:cubicBezTo>
                  <a:pt x="3468151" y="3423183"/>
                  <a:pt x="3468151" y="3423183"/>
                  <a:pt x="3465366" y="3410050"/>
                </a:cubicBezTo>
                <a:close/>
                <a:moveTo>
                  <a:pt x="1053777" y="3369459"/>
                </a:moveTo>
                <a:cubicBezTo>
                  <a:pt x="1042236" y="3377418"/>
                  <a:pt x="1031491" y="3384582"/>
                  <a:pt x="1019155" y="3392938"/>
                </a:cubicBezTo>
                <a:cubicBezTo>
                  <a:pt x="1026716" y="3403285"/>
                  <a:pt x="1032287" y="3411642"/>
                  <a:pt x="1039053" y="3421193"/>
                </a:cubicBezTo>
                <a:cubicBezTo>
                  <a:pt x="1050991" y="3412438"/>
                  <a:pt x="1061736" y="3404877"/>
                  <a:pt x="1072879" y="3396520"/>
                </a:cubicBezTo>
                <a:cubicBezTo>
                  <a:pt x="1066511" y="3387367"/>
                  <a:pt x="1060542" y="3379010"/>
                  <a:pt x="1053777" y="3369459"/>
                </a:cubicBezTo>
                <a:close/>
                <a:moveTo>
                  <a:pt x="3675484" y="3152177"/>
                </a:moveTo>
                <a:cubicBezTo>
                  <a:pt x="3672698" y="3158943"/>
                  <a:pt x="3670311" y="3164116"/>
                  <a:pt x="3667127" y="3170085"/>
                </a:cubicBezTo>
                <a:cubicBezTo>
                  <a:pt x="3675086" y="3173269"/>
                  <a:pt x="3681851" y="3176453"/>
                  <a:pt x="3689412" y="3179636"/>
                </a:cubicBezTo>
                <a:cubicBezTo>
                  <a:pt x="3692596" y="3173269"/>
                  <a:pt x="3694586" y="3168494"/>
                  <a:pt x="3697769" y="3161330"/>
                </a:cubicBezTo>
                <a:cubicBezTo>
                  <a:pt x="3689412" y="3157749"/>
                  <a:pt x="3683045" y="3155361"/>
                  <a:pt x="3675484" y="3152177"/>
                </a:cubicBezTo>
                <a:close/>
                <a:moveTo>
                  <a:pt x="784363" y="3125913"/>
                </a:moveTo>
                <a:cubicBezTo>
                  <a:pt x="781180" y="3135066"/>
                  <a:pt x="777996" y="3139443"/>
                  <a:pt x="779190" y="3141831"/>
                </a:cubicBezTo>
                <a:cubicBezTo>
                  <a:pt x="792720" y="3173269"/>
                  <a:pt x="806649" y="3204707"/>
                  <a:pt x="820577" y="3236146"/>
                </a:cubicBezTo>
                <a:cubicBezTo>
                  <a:pt x="821771" y="3238931"/>
                  <a:pt x="826148" y="3240125"/>
                  <a:pt x="828934" y="3242115"/>
                </a:cubicBezTo>
                <a:cubicBezTo>
                  <a:pt x="829730" y="3238931"/>
                  <a:pt x="832515" y="3234951"/>
                  <a:pt x="831322" y="3232166"/>
                </a:cubicBezTo>
                <a:cubicBezTo>
                  <a:pt x="816995" y="3198738"/>
                  <a:pt x="801873" y="3165310"/>
                  <a:pt x="784363" y="3125913"/>
                </a:cubicBezTo>
                <a:close/>
                <a:moveTo>
                  <a:pt x="3741146" y="3119943"/>
                </a:moveTo>
                <a:cubicBezTo>
                  <a:pt x="3738361" y="3126311"/>
                  <a:pt x="3735973" y="3131484"/>
                  <a:pt x="3732789" y="3138647"/>
                </a:cubicBezTo>
                <a:cubicBezTo>
                  <a:pt x="3741544" y="3142229"/>
                  <a:pt x="3748309" y="3144617"/>
                  <a:pt x="3755871" y="3147800"/>
                </a:cubicBezTo>
                <a:cubicBezTo>
                  <a:pt x="3758258" y="3140637"/>
                  <a:pt x="3760646" y="3135066"/>
                  <a:pt x="3763034" y="3128300"/>
                </a:cubicBezTo>
                <a:cubicBezTo>
                  <a:pt x="3755075" y="3125117"/>
                  <a:pt x="3748707" y="3122729"/>
                  <a:pt x="3741146" y="3119943"/>
                </a:cubicBezTo>
                <a:close/>
                <a:moveTo>
                  <a:pt x="828536" y="3115964"/>
                </a:moveTo>
                <a:cubicBezTo>
                  <a:pt x="825352" y="3116760"/>
                  <a:pt x="822567" y="3117556"/>
                  <a:pt x="819781" y="3118352"/>
                </a:cubicBezTo>
                <a:cubicBezTo>
                  <a:pt x="825750" y="3150188"/>
                  <a:pt x="843260" y="3178044"/>
                  <a:pt x="855597" y="3207891"/>
                </a:cubicBezTo>
                <a:cubicBezTo>
                  <a:pt x="857984" y="3213860"/>
                  <a:pt x="863158" y="3218636"/>
                  <a:pt x="867137" y="3224207"/>
                </a:cubicBezTo>
                <a:cubicBezTo>
                  <a:pt x="869525" y="3223013"/>
                  <a:pt x="871515" y="3221421"/>
                  <a:pt x="873505" y="3219829"/>
                </a:cubicBezTo>
                <a:cubicBezTo>
                  <a:pt x="858780" y="3185207"/>
                  <a:pt x="843658" y="3150586"/>
                  <a:pt x="828536" y="3115964"/>
                </a:cubicBezTo>
                <a:close/>
                <a:moveTo>
                  <a:pt x="3607335" y="3108154"/>
                </a:moveTo>
                <a:cubicBezTo>
                  <a:pt x="3602460" y="3108005"/>
                  <a:pt x="3598481" y="3111786"/>
                  <a:pt x="3595894" y="3123923"/>
                </a:cubicBezTo>
                <a:cubicBezTo>
                  <a:pt x="3603057" y="3127107"/>
                  <a:pt x="3609424" y="3129892"/>
                  <a:pt x="3617383" y="3133076"/>
                </a:cubicBezTo>
                <a:cubicBezTo>
                  <a:pt x="3619771" y="3126709"/>
                  <a:pt x="3622159" y="3121535"/>
                  <a:pt x="3624148" y="3115964"/>
                </a:cubicBezTo>
                <a:cubicBezTo>
                  <a:pt x="3617980" y="3112383"/>
                  <a:pt x="3612210" y="3108304"/>
                  <a:pt x="3607335" y="3108154"/>
                </a:cubicBezTo>
                <a:close/>
                <a:moveTo>
                  <a:pt x="903351" y="3093679"/>
                </a:moveTo>
                <a:cubicBezTo>
                  <a:pt x="901361" y="3094474"/>
                  <a:pt x="899371" y="3095668"/>
                  <a:pt x="897382" y="3096464"/>
                </a:cubicBezTo>
                <a:cubicBezTo>
                  <a:pt x="927228" y="3157749"/>
                  <a:pt x="956676" y="3218636"/>
                  <a:pt x="986523" y="3279920"/>
                </a:cubicBezTo>
                <a:cubicBezTo>
                  <a:pt x="988513" y="3278726"/>
                  <a:pt x="990502" y="3277930"/>
                  <a:pt x="992492" y="3277135"/>
                </a:cubicBezTo>
                <a:cubicBezTo>
                  <a:pt x="962646" y="3215850"/>
                  <a:pt x="933197" y="3154963"/>
                  <a:pt x="903351" y="3093679"/>
                </a:cubicBezTo>
                <a:close/>
                <a:moveTo>
                  <a:pt x="3796461" y="3085322"/>
                </a:moveTo>
                <a:cubicBezTo>
                  <a:pt x="3794074" y="3093281"/>
                  <a:pt x="3792084" y="3099250"/>
                  <a:pt x="3790094" y="3106015"/>
                </a:cubicBezTo>
                <a:cubicBezTo>
                  <a:pt x="3798849" y="3108801"/>
                  <a:pt x="3804819" y="3110791"/>
                  <a:pt x="3812379" y="3113576"/>
                </a:cubicBezTo>
                <a:cubicBezTo>
                  <a:pt x="3814767" y="3106811"/>
                  <a:pt x="3816757" y="3100842"/>
                  <a:pt x="3819543" y="3093679"/>
                </a:cubicBezTo>
                <a:cubicBezTo>
                  <a:pt x="3811584" y="3090893"/>
                  <a:pt x="3805216" y="3088505"/>
                  <a:pt x="3796461" y="3085322"/>
                </a:cubicBezTo>
                <a:close/>
                <a:moveTo>
                  <a:pt x="975778" y="3063036"/>
                </a:moveTo>
                <a:cubicBezTo>
                  <a:pt x="973390" y="3064230"/>
                  <a:pt x="971401" y="3065026"/>
                  <a:pt x="969013" y="3066220"/>
                </a:cubicBezTo>
                <a:cubicBezTo>
                  <a:pt x="991696" y="3115566"/>
                  <a:pt x="1013982" y="3164514"/>
                  <a:pt x="1037063" y="3215054"/>
                </a:cubicBezTo>
                <a:cubicBezTo>
                  <a:pt x="1030298" y="3218636"/>
                  <a:pt x="1023532" y="3222217"/>
                  <a:pt x="1013584" y="3227788"/>
                </a:cubicBezTo>
                <a:cubicBezTo>
                  <a:pt x="989706" y="3176453"/>
                  <a:pt x="966227" y="3126311"/>
                  <a:pt x="942748" y="3076169"/>
                </a:cubicBezTo>
                <a:cubicBezTo>
                  <a:pt x="940758" y="3077363"/>
                  <a:pt x="938371" y="3078159"/>
                  <a:pt x="936381" y="3079352"/>
                </a:cubicBezTo>
                <a:cubicBezTo>
                  <a:pt x="958666" y="3142627"/>
                  <a:pt x="989706" y="3201524"/>
                  <a:pt x="1023134" y="3261216"/>
                </a:cubicBezTo>
                <a:cubicBezTo>
                  <a:pt x="1037461" y="3252461"/>
                  <a:pt x="1049797" y="3245298"/>
                  <a:pt x="1060940" y="3238533"/>
                </a:cubicBezTo>
                <a:cubicBezTo>
                  <a:pt x="1031889" y="3178442"/>
                  <a:pt x="1004033" y="3120739"/>
                  <a:pt x="975778" y="3063036"/>
                </a:cubicBezTo>
                <a:close/>
                <a:moveTo>
                  <a:pt x="734221" y="3062240"/>
                </a:moveTo>
                <a:cubicBezTo>
                  <a:pt x="726262" y="3064628"/>
                  <a:pt x="720293" y="3066618"/>
                  <a:pt x="711538" y="3069801"/>
                </a:cubicBezTo>
                <a:cubicBezTo>
                  <a:pt x="714722" y="3077363"/>
                  <a:pt x="716711" y="3083332"/>
                  <a:pt x="719497" y="3089699"/>
                </a:cubicBezTo>
                <a:cubicBezTo>
                  <a:pt x="727854" y="3086515"/>
                  <a:pt x="734221" y="3084128"/>
                  <a:pt x="742180" y="3081342"/>
                </a:cubicBezTo>
                <a:cubicBezTo>
                  <a:pt x="739395" y="3074179"/>
                  <a:pt x="737007" y="3068608"/>
                  <a:pt x="734221" y="3062240"/>
                </a:cubicBezTo>
                <a:close/>
                <a:moveTo>
                  <a:pt x="3673842" y="3042592"/>
                </a:moveTo>
                <a:cubicBezTo>
                  <a:pt x="3668918" y="3042841"/>
                  <a:pt x="3665336" y="3046920"/>
                  <a:pt x="3663943" y="3059057"/>
                </a:cubicBezTo>
                <a:cubicBezTo>
                  <a:pt x="3671107" y="3061842"/>
                  <a:pt x="3677474" y="3064230"/>
                  <a:pt x="3685831" y="3067414"/>
                </a:cubicBezTo>
                <a:cubicBezTo>
                  <a:pt x="3687821" y="3060649"/>
                  <a:pt x="3689810" y="3055077"/>
                  <a:pt x="3691800" y="3049108"/>
                </a:cubicBezTo>
                <a:cubicBezTo>
                  <a:pt x="3685035" y="3045925"/>
                  <a:pt x="3678767" y="3042343"/>
                  <a:pt x="3673842" y="3042592"/>
                </a:cubicBezTo>
                <a:close/>
                <a:moveTo>
                  <a:pt x="862760" y="3018466"/>
                </a:moveTo>
                <a:cubicBezTo>
                  <a:pt x="854005" y="3021649"/>
                  <a:pt x="847638" y="3024037"/>
                  <a:pt x="840077" y="3027221"/>
                </a:cubicBezTo>
                <a:cubicBezTo>
                  <a:pt x="842862" y="3033986"/>
                  <a:pt x="845250" y="3039159"/>
                  <a:pt x="847638" y="3045129"/>
                </a:cubicBezTo>
                <a:cubicBezTo>
                  <a:pt x="855597" y="3041945"/>
                  <a:pt x="861964" y="3039557"/>
                  <a:pt x="869525" y="3036374"/>
                </a:cubicBezTo>
                <a:cubicBezTo>
                  <a:pt x="867137" y="3030404"/>
                  <a:pt x="865545" y="3025629"/>
                  <a:pt x="862760" y="3018466"/>
                </a:cubicBezTo>
                <a:close/>
                <a:moveTo>
                  <a:pt x="755711" y="2994986"/>
                </a:moveTo>
                <a:cubicBezTo>
                  <a:pt x="747354" y="2997772"/>
                  <a:pt x="740589" y="2999762"/>
                  <a:pt x="732630" y="3002548"/>
                </a:cubicBezTo>
                <a:cubicBezTo>
                  <a:pt x="735415" y="3009711"/>
                  <a:pt x="737405" y="3015282"/>
                  <a:pt x="739793" y="3022047"/>
                </a:cubicBezTo>
                <a:cubicBezTo>
                  <a:pt x="748150" y="3019262"/>
                  <a:pt x="754915" y="3016874"/>
                  <a:pt x="761680" y="3014884"/>
                </a:cubicBezTo>
                <a:cubicBezTo>
                  <a:pt x="759690" y="3008119"/>
                  <a:pt x="758098" y="3002946"/>
                  <a:pt x="755711" y="2994986"/>
                </a:cubicBezTo>
                <a:close/>
                <a:moveTo>
                  <a:pt x="936182" y="2987376"/>
                </a:moveTo>
                <a:cubicBezTo>
                  <a:pt x="932800" y="2986331"/>
                  <a:pt x="927228" y="2989216"/>
                  <a:pt x="916085" y="2994986"/>
                </a:cubicBezTo>
                <a:cubicBezTo>
                  <a:pt x="918075" y="2999762"/>
                  <a:pt x="920065" y="3004935"/>
                  <a:pt x="922453" y="3010905"/>
                </a:cubicBezTo>
                <a:cubicBezTo>
                  <a:pt x="930412" y="3008119"/>
                  <a:pt x="936779" y="3005731"/>
                  <a:pt x="943146" y="3003344"/>
                </a:cubicBezTo>
                <a:cubicBezTo>
                  <a:pt x="940759" y="2993395"/>
                  <a:pt x="939565" y="2988421"/>
                  <a:pt x="936182" y="2987376"/>
                </a:cubicBezTo>
                <a:close/>
                <a:moveTo>
                  <a:pt x="695620" y="2958375"/>
                </a:moveTo>
                <a:cubicBezTo>
                  <a:pt x="687263" y="2961161"/>
                  <a:pt x="680498" y="2963150"/>
                  <a:pt x="672937" y="2965538"/>
                </a:cubicBezTo>
                <a:cubicBezTo>
                  <a:pt x="675324" y="2972701"/>
                  <a:pt x="676916" y="2978272"/>
                  <a:pt x="679304" y="2985834"/>
                </a:cubicBezTo>
                <a:cubicBezTo>
                  <a:pt x="688059" y="2983048"/>
                  <a:pt x="694824" y="2981058"/>
                  <a:pt x="702783" y="2978272"/>
                </a:cubicBezTo>
                <a:cubicBezTo>
                  <a:pt x="699997" y="2971109"/>
                  <a:pt x="698008" y="2965140"/>
                  <a:pt x="695620" y="2958375"/>
                </a:cubicBezTo>
                <a:close/>
                <a:moveTo>
                  <a:pt x="787149" y="2935294"/>
                </a:moveTo>
                <a:cubicBezTo>
                  <a:pt x="780384" y="2937283"/>
                  <a:pt x="773619" y="2938875"/>
                  <a:pt x="766058" y="2941263"/>
                </a:cubicBezTo>
                <a:cubicBezTo>
                  <a:pt x="768047" y="2948028"/>
                  <a:pt x="769639" y="2953202"/>
                  <a:pt x="771231" y="2960365"/>
                </a:cubicBezTo>
                <a:cubicBezTo>
                  <a:pt x="787547" y="2957181"/>
                  <a:pt x="801077" y="2955191"/>
                  <a:pt x="787149" y="2935294"/>
                </a:cubicBezTo>
                <a:close/>
                <a:moveTo>
                  <a:pt x="875096" y="2926141"/>
                </a:moveTo>
                <a:cubicBezTo>
                  <a:pt x="867137" y="2928528"/>
                  <a:pt x="860372" y="2930518"/>
                  <a:pt x="852811" y="2932508"/>
                </a:cubicBezTo>
                <a:cubicBezTo>
                  <a:pt x="854005" y="2938477"/>
                  <a:pt x="855199" y="2943253"/>
                  <a:pt x="856791" y="2950814"/>
                </a:cubicBezTo>
                <a:cubicBezTo>
                  <a:pt x="865545" y="2948426"/>
                  <a:pt x="872311" y="2946436"/>
                  <a:pt x="880270" y="2944447"/>
                </a:cubicBezTo>
                <a:cubicBezTo>
                  <a:pt x="878678" y="2937682"/>
                  <a:pt x="877086" y="2932508"/>
                  <a:pt x="875096" y="2926141"/>
                </a:cubicBezTo>
                <a:close/>
                <a:moveTo>
                  <a:pt x="3823920" y="2903060"/>
                </a:moveTo>
                <a:cubicBezTo>
                  <a:pt x="3813175" y="2943253"/>
                  <a:pt x="3803227" y="2980660"/>
                  <a:pt x="3792084" y="3022047"/>
                </a:cubicBezTo>
                <a:cubicBezTo>
                  <a:pt x="3812379" y="3010905"/>
                  <a:pt x="3836655" y="2916192"/>
                  <a:pt x="3823920" y="2903060"/>
                </a:cubicBezTo>
                <a:close/>
                <a:moveTo>
                  <a:pt x="3792880" y="2894305"/>
                </a:moveTo>
                <a:cubicBezTo>
                  <a:pt x="3784921" y="2896692"/>
                  <a:pt x="3780145" y="2897090"/>
                  <a:pt x="3779748" y="2898682"/>
                </a:cubicBezTo>
                <a:cubicBezTo>
                  <a:pt x="3769799" y="2933304"/>
                  <a:pt x="3760646" y="2967528"/>
                  <a:pt x="3751493" y="3002150"/>
                </a:cubicBezTo>
                <a:cubicBezTo>
                  <a:pt x="3751095" y="3004537"/>
                  <a:pt x="3753881" y="3007721"/>
                  <a:pt x="3755075" y="3010507"/>
                </a:cubicBezTo>
                <a:cubicBezTo>
                  <a:pt x="3757462" y="3009711"/>
                  <a:pt x="3759850" y="3008517"/>
                  <a:pt x="3762238" y="3007721"/>
                </a:cubicBezTo>
                <a:cubicBezTo>
                  <a:pt x="3772186" y="2971109"/>
                  <a:pt x="3782135" y="2934498"/>
                  <a:pt x="3792880" y="2894305"/>
                </a:cubicBezTo>
                <a:close/>
                <a:moveTo>
                  <a:pt x="3723238" y="2776909"/>
                </a:moveTo>
                <a:cubicBezTo>
                  <a:pt x="3708116" y="2842969"/>
                  <a:pt x="3692994" y="2909029"/>
                  <a:pt x="3677872" y="2975089"/>
                </a:cubicBezTo>
                <a:cubicBezTo>
                  <a:pt x="3679862" y="2975487"/>
                  <a:pt x="3682249" y="2976283"/>
                  <a:pt x="3684239" y="2976681"/>
                </a:cubicBezTo>
                <a:cubicBezTo>
                  <a:pt x="3699759" y="2910621"/>
                  <a:pt x="3714881" y="2844959"/>
                  <a:pt x="3730004" y="2778899"/>
                </a:cubicBezTo>
                <a:cubicBezTo>
                  <a:pt x="3727616" y="2778103"/>
                  <a:pt x="3725626" y="2777307"/>
                  <a:pt x="3723238" y="2776909"/>
                </a:cubicBezTo>
                <a:close/>
                <a:moveTo>
                  <a:pt x="3684239" y="2770144"/>
                </a:moveTo>
                <a:cubicBezTo>
                  <a:pt x="3669515" y="2834612"/>
                  <a:pt x="3654791" y="2899080"/>
                  <a:pt x="3639270" y="2966334"/>
                </a:cubicBezTo>
                <a:cubicBezTo>
                  <a:pt x="3657576" y="2940865"/>
                  <a:pt x="3691402" y="2788051"/>
                  <a:pt x="3684239" y="2770144"/>
                </a:cubicBezTo>
                <a:close/>
                <a:moveTo>
                  <a:pt x="3803227" y="2767358"/>
                </a:moveTo>
                <a:cubicBezTo>
                  <a:pt x="3796860" y="2804368"/>
                  <a:pt x="3790492" y="2841377"/>
                  <a:pt x="3785319" y="2872019"/>
                </a:cubicBezTo>
                <a:cubicBezTo>
                  <a:pt x="3804420" y="2875999"/>
                  <a:pt x="3819145" y="2879183"/>
                  <a:pt x="3833869" y="2882366"/>
                </a:cubicBezTo>
                <a:cubicBezTo>
                  <a:pt x="3833471" y="2883560"/>
                  <a:pt x="3833073" y="2884356"/>
                  <a:pt x="3832675" y="2885152"/>
                </a:cubicBezTo>
                <a:cubicBezTo>
                  <a:pt x="3845012" y="2885152"/>
                  <a:pt x="3856950" y="2885152"/>
                  <a:pt x="3872868" y="2885152"/>
                </a:cubicBezTo>
                <a:cubicBezTo>
                  <a:pt x="3859736" y="2936090"/>
                  <a:pt x="3847797" y="2983446"/>
                  <a:pt x="3835461" y="3030802"/>
                </a:cubicBezTo>
                <a:cubicBezTo>
                  <a:pt x="3852971" y="3036374"/>
                  <a:pt x="3869287" y="3041945"/>
                  <a:pt x="3886001" y="3047516"/>
                </a:cubicBezTo>
                <a:cubicBezTo>
                  <a:pt x="3881225" y="3062638"/>
                  <a:pt x="3877246" y="3076169"/>
                  <a:pt x="3872868" y="3090495"/>
                </a:cubicBezTo>
                <a:cubicBezTo>
                  <a:pt x="3886797" y="3095668"/>
                  <a:pt x="3898735" y="3100444"/>
                  <a:pt x="3913062" y="3106015"/>
                </a:cubicBezTo>
                <a:cubicBezTo>
                  <a:pt x="3894756" y="3152576"/>
                  <a:pt x="3877246" y="3197146"/>
                  <a:pt x="3859338" y="3242513"/>
                </a:cubicBezTo>
                <a:cubicBezTo>
                  <a:pt x="3844216" y="3236146"/>
                  <a:pt x="3832277" y="3231370"/>
                  <a:pt x="3819941" y="3226197"/>
                </a:cubicBezTo>
                <a:cubicBezTo>
                  <a:pt x="3812379" y="3242115"/>
                  <a:pt x="3805614" y="3256441"/>
                  <a:pt x="3798053" y="3271961"/>
                </a:cubicBezTo>
                <a:cubicBezTo>
                  <a:pt x="3706922" y="3228584"/>
                  <a:pt x="3617383" y="3186003"/>
                  <a:pt x="3526252" y="3142627"/>
                </a:cubicBezTo>
                <a:cubicBezTo>
                  <a:pt x="3520283" y="3154963"/>
                  <a:pt x="3515110" y="3165708"/>
                  <a:pt x="3509140" y="3178044"/>
                </a:cubicBezTo>
                <a:cubicBezTo>
                  <a:pt x="3533813" y="3191177"/>
                  <a:pt x="3557292" y="3203115"/>
                  <a:pt x="3582761" y="3216646"/>
                </a:cubicBezTo>
                <a:cubicBezTo>
                  <a:pt x="3554905" y="3264798"/>
                  <a:pt x="3527844" y="3310960"/>
                  <a:pt x="3501181" y="3357123"/>
                </a:cubicBezTo>
                <a:cubicBezTo>
                  <a:pt x="3503171" y="3358715"/>
                  <a:pt x="3505559" y="3359908"/>
                  <a:pt x="3507548" y="3361102"/>
                </a:cubicBezTo>
                <a:cubicBezTo>
                  <a:pt x="3538589" y="3319317"/>
                  <a:pt x="3562466" y="3272359"/>
                  <a:pt x="3588731" y="3225799"/>
                </a:cubicBezTo>
                <a:cubicBezTo>
                  <a:pt x="3615393" y="3239727"/>
                  <a:pt x="3641260" y="3252859"/>
                  <a:pt x="3668321" y="3267186"/>
                </a:cubicBezTo>
                <a:cubicBezTo>
                  <a:pt x="3642454" y="3312552"/>
                  <a:pt x="3617383" y="3355929"/>
                  <a:pt x="3592312" y="3399306"/>
                </a:cubicBezTo>
                <a:cubicBezTo>
                  <a:pt x="3593506" y="3400897"/>
                  <a:pt x="3595098" y="3402489"/>
                  <a:pt x="3596292" y="3404081"/>
                </a:cubicBezTo>
                <a:cubicBezTo>
                  <a:pt x="3600669" y="3400500"/>
                  <a:pt x="3606240" y="3397714"/>
                  <a:pt x="3609026" y="3392938"/>
                </a:cubicBezTo>
                <a:cubicBezTo>
                  <a:pt x="3631709" y="3355133"/>
                  <a:pt x="3653995" y="3317328"/>
                  <a:pt x="3677076" y="3278328"/>
                </a:cubicBezTo>
                <a:cubicBezTo>
                  <a:pt x="3702943" y="3291859"/>
                  <a:pt x="3727616" y="3304991"/>
                  <a:pt x="3754279" y="3318919"/>
                </a:cubicBezTo>
                <a:cubicBezTo>
                  <a:pt x="3730799" y="3358715"/>
                  <a:pt x="3709310" y="3395724"/>
                  <a:pt x="3687423" y="3432734"/>
                </a:cubicBezTo>
                <a:cubicBezTo>
                  <a:pt x="3683443" y="3439897"/>
                  <a:pt x="3675882" y="3447856"/>
                  <a:pt x="3693790" y="3451437"/>
                </a:cubicBezTo>
                <a:cubicBezTo>
                  <a:pt x="3716871" y="3412040"/>
                  <a:pt x="3739952" y="3372245"/>
                  <a:pt x="3764227" y="3330858"/>
                </a:cubicBezTo>
                <a:cubicBezTo>
                  <a:pt x="3788900" y="3343990"/>
                  <a:pt x="3813175" y="3356725"/>
                  <a:pt x="3839440" y="3370653"/>
                </a:cubicBezTo>
                <a:cubicBezTo>
                  <a:pt x="3814767" y="3413234"/>
                  <a:pt x="3791288" y="3453825"/>
                  <a:pt x="3767411" y="3495212"/>
                </a:cubicBezTo>
                <a:cubicBezTo>
                  <a:pt x="3770993" y="3497600"/>
                  <a:pt x="3774574" y="3500385"/>
                  <a:pt x="3780543" y="3504763"/>
                </a:cubicBezTo>
                <a:cubicBezTo>
                  <a:pt x="3804819" y="3463376"/>
                  <a:pt x="3827900" y="3423979"/>
                  <a:pt x="3851379" y="3384183"/>
                </a:cubicBezTo>
                <a:cubicBezTo>
                  <a:pt x="3875654" y="3397316"/>
                  <a:pt x="3899133" y="3409652"/>
                  <a:pt x="3924602" y="3423183"/>
                </a:cubicBezTo>
                <a:cubicBezTo>
                  <a:pt x="3899531" y="3466958"/>
                  <a:pt x="3874858" y="3509140"/>
                  <a:pt x="3849787" y="3552517"/>
                </a:cubicBezTo>
                <a:cubicBezTo>
                  <a:pt x="3854563" y="3555701"/>
                  <a:pt x="3858940" y="3558487"/>
                  <a:pt x="3864909" y="3562466"/>
                </a:cubicBezTo>
                <a:cubicBezTo>
                  <a:pt x="3889582" y="3520681"/>
                  <a:pt x="3913459" y="3480488"/>
                  <a:pt x="3937734" y="3438305"/>
                </a:cubicBezTo>
                <a:cubicBezTo>
                  <a:pt x="3956438" y="3448254"/>
                  <a:pt x="3974346" y="3457407"/>
                  <a:pt x="3992254" y="3466560"/>
                </a:cubicBezTo>
                <a:cubicBezTo>
                  <a:pt x="4111640" y="3201524"/>
                  <a:pt x="4029661" y="2884754"/>
                  <a:pt x="3803227" y="2767358"/>
                </a:cubicBezTo>
                <a:close/>
                <a:moveTo>
                  <a:pt x="3645638" y="2764970"/>
                </a:moveTo>
                <a:cubicBezTo>
                  <a:pt x="3631311" y="2827847"/>
                  <a:pt x="3616985" y="2889927"/>
                  <a:pt x="3602659" y="2952406"/>
                </a:cubicBezTo>
                <a:cubicBezTo>
                  <a:pt x="3622954" y="2914998"/>
                  <a:pt x="3651209" y="2783674"/>
                  <a:pt x="3645638" y="2764970"/>
                </a:cubicBezTo>
                <a:close/>
                <a:moveTo>
                  <a:pt x="805057" y="2683390"/>
                </a:moveTo>
                <a:cubicBezTo>
                  <a:pt x="802669" y="2683788"/>
                  <a:pt x="800281" y="2683788"/>
                  <a:pt x="798292" y="2684186"/>
                </a:cubicBezTo>
                <a:cubicBezTo>
                  <a:pt x="809036" y="2751042"/>
                  <a:pt x="820179" y="2818296"/>
                  <a:pt x="830924" y="2885152"/>
                </a:cubicBezTo>
                <a:cubicBezTo>
                  <a:pt x="832913" y="2884754"/>
                  <a:pt x="835301" y="2884356"/>
                  <a:pt x="837291" y="2883958"/>
                </a:cubicBezTo>
                <a:cubicBezTo>
                  <a:pt x="826546" y="2817102"/>
                  <a:pt x="815802" y="2750246"/>
                  <a:pt x="805057" y="2683390"/>
                </a:cubicBezTo>
                <a:close/>
                <a:moveTo>
                  <a:pt x="844454" y="2679808"/>
                </a:moveTo>
                <a:cubicBezTo>
                  <a:pt x="845250" y="2746665"/>
                  <a:pt x="855199" y="2811929"/>
                  <a:pt x="875892" y="2875203"/>
                </a:cubicBezTo>
                <a:cubicBezTo>
                  <a:pt x="865545" y="2810337"/>
                  <a:pt x="854801" y="2745073"/>
                  <a:pt x="844454" y="2679808"/>
                </a:cubicBezTo>
                <a:close/>
                <a:moveTo>
                  <a:pt x="883055" y="2676227"/>
                </a:moveTo>
                <a:cubicBezTo>
                  <a:pt x="877086" y="2709655"/>
                  <a:pt x="901361" y="2850132"/>
                  <a:pt x="913698" y="2866448"/>
                </a:cubicBezTo>
                <a:cubicBezTo>
                  <a:pt x="903351" y="2802776"/>
                  <a:pt x="893402" y="2739501"/>
                  <a:pt x="883055" y="2676227"/>
                </a:cubicBezTo>
                <a:close/>
                <a:moveTo>
                  <a:pt x="3626138" y="2225745"/>
                </a:moveTo>
                <a:cubicBezTo>
                  <a:pt x="3636485" y="2289418"/>
                  <a:pt x="3646434" y="2352692"/>
                  <a:pt x="3656780" y="2415966"/>
                </a:cubicBezTo>
                <a:cubicBezTo>
                  <a:pt x="3662750" y="2383334"/>
                  <a:pt x="3638475" y="2242061"/>
                  <a:pt x="3626138" y="2225745"/>
                </a:cubicBezTo>
                <a:close/>
                <a:moveTo>
                  <a:pt x="3671107" y="2215797"/>
                </a:moveTo>
                <a:cubicBezTo>
                  <a:pt x="3668719" y="2216194"/>
                  <a:pt x="3666331" y="2216593"/>
                  <a:pt x="3663943" y="2216990"/>
                </a:cubicBezTo>
                <a:cubicBezTo>
                  <a:pt x="3674290" y="2282255"/>
                  <a:pt x="3685035" y="2347121"/>
                  <a:pt x="3695382" y="2412385"/>
                </a:cubicBezTo>
                <a:cubicBezTo>
                  <a:pt x="3697769" y="2411987"/>
                  <a:pt x="3700157" y="2411589"/>
                  <a:pt x="3702545" y="2411191"/>
                </a:cubicBezTo>
                <a:cubicBezTo>
                  <a:pt x="3692198" y="2345927"/>
                  <a:pt x="3681453" y="2281061"/>
                  <a:pt x="3671107" y="2215797"/>
                </a:cubicBezTo>
                <a:close/>
                <a:moveTo>
                  <a:pt x="3709310" y="2207838"/>
                </a:moveTo>
                <a:cubicBezTo>
                  <a:pt x="3706922" y="2208235"/>
                  <a:pt x="3704932" y="2208235"/>
                  <a:pt x="3702545" y="2208634"/>
                </a:cubicBezTo>
                <a:cubicBezTo>
                  <a:pt x="3713290" y="2275489"/>
                  <a:pt x="3724034" y="2342345"/>
                  <a:pt x="3734779" y="2409201"/>
                </a:cubicBezTo>
                <a:cubicBezTo>
                  <a:pt x="3737167" y="2408803"/>
                  <a:pt x="3739554" y="2408405"/>
                  <a:pt x="3741544" y="2408007"/>
                </a:cubicBezTo>
                <a:cubicBezTo>
                  <a:pt x="3730799" y="2341151"/>
                  <a:pt x="3720055" y="2274693"/>
                  <a:pt x="3709310" y="2207838"/>
                </a:cubicBezTo>
                <a:close/>
                <a:moveTo>
                  <a:pt x="3682647" y="2141380"/>
                </a:moveTo>
                <a:cubicBezTo>
                  <a:pt x="3673892" y="2144165"/>
                  <a:pt x="3667127" y="2146155"/>
                  <a:pt x="3657576" y="2148941"/>
                </a:cubicBezTo>
                <a:cubicBezTo>
                  <a:pt x="3662352" y="2155706"/>
                  <a:pt x="3664739" y="2162869"/>
                  <a:pt x="3669117" y="2164063"/>
                </a:cubicBezTo>
                <a:cubicBezTo>
                  <a:pt x="3674290" y="2165655"/>
                  <a:pt x="3680657" y="2161675"/>
                  <a:pt x="3687821" y="2159685"/>
                </a:cubicBezTo>
                <a:cubicBezTo>
                  <a:pt x="3686229" y="2153318"/>
                  <a:pt x="3684637" y="2148543"/>
                  <a:pt x="3682647" y="2141380"/>
                </a:cubicBezTo>
                <a:close/>
                <a:moveTo>
                  <a:pt x="930412" y="2138594"/>
                </a:moveTo>
                <a:cubicBezTo>
                  <a:pt x="916085" y="2201072"/>
                  <a:pt x="901759" y="2263551"/>
                  <a:pt x="887433" y="2326029"/>
                </a:cubicBezTo>
                <a:cubicBezTo>
                  <a:pt x="889821" y="2326029"/>
                  <a:pt x="891810" y="2326427"/>
                  <a:pt x="894198" y="2326825"/>
                </a:cubicBezTo>
                <a:cubicBezTo>
                  <a:pt x="908524" y="2264745"/>
                  <a:pt x="922851" y="2202266"/>
                  <a:pt x="936779" y="2140186"/>
                </a:cubicBezTo>
                <a:cubicBezTo>
                  <a:pt x="934789" y="2139390"/>
                  <a:pt x="932401" y="2138992"/>
                  <a:pt x="930412" y="2138594"/>
                </a:cubicBezTo>
                <a:close/>
                <a:moveTo>
                  <a:pt x="3768207" y="2131033"/>
                </a:moveTo>
                <a:cubicBezTo>
                  <a:pt x="3759850" y="2133819"/>
                  <a:pt x="3753085" y="2135808"/>
                  <a:pt x="3744728" y="2138594"/>
                </a:cubicBezTo>
                <a:cubicBezTo>
                  <a:pt x="3747116" y="2145359"/>
                  <a:pt x="3749105" y="2151328"/>
                  <a:pt x="3751493" y="2157696"/>
                </a:cubicBezTo>
                <a:cubicBezTo>
                  <a:pt x="3760248" y="2154910"/>
                  <a:pt x="3766615" y="2152920"/>
                  <a:pt x="3773778" y="2150532"/>
                </a:cubicBezTo>
                <a:cubicBezTo>
                  <a:pt x="3771789" y="2143767"/>
                  <a:pt x="3770595" y="2138992"/>
                  <a:pt x="3768207" y="2131033"/>
                </a:cubicBezTo>
                <a:close/>
                <a:moveTo>
                  <a:pt x="899769" y="2128645"/>
                </a:moveTo>
                <a:cubicBezTo>
                  <a:pt x="875494" y="2191124"/>
                  <a:pt x="859974" y="2255194"/>
                  <a:pt x="855597" y="2322050"/>
                </a:cubicBezTo>
                <a:cubicBezTo>
                  <a:pt x="870321" y="2257979"/>
                  <a:pt x="885045" y="2193511"/>
                  <a:pt x="899769" y="2128645"/>
                </a:cubicBezTo>
                <a:close/>
                <a:moveTo>
                  <a:pt x="855199" y="2115911"/>
                </a:moveTo>
                <a:cubicBezTo>
                  <a:pt x="840077" y="2181971"/>
                  <a:pt x="824954" y="2247633"/>
                  <a:pt x="809832" y="2313693"/>
                </a:cubicBezTo>
                <a:cubicBezTo>
                  <a:pt x="812220" y="2314091"/>
                  <a:pt x="814210" y="2314489"/>
                  <a:pt x="816199" y="2315285"/>
                </a:cubicBezTo>
                <a:cubicBezTo>
                  <a:pt x="831322" y="2249623"/>
                  <a:pt x="846444" y="2183563"/>
                  <a:pt x="861566" y="2117502"/>
                </a:cubicBezTo>
                <a:cubicBezTo>
                  <a:pt x="859576" y="2117105"/>
                  <a:pt x="857188" y="2116309"/>
                  <a:pt x="855199" y="2115911"/>
                </a:cubicBezTo>
                <a:close/>
                <a:moveTo>
                  <a:pt x="3860532" y="2106758"/>
                </a:moveTo>
                <a:cubicBezTo>
                  <a:pt x="3852971" y="2108747"/>
                  <a:pt x="3846205" y="2110737"/>
                  <a:pt x="3837451" y="2113125"/>
                </a:cubicBezTo>
                <a:cubicBezTo>
                  <a:pt x="3839838" y="2121084"/>
                  <a:pt x="3841430" y="2126257"/>
                  <a:pt x="3843818" y="2133420"/>
                </a:cubicBezTo>
                <a:cubicBezTo>
                  <a:pt x="3852175" y="2131033"/>
                  <a:pt x="3858940" y="2129043"/>
                  <a:pt x="3867297" y="2126655"/>
                </a:cubicBezTo>
                <a:cubicBezTo>
                  <a:pt x="3864511" y="2119094"/>
                  <a:pt x="3862919" y="2113523"/>
                  <a:pt x="3860532" y="2106758"/>
                </a:cubicBezTo>
                <a:close/>
                <a:moveTo>
                  <a:pt x="3617383" y="2080891"/>
                </a:moveTo>
                <a:cubicBezTo>
                  <a:pt x="3609822" y="2084075"/>
                  <a:pt x="3603455" y="2086462"/>
                  <a:pt x="3591516" y="2090840"/>
                </a:cubicBezTo>
                <a:cubicBezTo>
                  <a:pt x="3598679" y="2096809"/>
                  <a:pt x="3602659" y="2102778"/>
                  <a:pt x="3607832" y="2103574"/>
                </a:cubicBezTo>
                <a:cubicBezTo>
                  <a:pt x="3612210" y="2104370"/>
                  <a:pt x="3618179" y="2099993"/>
                  <a:pt x="3624148" y="2097605"/>
                </a:cubicBezTo>
                <a:cubicBezTo>
                  <a:pt x="3621761" y="2091238"/>
                  <a:pt x="3619771" y="2086462"/>
                  <a:pt x="3617383" y="2080891"/>
                </a:cubicBezTo>
                <a:close/>
                <a:moveTo>
                  <a:pt x="778394" y="2080493"/>
                </a:moveTo>
                <a:cubicBezTo>
                  <a:pt x="767649" y="2121482"/>
                  <a:pt x="757700" y="2158094"/>
                  <a:pt x="747354" y="2197491"/>
                </a:cubicBezTo>
                <a:cubicBezTo>
                  <a:pt x="759292" y="2192317"/>
                  <a:pt x="788343" y="2110339"/>
                  <a:pt x="787945" y="2091635"/>
                </a:cubicBezTo>
                <a:cubicBezTo>
                  <a:pt x="787945" y="2089248"/>
                  <a:pt x="783567" y="2086462"/>
                  <a:pt x="778394" y="2080493"/>
                </a:cubicBezTo>
                <a:close/>
                <a:moveTo>
                  <a:pt x="737405" y="2071340"/>
                </a:moveTo>
                <a:cubicBezTo>
                  <a:pt x="724273" y="2104768"/>
                  <a:pt x="716314" y="2140186"/>
                  <a:pt x="707559" y="2175205"/>
                </a:cubicBezTo>
                <a:cubicBezTo>
                  <a:pt x="706763" y="2178787"/>
                  <a:pt x="709946" y="2183563"/>
                  <a:pt x="711140" y="2187940"/>
                </a:cubicBezTo>
                <a:cubicBezTo>
                  <a:pt x="712732" y="2187542"/>
                  <a:pt x="714722" y="2187542"/>
                  <a:pt x="716314" y="2187144"/>
                </a:cubicBezTo>
                <a:cubicBezTo>
                  <a:pt x="726660" y="2149339"/>
                  <a:pt x="736609" y="2111931"/>
                  <a:pt x="746956" y="2074126"/>
                </a:cubicBezTo>
                <a:cubicBezTo>
                  <a:pt x="743772" y="2072932"/>
                  <a:pt x="740589" y="2072136"/>
                  <a:pt x="737405" y="2071340"/>
                </a:cubicBezTo>
                <a:close/>
                <a:moveTo>
                  <a:pt x="3800441" y="2070146"/>
                </a:moveTo>
                <a:cubicBezTo>
                  <a:pt x="3791686" y="2072932"/>
                  <a:pt x="3784921" y="2074921"/>
                  <a:pt x="3776962" y="2077309"/>
                </a:cubicBezTo>
                <a:cubicBezTo>
                  <a:pt x="3779748" y="2084870"/>
                  <a:pt x="3781737" y="2090442"/>
                  <a:pt x="3784125" y="2097207"/>
                </a:cubicBezTo>
                <a:cubicBezTo>
                  <a:pt x="3792084" y="2094421"/>
                  <a:pt x="3798849" y="2092034"/>
                  <a:pt x="3806410" y="2089646"/>
                </a:cubicBezTo>
                <a:cubicBezTo>
                  <a:pt x="3804420" y="2083279"/>
                  <a:pt x="3802829" y="2077707"/>
                  <a:pt x="3800441" y="2070146"/>
                </a:cubicBezTo>
                <a:close/>
                <a:moveTo>
                  <a:pt x="3692994" y="2047065"/>
                </a:moveTo>
                <a:cubicBezTo>
                  <a:pt x="3685035" y="2050249"/>
                  <a:pt x="3678668" y="2052636"/>
                  <a:pt x="3671107" y="2055422"/>
                </a:cubicBezTo>
                <a:cubicBezTo>
                  <a:pt x="3673096" y="2061789"/>
                  <a:pt x="3675086" y="2066962"/>
                  <a:pt x="3677474" y="2073728"/>
                </a:cubicBezTo>
                <a:cubicBezTo>
                  <a:pt x="3685035" y="2070942"/>
                  <a:pt x="3691402" y="2068952"/>
                  <a:pt x="3700555" y="2065769"/>
                </a:cubicBezTo>
                <a:cubicBezTo>
                  <a:pt x="3697372" y="2058208"/>
                  <a:pt x="3695382" y="2053034"/>
                  <a:pt x="3692994" y="2047065"/>
                </a:cubicBezTo>
                <a:close/>
                <a:moveTo>
                  <a:pt x="854005" y="2025178"/>
                </a:moveTo>
                <a:cubicBezTo>
                  <a:pt x="851617" y="2031943"/>
                  <a:pt x="850025" y="2037116"/>
                  <a:pt x="847638" y="2043881"/>
                </a:cubicBezTo>
                <a:cubicBezTo>
                  <a:pt x="855597" y="2046667"/>
                  <a:pt x="862760" y="2048657"/>
                  <a:pt x="870321" y="2051442"/>
                </a:cubicBezTo>
                <a:cubicBezTo>
                  <a:pt x="872709" y="2044279"/>
                  <a:pt x="874300" y="2039504"/>
                  <a:pt x="876688" y="2033137"/>
                </a:cubicBezTo>
                <a:cubicBezTo>
                  <a:pt x="867933" y="2029953"/>
                  <a:pt x="861566" y="2027963"/>
                  <a:pt x="854005" y="2025178"/>
                </a:cubicBezTo>
                <a:close/>
                <a:moveTo>
                  <a:pt x="3819941" y="2002494"/>
                </a:moveTo>
                <a:cubicBezTo>
                  <a:pt x="3812379" y="2005280"/>
                  <a:pt x="3806012" y="2007668"/>
                  <a:pt x="3797655" y="2010851"/>
                </a:cubicBezTo>
                <a:cubicBezTo>
                  <a:pt x="3800839" y="2018412"/>
                  <a:pt x="3803227" y="2023984"/>
                  <a:pt x="3806410" y="2030749"/>
                </a:cubicBezTo>
                <a:cubicBezTo>
                  <a:pt x="3814369" y="2027565"/>
                  <a:pt x="3820737" y="2025178"/>
                  <a:pt x="3828298" y="2021994"/>
                </a:cubicBezTo>
                <a:cubicBezTo>
                  <a:pt x="3825114" y="2014433"/>
                  <a:pt x="3822726" y="2008862"/>
                  <a:pt x="3819941" y="2002494"/>
                </a:cubicBezTo>
                <a:close/>
                <a:moveTo>
                  <a:pt x="727058" y="1979015"/>
                </a:moveTo>
                <a:cubicBezTo>
                  <a:pt x="724670" y="1986576"/>
                  <a:pt x="722681" y="1992545"/>
                  <a:pt x="720691" y="1999311"/>
                </a:cubicBezTo>
                <a:cubicBezTo>
                  <a:pt x="729048" y="2002096"/>
                  <a:pt x="735415" y="2004086"/>
                  <a:pt x="742976" y="2006474"/>
                </a:cubicBezTo>
                <a:cubicBezTo>
                  <a:pt x="745762" y="1999311"/>
                  <a:pt x="747752" y="1993739"/>
                  <a:pt x="750537" y="1986576"/>
                </a:cubicBezTo>
                <a:cubicBezTo>
                  <a:pt x="741384" y="1983791"/>
                  <a:pt x="734619" y="1981403"/>
                  <a:pt x="727058" y="1979015"/>
                </a:cubicBezTo>
                <a:close/>
                <a:moveTo>
                  <a:pt x="922851" y="1959118"/>
                </a:moveTo>
                <a:cubicBezTo>
                  <a:pt x="920463" y="1965087"/>
                  <a:pt x="918075" y="1970260"/>
                  <a:pt x="916085" y="1975036"/>
                </a:cubicBezTo>
                <a:cubicBezTo>
                  <a:pt x="936779" y="1988566"/>
                  <a:pt x="936779" y="1988566"/>
                  <a:pt x="943146" y="1968270"/>
                </a:cubicBezTo>
                <a:cubicBezTo>
                  <a:pt x="937177" y="1965485"/>
                  <a:pt x="930810" y="1962699"/>
                  <a:pt x="922851" y="1959118"/>
                </a:cubicBezTo>
                <a:close/>
                <a:moveTo>
                  <a:pt x="784363" y="1944393"/>
                </a:moveTo>
                <a:cubicBezTo>
                  <a:pt x="781578" y="1951954"/>
                  <a:pt x="779190" y="1957128"/>
                  <a:pt x="776802" y="1963893"/>
                </a:cubicBezTo>
                <a:cubicBezTo>
                  <a:pt x="784363" y="1966679"/>
                  <a:pt x="791526" y="1969464"/>
                  <a:pt x="799087" y="1972648"/>
                </a:cubicBezTo>
                <a:cubicBezTo>
                  <a:pt x="801873" y="1965485"/>
                  <a:pt x="803863" y="1959913"/>
                  <a:pt x="806649" y="1953546"/>
                </a:cubicBezTo>
                <a:cubicBezTo>
                  <a:pt x="798690" y="1950363"/>
                  <a:pt x="791924" y="1947577"/>
                  <a:pt x="784363" y="1944393"/>
                </a:cubicBezTo>
                <a:close/>
                <a:moveTo>
                  <a:pt x="850423" y="1912159"/>
                </a:moveTo>
                <a:cubicBezTo>
                  <a:pt x="847240" y="1918924"/>
                  <a:pt x="845250" y="1923700"/>
                  <a:pt x="842066" y="1930863"/>
                </a:cubicBezTo>
                <a:cubicBezTo>
                  <a:pt x="850821" y="1934444"/>
                  <a:pt x="857586" y="1936832"/>
                  <a:pt x="865148" y="1939618"/>
                </a:cubicBezTo>
                <a:cubicBezTo>
                  <a:pt x="867933" y="1932455"/>
                  <a:pt x="869923" y="1927679"/>
                  <a:pt x="872311" y="1921710"/>
                </a:cubicBezTo>
                <a:cubicBezTo>
                  <a:pt x="864750" y="1918526"/>
                  <a:pt x="857984" y="1915343"/>
                  <a:pt x="850423" y="1912159"/>
                </a:cubicBezTo>
                <a:close/>
                <a:moveTo>
                  <a:pt x="3665933" y="1871568"/>
                </a:moveTo>
                <a:cubicBezTo>
                  <a:pt x="3681453" y="1906986"/>
                  <a:pt x="3696576" y="1941608"/>
                  <a:pt x="3711698" y="1976229"/>
                </a:cubicBezTo>
                <a:cubicBezTo>
                  <a:pt x="3714086" y="1976229"/>
                  <a:pt x="3716075" y="1975832"/>
                  <a:pt x="3718463" y="1975434"/>
                </a:cubicBezTo>
                <a:cubicBezTo>
                  <a:pt x="3718065" y="1970260"/>
                  <a:pt x="3718861" y="1964689"/>
                  <a:pt x="3717269" y="1959913"/>
                </a:cubicBezTo>
                <a:cubicBezTo>
                  <a:pt x="3689412" y="1886690"/>
                  <a:pt x="3680657" y="1871170"/>
                  <a:pt x="3665933" y="1871568"/>
                </a:cubicBezTo>
                <a:close/>
                <a:moveTo>
                  <a:pt x="3709708" y="1850875"/>
                </a:moveTo>
                <a:cubicBezTo>
                  <a:pt x="3708912" y="1853660"/>
                  <a:pt x="3707320" y="1857242"/>
                  <a:pt x="3708514" y="1859630"/>
                </a:cubicBezTo>
                <a:cubicBezTo>
                  <a:pt x="3723238" y="1893455"/>
                  <a:pt x="3738361" y="1926883"/>
                  <a:pt x="3754676" y="1963495"/>
                </a:cubicBezTo>
                <a:cubicBezTo>
                  <a:pt x="3758656" y="1958322"/>
                  <a:pt x="3762238" y="1955934"/>
                  <a:pt x="3761840" y="1954740"/>
                </a:cubicBezTo>
                <a:cubicBezTo>
                  <a:pt x="3747513" y="1920516"/>
                  <a:pt x="3733187" y="1886690"/>
                  <a:pt x="3718065" y="1852864"/>
                </a:cubicBezTo>
                <a:cubicBezTo>
                  <a:pt x="3717269" y="1851273"/>
                  <a:pt x="3712494" y="1851671"/>
                  <a:pt x="3709708" y="1850875"/>
                </a:cubicBezTo>
                <a:close/>
                <a:moveTo>
                  <a:pt x="3516701" y="1831375"/>
                </a:moveTo>
                <a:cubicBezTo>
                  <a:pt x="3502375" y="1839732"/>
                  <a:pt x="3490038" y="1846895"/>
                  <a:pt x="3478896" y="1853660"/>
                </a:cubicBezTo>
                <a:cubicBezTo>
                  <a:pt x="3507946" y="1912955"/>
                  <a:pt x="3535803" y="1971056"/>
                  <a:pt x="3564058" y="2028759"/>
                </a:cubicBezTo>
                <a:cubicBezTo>
                  <a:pt x="3566445" y="2027565"/>
                  <a:pt x="3568435" y="2026769"/>
                  <a:pt x="3570823" y="2025576"/>
                </a:cubicBezTo>
                <a:cubicBezTo>
                  <a:pt x="3548140" y="1976229"/>
                  <a:pt x="3525456" y="1926883"/>
                  <a:pt x="3502375" y="1877139"/>
                </a:cubicBezTo>
                <a:cubicBezTo>
                  <a:pt x="3510334" y="1872762"/>
                  <a:pt x="3517099" y="1869578"/>
                  <a:pt x="3525854" y="1864803"/>
                </a:cubicBezTo>
                <a:cubicBezTo>
                  <a:pt x="3550129" y="1916537"/>
                  <a:pt x="3573608" y="1966281"/>
                  <a:pt x="3597088" y="2016025"/>
                </a:cubicBezTo>
                <a:cubicBezTo>
                  <a:pt x="3599475" y="2014831"/>
                  <a:pt x="3601465" y="2014035"/>
                  <a:pt x="3603455" y="2012841"/>
                </a:cubicBezTo>
                <a:cubicBezTo>
                  <a:pt x="3581170" y="1949965"/>
                  <a:pt x="3550527" y="1890670"/>
                  <a:pt x="3516701" y="1831375"/>
                </a:cubicBezTo>
                <a:close/>
                <a:moveTo>
                  <a:pt x="3553711" y="1812671"/>
                </a:moveTo>
                <a:cubicBezTo>
                  <a:pt x="3551721" y="1813865"/>
                  <a:pt x="3549731" y="1814661"/>
                  <a:pt x="3547344" y="1815457"/>
                </a:cubicBezTo>
                <a:cubicBezTo>
                  <a:pt x="3577190" y="1876741"/>
                  <a:pt x="3606639" y="1938026"/>
                  <a:pt x="3636485" y="1999311"/>
                </a:cubicBezTo>
                <a:cubicBezTo>
                  <a:pt x="3638475" y="1998515"/>
                  <a:pt x="3640464" y="1997321"/>
                  <a:pt x="3642454" y="1996525"/>
                </a:cubicBezTo>
                <a:cubicBezTo>
                  <a:pt x="3613006" y="1935240"/>
                  <a:pt x="3583159" y="1873956"/>
                  <a:pt x="3553711" y="1812671"/>
                </a:cubicBezTo>
                <a:close/>
                <a:moveTo>
                  <a:pt x="3500783" y="1671000"/>
                </a:moveTo>
                <a:cubicBezTo>
                  <a:pt x="3488845" y="1679357"/>
                  <a:pt x="3478498" y="1686918"/>
                  <a:pt x="3466559" y="1695275"/>
                </a:cubicBezTo>
                <a:cubicBezTo>
                  <a:pt x="3474120" y="1705622"/>
                  <a:pt x="3480090" y="1713979"/>
                  <a:pt x="3486457" y="1722734"/>
                </a:cubicBezTo>
                <a:cubicBezTo>
                  <a:pt x="3498793" y="1714377"/>
                  <a:pt x="3509538" y="1707214"/>
                  <a:pt x="3520681" y="1699255"/>
                </a:cubicBezTo>
                <a:cubicBezTo>
                  <a:pt x="3513518" y="1688908"/>
                  <a:pt x="3507548" y="1680551"/>
                  <a:pt x="3500783" y="1671000"/>
                </a:cubicBezTo>
                <a:close/>
                <a:moveTo>
                  <a:pt x="3596690" y="1625236"/>
                </a:moveTo>
                <a:cubicBezTo>
                  <a:pt x="3584353" y="1633991"/>
                  <a:pt x="3574006" y="1641154"/>
                  <a:pt x="3562864" y="1649511"/>
                </a:cubicBezTo>
                <a:cubicBezTo>
                  <a:pt x="3570027" y="1659858"/>
                  <a:pt x="3576394" y="1669011"/>
                  <a:pt x="3583159" y="1678959"/>
                </a:cubicBezTo>
                <a:cubicBezTo>
                  <a:pt x="3595098" y="1671000"/>
                  <a:pt x="3605843" y="1663837"/>
                  <a:pt x="3617781" y="1655878"/>
                </a:cubicBezTo>
                <a:cubicBezTo>
                  <a:pt x="3610220" y="1645133"/>
                  <a:pt x="3603853" y="1635583"/>
                  <a:pt x="3596690" y="1625236"/>
                </a:cubicBezTo>
                <a:close/>
                <a:moveTo>
                  <a:pt x="3271165" y="1567135"/>
                </a:moveTo>
                <a:cubicBezTo>
                  <a:pt x="3268777" y="1569125"/>
                  <a:pt x="3266390" y="1571512"/>
                  <a:pt x="3264400" y="1573502"/>
                </a:cubicBezTo>
                <a:cubicBezTo>
                  <a:pt x="3277134" y="1586634"/>
                  <a:pt x="3289869" y="1599767"/>
                  <a:pt x="3302603" y="1612899"/>
                </a:cubicBezTo>
                <a:cubicBezTo>
                  <a:pt x="3304991" y="1610910"/>
                  <a:pt x="3306981" y="1608920"/>
                  <a:pt x="3308970" y="1606930"/>
                </a:cubicBezTo>
                <a:cubicBezTo>
                  <a:pt x="3296236" y="1593798"/>
                  <a:pt x="3283899" y="1580267"/>
                  <a:pt x="3271165" y="1567135"/>
                </a:cubicBezTo>
                <a:close/>
                <a:moveTo>
                  <a:pt x="3471335" y="1554002"/>
                </a:moveTo>
                <a:cubicBezTo>
                  <a:pt x="3459794" y="1563951"/>
                  <a:pt x="3449845" y="1571910"/>
                  <a:pt x="3439101" y="1581063"/>
                </a:cubicBezTo>
                <a:cubicBezTo>
                  <a:pt x="3446662" y="1590216"/>
                  <a:pt x="3453029" y="1598175"/>
                  <a:pt x="3460988" y="1608124"/>
                </a:cubicBezTo>
                <a:cubicBezTo>
                  <a:pt x="3472927" y="1598573"/>
                  <a:pt x="3482875" y="1590216"/>
                  <a:pt x="3493620" y="1581461"/>
                </a:cubicBezTo>
                <a:cubicBezTo>
                  <a:pt x="3485661" y="1571512"/>
                  <a:pt x="3478896" y="1563155"/>
                  <a:pt x="3471335" y="1554002"/>
                </a:cubicBezTo>
                <a:close/>
                <a:moveTo>
                  <a:pt x="674926" y="1529329"/>
                </a:moveTo>
                <a:cubicBezTo>
                  <a:pt x="650253" y="1571114"/>
                  <a:pt x="625978" y="1611706"/>
                  <a:pt x="601703" y="1653093"/>
                </a:cubicBezTo>
                <a:cubicBezTo>
                  <a:pt x="583000" y="1643144"/>
                  <a:pt x="565490" y="1633991"/>
                  <a:pt x="546388" y="1624042"/>
                </a:cubicBezTo>
                <a:cubicBezTo>
                  <a:pt x="542806" y="1632001"/>
                  <a:pt x="539623" y="1638368"/>
                  <a:pt x="537235" y="1645133"/>
                </a:cubicBezTo>
                <a:cubicBezTo>
                  <a:pt x="497440" y="1749795"/>
                  <a:pt x="481920" y="1857640"/>
                  <a:pt x="499430" y="1969066"/>
                </a:cubicBezTo>
                <a:cubicBezTo>
                  <a:pt x="521715" y="2113125"/>
                  <a:pt x="589765" y="2229725"/>
                  <a:pt x="711936" y="2311703"/>
                </a:cubicBezTo>
                <a:cubicBezTo>
                  <a:pt x="719099" y="2316876"/>
                  <a:pt x="727058" y="2320856"/>
                  <a:pt x="735813" y="2326029"/>
                </a:cubicBezTo>
                <a:cubicBezTo>
                  <a:pt x="742976" y="2286632"/>
                  <a:pt x="749343" y="2250020"/>
                  <a:pt x="756507" y="2208634"/>
                </a:cubicBezTo>
                <a:cubicBezTo>
                  <a:pt x="735017" y="2222164"/>
                  <a:pt x="719895" y="2220970"/>
                  <a:pt x="710344" y="2205848"/>
                </a:cubicBezTo>
                <a:cubicBezTo>
                  <a:pt x="696018" y="2205848"/>
                  <a:pt x="683284" y="2205848"/>
                  <a:pt x="667365" y="2205848"/>
                </a:cubicBezTo>
                <a:cubicBezTo>
                  <a:pt x="680498" y="2154910"/>
                  <a:pt x="692436" y="2108350"/>
                  <a:pt x="704773" y="2060595"/>
                </a:cubicBezTo>
                <a:cubicBezTo>
                  <a:pt x="687661" y="2054626"/>
                  <a:pt x="671345" y="2049055"/>
                  <a:pt x="654233" y="2043483"/>
                </a:cubicBezTo>
                <a:cubicBezTo>
                  <a:pt x="659008" y="2027963"/>
                  <a:pt x="662988" y="2014433"/>
                  <a:pt x="667365" y="2000107"/>
                </a:cubicBezTo>
                <a:cubicBezTo>
                  <a:pt x="653437" y="1994933"/>
                  <a:pt x="641896" y="1990954"/>
                  <a:pt x="627172" y="1985382"/>
                </a:cubicBezTo>
                <a:cubicBezTo>
                  <a:pt x="645080" y="1938822"/>
                  <a:pt x="662590" y="1893853"/>
                  <a:pt x="680498" y="1848487"/>
                </a:cubicBezTo>
                <a:cubicBezTo>
                  <a:pt x="695620" y="1854854"/>
                  <a:pt x="707161" y="1859630"/>
                  <a:pt x="719497" y="1864803"/>
                </a:cubicBezTo>
                <a:cubicBezTo>
                  <a:pt x="727058" y="1849681"/>
                  <a:pt x="734221" y="1834956"/>
                  <a:pt x="741782" y="1819436"/>
                </a:cubicBezTo>
                <a:cubicBezTo>
                  <a:pt x="833311" y="1863211"/>
                  <a:pt x="922851" y="1905394"/>
                  <a:pt x="1012788" y="1948373"/>
                </a:cubicBezTo>
                <a:cubicBezTo>
                  <a:pt x="1018757" y="1935638"/>
                  <a:pt x="1024328" y="1924496"/>
                  <a:pt x="1029900" y="1912557"/>
                </a:cubicBezTo>
                <a:cubicBezTo>
                  <a:pt x="1004829" y="1899425"/>
                  <a:pt x="981747" y="1887486"/>
                  <a:pt x="956278" y="1874354"/>
                </a:cubicBezTo>
                <a:cubicBezTo>
                  <a:pt x="984533" y="1825804"/>
                  <a:pt x="1011196" y="1779641"/>
                  <a:pt x="1037859" y="1733479"/>
                </a:cubicBezTo>
                <a:cubicBezTo>
                  <a:pt x="1035471" y="1732285"/>
                  <a:pt x="1033481" y="1730693"/>
                  <a:pt x="1031094" y="1729499"/>
                </a:cubicBezTo>
                <a:cubicBezTo>
                  <a:pt x="1000849" y="1772080"/>
                  <a:pt x="976176" y="1818641"/>
                  <a:pt x="950309" y="1865201"/>
                </a:cubicBezTo>
                <a:cubicBezTo>
                  <a:pt x="922851" y="1851273"/>
                  <a:pt x="897382" y="1837742"/>
                  <a:pt x="870321" y="1823814"/>
                </a:cubicBezTo>
                <a:cubicBezTo>
                  <a:pt x="896586" y="1778049"/>
                  <a:pt x="921657" y="1734673"/>
                  <a:pt x="946728" y="1691296"/>
                </a:cubicBezTo>
                <a:cubicBezTo>
                  <a:pt x="945136" y="1689704"/>
                  <a:pt x="943942" y="1688112"/>
                  <a:pt x="942350" y="1686520"/>
                </a:cubicBezTo>
                <a:cubicBezTo>
                  <a:pt x="938371" y="1690102"/>
                  <a:pt x="933197" y="1692490"/>
                  <a:pt x="930412" y="1696867"/>
                </a:cubicBezTo>
                <a:cubicBezTo>
                  <a:pt x="907330" y="1735071"/>
                  <a:pt x="885045" y="1773274"/>
                  <a:pt x="861566" y="1812671"/>
                </a:cubicBezTo>
                <a:cubicBezTo>
                  <a:pt x="836893" y="1799937"/>
                  <a:pt x="811822" y="1786804"/>
                  <a:pt x="785955" y="1773274"/>
                </a:cubicBezTo>
                <a:cubicBezTo>
                  <a:pt x="789935" y="1765713"/>
                  <a:pt x="792720" y="1759744"/>
                  <a:pt x="795904" y="1754172"/>
                </a:cubicBezTo>
                <a:cubicBezTo>
                  <a:pt x="814608" y="1721142"/>
                  <a:pt x="834107" y="1688908"/>
                  <a:pt x="852413" y="1655878"/>
                </a:cubicBezTo>
                <a:cubicBezTo>
                  <a:pt x="854403" y="1652297"/>
                  <a:pt x="852413" y="1646327"/>
                  <a:pt x="852413" y="1641552"/>
                </a:cubicBezTo>
                <a:cubicBezTo>
                  <a:pt x="848434" y="1643940"/>
                  <a:pt x="844056" y="1645531"/>
                  <a:pt x="840872" y="1648715"/>
                </a:cubicBezTo>
                <a:cubicBezTo>
                  <a:pt x="837689" y="1651899"/>
                  <a:pt x="835699" y="1656276"/>
                  <a:pt x="833311" y="1660256"/>
                </a:cubicBezTo>
                <a:cubicBezTo>
                  <a:pt x="814210" y="1692888"/>
                  <a:pt x="794710" y="1726316"/>
                  <a:pt x="774812" y="1760142"/>
                </a:cubicBezTo>
                <a:cubicBezTo>
                  <a:pt x="749343" y="1747009"/>
                  <a:pt x="725068" y="1733877"/>
                  <a:pt x="699202" y="1720346"/>
                </a:cubicBezTo>
                <a:cubicBezTo>
                  <a:pt x="722681" y="1680949"/>
                  <a:pt x="744170" y="1643940"/>
                  <a:pt x="766058" y="1606930"/>
                </a:cubicBezTo>
                <a:cubicBezTo>
                  <a:pt x="772823" y="1595389"/>
                  <a:pt x="772425" y="1595389"/>
                  <a:pt x="756905" y="1589420"/>
                </a:cubicBezTo>
                <a:cubicBezTo>
                  <a:pt x="733823" y="1628419"/>
                  <a:pt x="711140" y="1667419"/>
                  <a:pt x="687661" y="1707214"/>
                </a:cubicBezTo>
                <a:cubicBezTo>
                  <a:pt x="662988" y="1694082"/>
                  <a:pt x="639907" y="1681745"/>
                  <a:pt x="614836" y="1668215"/>
                </a:cubicBezTo>
                <a:cubicBezTo>
                  <a:pt x="640305" y="1624440"/>
                  <a:pt x="664978" y="1582257"/>
                  <a:pt x="689651" y="1539278"/>
                </a:cubicBezTo>
                <a:cubicBezTo>
                  <a:pt x="684875" y="1536095"/>
                  <a:pt x="680896" y="1533309"/>
                  <a:pt x="674926" y="1529329"/>
                </a:cubicBezTo>
                <a:close/>
                <a:moveTo>
                  <a:pt x="3598679" y="1527340"/>
                </a:moveTo>
                <a:cubicBezTo>
                  <a:pt x="3586741" y="1536493"/>
                  <a:pt x="3576394" y="1544452"/>
                  <a:pt x="3566047" y="1552809"/>
                </a:cubicBezTo>
                <a:cubicBezTo>
                  <a:pt x="3574006" y="1563553"/>
                  <a:pt x="3580772" y="1572308"/>
                  <a:pt x="3588731" y="1583053"/>
                </a:cubicBezTo>
                <a:cubicBezTo>
                  <a:pt x="3601067" y="1573900"/>
                  <a:pt x="3611016" y="1565941"/>
                  <a:pt x="3622159" y="1557584"/>
                </a:cubicBezTo>
                <a:cubicBezTo>
                  <a:pt x="3613404" y="1546441"/>
                  <a:pt x="3606240" y="1537288"/>
                  <a:pt x="3598679" y="1527340"/>
                </a:cubicBezTo>
                <a:close/>
                <a:moveTo>
                  <a:pt x="1238426" y="1470433"/>
                </a:moveTo>
                <a:cubicBezTo>
                  <a:pt x="1230865" y="1479187"/>
                  <a:pt x="1222906" y="1487942"/>
                  <a:pt x="1213355" y="1498289"/>
                </a:cubicBezTo>
                <a:cubicBezTo>
                  <a:pt x="1220519" y="1504258"/>
                  <a:pt x="1227682" y="1510228"/>
                  <a:pt x="1236437" y="1517391"/>
                </a:cubicBezTo>
                <a:cubicBezTo>
                  <a:pt x="1243600" y="1509432"/>
                  <a:pt x="1251559" y="1500279"/>
                  <a:pt x="1260712" y="1489932"/>
                </a:cubicBezTo>
                <a:cubicBezTo>
                  <a:pt x="1254742" y="1484361"/>
                  <a:pt x="1247579" y="1478392"/>
                  <a:pt x="1238426" y="1470433"/>
                </a:cubicBezTo>
                <a:close/>
                <a:moveTo>
                  <a:pt x="3599873" y="1447749"/>
                </a:moveTo>
                <a:cubicBezTo>
                  <a:pt x="3588731" y="1457300"/>
                  <a:pt x="3578782" y="1465657"/>
                  <a:pt x="3567639" y="1474412"/>
                </a:cubicBezTo>
                <a:cubicBezTo>
                  <a:pt x="3576394" y="1485157"/>
                  <a:pt x="3583557" y="1493912"/>
                  <a:pt x="3591914" y="1504258"/>
                </a:cubicBezTo>
                <a:cubicBezTo>
                  <a:pt x="3603057" y="1495504"/>
                  <a:pt x="3613404" y="1487146"/>
                  <a:pt x="3624546" y="1478392"/>
                </a:cubicBezTo>
                <a:cubicBezTo>
                  <a:pt x="3615791" y="1468045"/>
                  <a:pt x="3608230" y="1458494"/>
                  <a:pt x="3599873" y="1447749"/>
                </a:cubicBezTo>
                <a:close/>
                <a:moveTo>
                  <a:pt x="1199029" y="1428648"/>
                </a:moveTo>
                <a:cubicBezTo>
                  <a:pt x="1188682" y="1437402"/>
                  <a:pt x="1179132" y="1444964"/>
                  <a:pt x="1171173" y="1451331"/>
                </a:cubicBezTo>
                <a:cubicBezTo>
                  <a:pt x="1180723" y="1462076"/>
                  <a:pt x="1188285" y="1470830"/>
                  <a:pt x="1195050" y="1478392"/>
                </a:cubicBezTo>
                <a:cubicBezTo>
                  <a:pt x="1204998" y="1469239"/>
                  <a:pt x="1213753" y="1461280"/>
                  <a:pt x="1224100" y="1451729"/>
                </a:cubicBezTo>
                <a:cubicBezTo>
                  <a:pt x="1214947" y="1443372"/>
                  <a:pt x="1206590" y="1435413"/>
                  <a:pt x="1199029" y="1428648"/>
                </a:cubicBezTo>
                <a:close/>
                <a:moveTo>
                  <a:pt x="2320068" y="1391331"/>
                </a:moveTo>
                <a:cubicBezTo>
                  <a:pt x="2169068" y="1386651"/>
                  <a:pt x="2013438" y="1410939"/>
                  <a:pt x="1854058" y="1462871"/>
                </a:cubicBezTo>
                <a:cubicBezTo>
                  <a:pt x="1550421" y="1561962"/>
                  <a:pt x="1331149" y="1763723"/>
                  <a:pt x="1206192" y="2059799"/>
                </a:cubicBezTo>
                <a:cubicBezTo>
                  <a:pt x="1102725" y="2304540"/>
                  <a:pt x="1082827" y="2558433"/>
                  <a:pt x="1138541" y="2818296"/>
                </a:cubicBezTo>
                <a:cubicBezTo>
                  <a:pt x="1189876" y="3056669"/>
                  <a:pt x="1301303" y="3261614"/>
                  <a:pt x="1487544" y="3421591"/>
                </a:cubicBezTo>
                <a:cubicBezTo>
                  <a:pt x="1709999" y="3613006"/>
                  <a:pt x="1972648" y="3695382"/>
                  <a:pt x="2232510" y="3699760"/>
                </a:cubicBezTo>
                <a:cubicBezTo>
                  <a:pt x="2379753" y="3699361"/>
                  <a:pt x="2495159" y="3685035"/>
                  <a:pt x="2608177" y="3651607"/>
                </a:cubicBezTo>
                <a:cubicBezTo>
                  <a:pt x="2922957" y="3559680"/>
                  <a:pt x="3164912" y="3375827"/>
                  <a:pt x="3310164" y="3078159"/>
                </a:cubicBezTo>
                <a:cubicBezTo>
                  <a:pt x="3434325" y="2823867"/>
                  <a:pt x="3461784" y="2556046"/>
                  <a:pt x="3402091" y="2279469"/>
                </a:cubicBezTo>
                <a:cubicBezTo>
                  <a:pt x="3348765" y="2031943"/>
                  <a:pt x="3232166" y="1819436"/>
                  <a:pt x="3032394" y="1662245"/>
                </a:cubicBezTo>
                <a:cubicBezTo>
                  <a:pt x="2810536" y="1487395"/>
                  <a:pt x="2571734" y="1399131"/>
                  <a:pt x="2320068" y="1391331"/>
                </a:cubicBezTo>
                <a:close/>
                <a:moveTo>
                  <a:pt x="3350357" y="1378904"/>
                </a:moveTo>
                <a:cubicBezTo>
                  <a:pt x="3337225" y="1393628"/>
                  <a:pt x="3327276" y="1405168"/>
                  <a:pt x="3316531" y="1417107"/>
                </a:cubicBezTo>
                <a:cubicBezTo>
                  <a:pt x="3327674" y="1427454"/>
                  <a:pt x="3336429" y="1435811"/>
                  <a:pt x="3345184" y="1443770"/>
                </a:cubicBezTo>
                <a:cubicBezTo>
                  <a:pt x="3357520" y="1432229"/>
                  <a:pt x="3368663" y="1422280"/>
                  <a:pt x="3379806" y="1411138"/>
                </a:cubicBezTo>
                <a:cubicBezTo>
                  <a:pt x="3369857" y="1399995"/>
                  <a:pt x="3361102" y="1390444"/>
                  <a:pt x="3350357" y="1378904"/>
                </a:cubicBezTo>
                <a:close/>
                <a:moveTo>
                  <a:pt x="1431831" y="1376914"/>
                </a:moveTo>
                <a:cubicBezTo>
                  <a:pt x="1422280" y="1384077"/>
                  <a:pt x="1411933" y="1391240"/>
                  <a:pt x="1402383" y="1399199"/>
                </a:cubicBezTo>
                <a:cubicBezTo>
                  <a:pt x="1399995" y="1401189"/>
                  <a:pt x="1399597" y="1405566"/>
                  <a:pt x="1398403" y="1408352"/>
                </a:cubicBezTo>
                <a:cubicBezTo>
                  <a:pt x="1401985" y="1408352"/>
                  <a:pt x="1406760" y="1409148"/>
                  <a:pt x="1409546" y="1407556"/>
                </a:cubicBezTo>
                <a:cubicBezTo>
                  <a:pt x="1417903" y="1402383"/>
                  <a:pt x="1425862" y="1396413"/>
                  <a:pt x="1433025" y="1390046"/>
                </a:cubicBezTo>
                <a:cubicBezTo>
                  <a:pt x="1435413" y="1387658"/>
                  <a:pt x="1435811" y="1383281"/>
                  <a:pt x="1437402" y="1379699"/>
                </a:cubicBezTo>
                <a:cubicBezTo>
                  <a:pt x="1435811" y="1378904"/>
                  <a:pt x="1433821" y="1377710"/>
                  <a:pt x="1431831" y="1376914"/>
                </a:cubicBezTo>
                <a:close/>
                <a:moveTo>
                  <a:pt x="3303399" y="1340302"/>
                </a:moveTo>
                <a:cubicBezTo>
                  <a:pt x="3292257" y="1353435"/>
                  <a:pt x="3282308" y="1364975"/>
                  <a:pt x="3271961" y="1377312"/>
                </a:cubicBezTo>
                <a:cubicBezTo>
                  <a:pt x="3282706" y="1386863"/>
                  <a:pt x="3292654" y="1395220"/>
                  <a:pt x="3303001" y="1404373"/>
                </a:cubicBezTo>
                <a:cubicBezTo>
                  <a:pt x="3314144" y="1391638"/>
                  <a:pt x="3324491" y="1380495"/>
                  <a:pt x="3335633" y="1368557"/>
                </a:cubicBezTo>
                <a:cubicBezTo>
                  <a:pt x="3324093" y="1358608"/>
                  <a:pt x="3314144" y="1349455"/>
                  <a:pt x="3303399" y="1340302"/>
                </a:cubicBezTo>
                <a:close/>
                <a:moveTo>
                  <a:pt x="1285385" y="1337517"/>
                </a:moveTo>
                <a:cubicBezTo>
                  <a:pt x="1274640" y="1346272"/>
                  <a:pt x="1265487" y="1354231"/>
                  <a:pt x="1255538" y="1362986"/>
                </a:cubicBezTo>
                <a:cubicBezTo>
                  <a:pt x="1263099" y="1371740"/>
                  <a:pt x="1269467" y="1379301"/>
                  <a:pt x="1277426" y="1388454"/>
                </a:cubicBezTo>
                <a:cubicBezTo>
                  <a:pt x="1288170" y="1378904"/>
                  <a:pt x="1297323" y="1370945"/>
                  <a:pt x="1306476" y="1362588"/>
                </a:cubicBezTo>
                <a:cubicBezTo>
                  <a:pt x="1298517" y="1353435"/>
                  <a:pt x="1292548" y="1345874"/>
                  <a:pt x="1285385" y="1337517"/>
                </a:cubicBezTo>
                <a:close/>
                <a:moveTo>
                  <a:pt x="1111082" y="1327966"/>
                </a:moveTo>
                <a:cubicBezTo>
                  <a:pt x="1099541" y="1338312"/>
                  <a:pt x="1089990" y="1347465"/>
                  <a:pt x="1082031" y="1355027"/>
                </a:cubicBezTo>
                <a:cubicBezTo>
                  <a:pt x="1090388" y="1364975"/>
                  <a:pt x="1097551" y="1373332"/>
                  <a:pt x="1106306" y="1384077"/>
                </a:cubicBezTo>
                <a:cubicBezTo>
                  <a:pt x="1116255" y="1372934"/>
                  <a:pt x="1124612" y="1362986"/>
                  <a:pt x="1134163" y="1352241"/>
                </a:cubicBezTo>
                <a:cubicBezTo>
                  <a:pt x="1127000" y="1344680"/>
                  <a:pt x="1119041" y="1336323"/>
                  <a:pt x="1111082" y="1327966"/>
                </a:cubicBezTo>
                <a:close/>
                <a:moveTo>
                  <a:pt x="3398908" y="1327568"/>
                </a:moveTo>
                <a:cubicBezTo>
                  <a:pt x="3386571" y="1341098"/>
                  <a:pt x="3376224" y="1352241"/>
                  <a:pt x="3364684" y="1364577"/>
                </a:cubicBezTo>
                <a:cubicBezTo>
                  <a:pt x="3375826" y="1375322"/>
                  <a:pt x="3385775" y="1384475"/>
                  <a:pt x="3393734" y="1392036"/>
                </a:cubicBezTo>
                <a:cubicBezTo>
                  <a:pt x="3406071" y="1380097"/>
                  <a:pt x="3416815" y="1369751"/>
                  <a:pt x="3426764" y="1360200"/>
                </a:cubicBezTo>
                <a:cubicBezTo>
                  <a:pt x="3418009" y="1349853"/>
                  <a:pt x="3408856" y="1339506"/>
                  <a:pt x="3398908" y="1327568"/>
                </a:cubicBezTo>
                <a:close/>
                <a:moveTo>
                  <a:pt x="3256043" y="1300905"/>
                </a:moveTo>
                <a:cubicBezTo>
                  <a:pt x="3244900" y="1314833"/>
                  <a:pt x="3235747" y="1326374"/>
                  <a:pt x="3225798" y="1338710"/>
                </a:cubicBezTo>
                <a:cubicBezTo>
                  <a:pt x="3236941" y="1347863"/>
                  <a:pt x="3246890" y="1355822"/>
                  <a:pt x="3258032" y="1364975"/>
                </a:cubicBezTo>
                <a:cubicBezTo>
                  <a:pt x="3269175" y="1351445"/>
                  <a:pt x="3278726" y="1339904"/>
                  <a:pt x="3289471" y="1327170"/>
                </a:cubicBezTo>
                <a:cubicBezTo>
                  <a:pt x="3277532" y="1318017"/>
                  <a:pt x="3267185" y="1309660"/>
                  <a:pt x="3256043" y="1300905"/>
                </a:cubicBezTo>
                <a:close/>
                <a:moveTo>
                  <a:pt x="1247181" y="1289762"/>
                </a:moveTo>
                <a:cubicBezTo>
                  <a:pt x="1235641" y="1299711"/>
                  <a:pt x="1226090" y="1308068"/>
                  <a:pt x="1215743" y="1316823"/>
                </a:cubicBezTo>
                <a:cubicBezTo>
                  <a:pt x="1224498" y="1326772"/>
                  <a:pt x="1231661" y="1335129"/>
                  <a:pt x="1240416" y="1345078"/>
                </a:cubicBezTo>
                <a:cubicBezTo>
                  <a:pt x="1251559" y="1335527"/>
                  <a:pt x="1260712" y="1327568"/>
                  <a:pt x="1271059" y="1319211"/>
                </a:cubicBezTo>
                <a:cubicBezTo>
                  <a:pt x="1262702" y="1308864"/>
                  <a:pt x="1255538" y="1300109"/>
                  <a:pt x="1247181" y="1289762"/>
                </a:cubicBezTo>
                <a:close/>
                <a:moveTo>
                  <a:pt x="1533309" y="1288171"/>
                </a:moveTo>
                <a:cubicBezTo>
                  <a:pt x="1524952" y="1293344"/>
                  <a:pt x="1518187" y="1297323"/>
                  <a:pt x="1509432" y="1302497"/>
                </a:cubicBezTo>
                <a:cubicBezTo>
                  <a:pt x="1516197" y="1313639"/>
                  <a:pt x="1522166" y="1323190"/>
                  <a:pt x="1528533" y="1333537"/>
                </a:cubicBezTo>
                <a:cubicBezTo>
                  <a:pt x="1536890" y="1327966"/>
                  <a:pt x="1543656" y="1323588"/>
                  <a:pt x="1551615" y="1318813"/>
                </a:cubicBezTo>
                <a:cubicBezTo>
                  <a:pt x="1544849" y="1307670"/>
                  <a:pt x="1539278" y="1298119"/>
                  <a:pt x="1533309" y="1288171"/>
                </a:cubicBezTo>
                <a:close/>
                <a:moveTo>
                  <a:pt x="3349960" y="1285783"/>
                </a:moveTo>
                <a:cubicBezTo>
                  <a:pt x="3338817" y="1298517"/>
                  <a:pt x="3328868" y="1310456"/>
                  <a:pt x="3318123" y="1323190"/>
                </a:cubicBezTo>
                <a:cubicBezTo>
                  <a:pt x="3329664" y="1333139"/>
                  <a:pt x="3340011" y="1341894"/>
                  <a:pt x="3350755" y="1351047"/>
                </a:cubicBezTo>
                <a:cubicBezTo>
                  <a:pt x="3362296" y="1338312"/>
                  <a:pt x="3372245" y="1327170"/>
                  <a:pt x="3382990" y="1315231"/>
                </a:cubicBezTo>
                <a:cubicBezTo>
                  <a:pt x="3371449" y="1305283"/>
                  <a:pt x="3361500" y="1296130"/>
                  <a:pt x="3349960" y="1285783"/>
                </a:cubicBezTo>
                <a:close/>
                <a:moveTo>
                  <a:pt x="1071685" y="1285783"/>
                </a:moveTo>
                <a:cubicBezTo>
                  <a:pt x="1060542" y="1297323"/>
                  <a:pt x="1050991" y="1306874"/>
                  <a:pt x="1042634" y="1315231"/>
                </a:cubicBezTo>
                <a:cubicBezTo>
                  <a:pt x="1049797" y="1322792"/>
                  <a:pt x="1057358" y="1330751"/>
                  <a:pt x="1064521" y="1338710"/>
                </a:cubicBezTo>
                <a:cubicBezTo>
                  <a:pt x="1074072" y="1329557"/>
                  <a:pt x="1083623" y="1320803"/>
                  <a:pt x="1094766" y="1310058"/>
                </a:cubicBezTo>
                <a:cubicBezTo>
                  <a:pt x="1086011" y="1300507"/>
                  <a:pt x="1078848" y="1293344"/>
                  <a:pt x="1071685" y="1285783"/>
                </a:cubicBezTo>
                <a:close/>
                <a:moveTo>
                  <a:pt x="1352639" y="1282599"/>
                </a:moveTo>
                <a:cubicBezTo>
                  <a:pt x="1339506" y="1292548"/>
                  <a:pt x="1330751" y="1299313"/>
                  <a:pt x="1320007" y="1307272"/>
                </a:cubicBezTo>
                <a:cubicBezTo>
                  <a:pt x="1339904" y="1332741"/>
                  <a:pt x="1358608" y="1357016"/>
                  <a:pt x="1378108" y="1382485"/>
                </a:cubicBezTo>
                <a:cubicBezTo>
                  <a:pt x="1392036" y="1372536"/>
                  <a:pt x="1403974" y="1363383"/>
                  <a:pt x="1421086" y="1350649"/>
                </a:cubicBezTo>
                <a:cubicBezTo>
                  <a:pt x="1396413" y="1326374"/>
                  <a:pt x="1374526" y="1304487"/>
                  <a:pt x="1352639" y="1282599"/>
                </a:cubicBezTo>
                <a:close/>
                <a:moveTo>
                  <a:pt x="3446264" y="1276630"/>
                </a:moveTo>
                <a:cubicBezTo>
                  <a:pt x="3434325" y="1289364"/>
                  <a:pt x="3424376" y="1300109"/>
                  <a:pt x="3414428" y="1310854"/>
                </a:cubicBezTo>
                <a:cubicBezTo>
                  <a:pt x="3424774" y="1322394"/>
                  <a:pt x="3434325" y="1332741"/>
                  <a:pt x="3442284" y="1341496"/>
                </a:cubicBezTo>
                <a:cubicBezTo>
                  <a:pt x="3455815" y="1329557"/>
                  <a:pt x="3466957" y="1319609"/>
                  <a:pt x="3479692" y="1308466"/>
                </a:cubicBezTo>
                <a:cubicBezTo>
                  <a:pt x="3468151" y="1297721"/>
                  <a:pt x="3457407" y="1287375"/>
                  <a:pt x="3446264" y="1276630"/>
                </a:cubicBezTo>
                <a:close/>
                <a:moveTo>
                  <a:pt x="1473616" y="1273446"/>
                </a:moveTo>
                <a:cubicBezTo>
                  <a:pt x="1464463" y="1279416"/>
                  <a:pt x="1457300" y="1284191"/>
                  <a:pt x="1449341" y="1289364"/>
                </a:cubicBezTo>
                <a:cubicBezTo>
                  <a:pt x="1456902" y="1300109"/>
                  <a:pt x="1462871" y="1309262"/>
                  <a:pt x="1469637" y="1319211"/>
                </a:cubicBezTo>
                <a:cubicBezTo>
                  <a:pt x="1478789" y="1313242"/>
                  <a:pt x="1485555" y="1308864"/>
                  <a:pt x="1493116" y="1303691"/>
                </a:cubicBezTo>
                <a:cubicBezTo>
                  <a:pt x="1486351" y="1293344"/>
                  <a:pt x="1480779" y="1284191"/>
                  <a:pt x="1473616" y="1273446"/>
                </a:cubicBezTo>
                <a:close/>
                <a:moveTo>
                  <a:pt x="907579" y="1265239"/>
                </a:moveTo>
                <a:cubicBezTo>
                  <a:pt x="892507" y="1263597"/>
                  <a:pt x="876091" y="1273248"/>
                  <a:pt x="843260" y="1292548"/>
                </a:cubicBezTo>
                <a:cubicBezTo>
                  <a:pt x="842066" y="1292946"/>
                  <a:pt x="840872" y="1294140"/>
                  <a:pt x="840077" y="1294936"/>
                </a:cubicBezTo>
                <a:cubicBezTo>
                  <a:pt x="840872" y="1303293"/>
                  <a:pt x="839679" y="1310854"/>
                  <a:pt x="835301" y="1316425"/>
                </a:cubicBezTo>
                <a:cubicBezTo>
                  <a:pt x="810628" y="1347465"/>
                  <a:pt x="785557" y="1378506"/>
                  <a:pt x="760884" y="1409546"/>
                </a:cubicBezTo>
                <a:cubicBezTo>
                  <a:pt x="759690" y="1411138"/>
                  <a:pt x="759292" y="1413127"/>
                  <a:pt x="758098" y="1416311"/>
                </a:cubicBezTo>
                <a:cubicBezTo>
                  <a:pt x="762874" y="1419097"/>
                  <a:pt x="767649" y="1421882"/>
                  <a:pt x="771629" y="1424270"/>
                </a:cubicBezTo>
                <a:cubicBezTo>
                  <a:pt x="803067" y="1385669"/>
                  <a:pt x="832913" y="1349057"/>
                  <a:pt x="863954" y="1311252"/>
                </a:cubicBezTo>
                <a:cubicBezTo>
                  <a:pt x="885841" y="1330751"/>
                  <a:pt x="906137" y="1348261"/>
                  <a:pt x="926034" y="1365771"/>
                </a:cubicBezTo>
                <a:cubicBezTo>
                  <a:pt x="896586" y="1402383"/>
                  <a:pt x="868729" y="1437005"/>
                  <a:pt x="840475" y="1472024"/>
                </a:cubicBezTo>
                <a:cubicBezTo>
                  <a:pt x="842066" y="1474412"/>
                  <a:pt x="843658" y="1476800"/>
                  <a:pt x="845250" y="1479187"/>
                </a:cubicBezTo>
                <a:cubicBezTo>
                  <a:pt x="850821" y="1476402"/>
                  <a:pt x="858382" y="1475208"/>
                  <a:pt x="861964" y="1470830"/>
                </a:cubicBezTo>
                <a:cubicBezTo>
                  <a:pt x="889025" y="1438198"/>
                  <a:pt x="915289" y="1405168"/>
                  <a:pt x="942748" y="1371342"/>
                </a:cubicBezTo>
                <a:cubicBezTo>
                  <a:pt x="965431" y="1391240"/>
                  <a:pt x="985727" y="1409546"/>
                  <a:pt x="1006420" y="1427852"/>
                </a:cubicBezTo>
                <a:cubicBezTo>
                  <a:pt x="978962" y="1461678"/>
                  <a:pt x="953493" y="1493514"/>
                  <a:pt x="927626" y="1525350"/>
                </a:cubicBezTo>
                <a:cubicBezTo>
                  <a:pt x="921657" y="1532115"/>
                  <a:pt x="915687" y="1539278"/>
                  <a:pt x="930014" y="1543656"/>
                </a:cubicBezTo>
                <a:cubicBezTo>
                  <a:pt x="960258" y="1507044"/>
                  <a:pt x="990502" y="1470433"/>
                  <a:pt x="1021543" y="1433025"/>
                </a:cubicBezTo>
                <a:cubicBezTo>
                  <a:pt x="1044624" y="1453719"/>
                  <a:pt x="1064919" y="1472024"/>
                  <a:pt x="1086409" y="1491126"/>
                </a:cubicBezTo>
                <a:cubicBezTo>
                  <a:pt x="1081235" y="1497493"/>
                  <a:pt x="1076858" y="1502269"/>
                  <a:pt x="1072879" y="1507442"/>
                </a:cubicBezTo>
                <a:cubicBezTo>
                  <a:pt x="1049399" y="1536493"/>
                  <a:pt x="1025920" y="1565145"/>
                  <a:pt x="1002839" y="1594196"/>
                </a:cubicBezTo>
                <a:cubicBezTo>
                  <a:pt x="999655" y="1598175"/>
                  <a:pt x="999257" y="1604144"/>
                  <a:pt x="997666" y="1609318"/>
                </a:cubicBezTo>
                <a:cubicBezTo>
                  <a:pt x="999655" y="1610114"/>
                  <a:pt x="1001247" y="1610512"/>
                  <a:pt x="1003237" y="1611308"/>
                </a:cubicBezTo>
                <a:cubicBezTo>
                  <a:pt x="1034675" y="1572706"/>
                  <a:pt x="1066511" y="1534105"/>
                  <a:pt x="1099143" y="1494708"/>
                </a:cubicBezTo>
                <a:cubicBezTo>
                  <a:pt x="1122622" y="1515799"/>
                  <a:pt x="1143714" y="1534503"/>
                  <a:pt x="1165999" y="1554798"/>
                </a:cubicBezTo>
                <a:cubicBezTo>
                  <a:pt x="1152469" y="1570716"/>
                  <a:pt x="1140928" y="1583849"/>
                  <a:pt x="1129388" y="1597777"/>
                </a:cubicBezTo>
                <a:cubicBezTo>
                  <a:pt x="1118245" y="1610910"/>
                  <a:pt x="1107102" y="1623644"/>
                  <a:pt x="1097153" y="1637970"/>
                </a:cubicBezTo>
                <a:cubicBezTo>
                  <a:pt x="1088001" y="1651103"/>
                  <a:pt x="1073276" y="1661847"/>
                  <a:pt x="1075266" y="1681347"/>
                </a:cubicBezTo>
                <a:cubicBezTo>
                  <a:pt x="1108694" y="1640358"/>
                  <a:pt x="1142520" y="1598971"/>
                  <a:pt x="1178336" y="1557982"/>
                </a:cubicBezTo>
                <a:cubicBezTo>
                  <a:pt x="1200223" y="1577482"/>
                  <a:pt x="1219723" y="1594991"/>
                  <a:pt x="1240416" y="1613695"/>
                </a:cubicBezTo>
                <a:cubicBezTo>
                  <a:pt x="1248773" y="1604940"/>
                  <a:pt x="1255538" y="1597379"/>
                  <a:pt x="1263099" y="1589022"/>
                </a:cubicBezTo>
                <a:cubicBezTo>
                  <a:pt x="1255936" y="1582655"/>
                  <a:pt x="1250365" y="1577880"/>
                  <a:pt x="1245192" y="1572706"/>
                </a:cubicBezTo>
                <a:cubicBezTo>
                  <a:pt x="1151275" y="1483565"/>
                  <a:pt x="1057358" y="1394822"/>
                  <a:pt x="963840" y="1305680"/>
                </a:cubicBezTo>
                <a:cubicBezTo>
                  <a:pt x="936381" y="1279814"/>
                  <a:pt x="922652" y="1266880"/>
                  <a:pt x="907579" y="1265239"/>
                </a:cubicBezTo>
                <a:close/>
                <a:moveTo>
                  <a:pt x="3207493" y="1263100"/>
                </a:moveTo>
                <a:cubicBezTo>
                  <a:pt x="3197146" y="1277426"/>
                  <a:pt x="3187993" y="1290160"/>
                  <a:pt x="3178840" y="1302497"/>
                </a:cubicBezTo>
                <a:cubicBezTo>
                  <a:pt x="3191177" y="1312048"/>
                  <a:pt x="3200728" y="1319211"/>
                  <a:pt x="3211472" y="1327170"/>
                </a:cubicBezTo>
                <a:cubicBezTo>
                  <a:pt x="3221421" y="1314037"/>
                  <a:pt x="3230972" y="1302099"/>
                  <a:pt x="3241318" y="1288568"/>
                </a:cubicBezTo>
                <a:cubicBezTo>
                  <a:pt x="3229778" y="1279813"/>
                  <a:pt x="3219431" y="1271854"/>
                  <a:pt x="3207493" y="1263100"/>
                </a:cubicBezTo>
                <a:close/>
                <a:moveTo>
                  <a:pt x="1414719" y="1254345"/>
                </a:moveTo>
                <a:cubicBezTo>
                  <a:pt x="1405566" y="1260712"/>
                  <a:pt x="1398403" y="1265487"/>
                  <a:pt x="1389648" y="1271457"/>
                </a:cubicBezTo>
                <a:cubicBezTo>
                  <a:pt x="1397607" y="1281803"/>
                  <a:pt x="1404372" y="1291354"/>
                  <a:pt x="1411138" y="1300905"/>
                </a:cubicBezTo>
                <a:cubicBezTo>
                  <a:pt x="1419893" y="1294538"/>
                  <a:pt x="1427056" y="1289762"/>
                  <a:pt x="1434617" y="1284589"/>
                </a:cubicBezTo>
                <a:cubicBezTo>
                  <a:pt x="1427852" y="1273844"/>
                  <a:pt x="1421484" y="1264691"/>
                  <a:pt x="1414719" y="1254345"/>
                </a:cubicBezTo>
                <a:close/>
                <a:moveTo>
                  <a:pt x="1269467" y="1247977"/>
                </a:moveTo>
                <a:cubicBezTo>
                  <a:pt x="1268671" y="1249171"/>
                  <a:pt x="1267875" y="1250763"/>
                  <a:pt x="1267079" y="1251957"/>
                </a:cubicBezTo>
                <a:cubicBezTo>
                  <a:pt x="1278620" y="1266681"/>
                  <a:pt x="1289762" y="1281007"/>
                  <a:pt x="1302497" y="1297323"/>
                </a:cubicBezTo>
                <a:cubicBezTo>
                  <a:pt x="1312843" y="1289762"/>
                  <a:pt x="1320803" y="1283395"/>
                  <a:pt x="1331945" y="1274640"/>
                </a:cubicBezTo>
                <a:cubicBezTo>
                  <a:pt x="1308864" y="1264691"/>
                  <a:pt x="1288966" y="1256334"/>
                  <a:pt x="1269467" y="1247977"/>
                </a:cubicBezTo>
                <a:close/>
                <a:moveTo>
                  <a:pt x="3300216" y="1244794"/>
                </a:moveTo>
                <a:cubicBezTo>
                  <a:pt x="3289471" y="1258722"/>
                  <a:pt x="3280318" y="1270263"/>
                  <a:pt x="3269971" y="1283395"/>
                </a:cubicBezTo>
                <a:cubicBezTo>
                  <a:pt x="3281512" y="1292946"/>
                  <a:pt x="3292257" y="1301303"/>
                  <a:pt x="3303399" y="1310456"/>
                </a:cubicBezTo>
                <a:cubicBezTo>
                  <a:pt x="3314144" y="1297721"/>
                  <a:pt x="3323695" y="1286181"/>
                  <a:pt x="3334439" y="1273446"/>
                </a:cubicBezTo>
                <a:cubicBezTo>
                  <a:pt x="3323297" y="1263895"/>
                  <a:pt x="3312950" y="1255141"/>
                  <a:pt x="3300216" y="1244794"/>
                </a:cubicBezTo>
                <a:close/>
                <a:moveTo>
                  <a:pt x="3396122" y="1232457"/>
                </a:moveTo>
                <a:cubicBezTo>
                  <a:pt x="3384979" y="1245192"/>
                  <a:pt x="3375826" y="1256334"/>
                  <a:pt x="3364286" y="1269467"/>
                </a:cubicBezTo>
                <a:cubicBezTo>
                  <a:pt x="3376622" y="1280211"/>
                  <a:pt x="3387367" y="1289364"/>
                  <a:pt x="3398509" y="1299313"/>
                </a:cubicBezTo>
                <a:cubicBezTo>
                  <a:pt x="3410846" y="1285385"/>
                  <a:pt x="3420397" y="1274640"/>
                  <a:pt x="3431142" y="1262702"/>
                </a:cubicBezTo>
                <a:cubicBezTo>
                  <a:pt x="3418805" y="1251957"/>
                  <a:pt x="3407663" y="1242406"/>
                  <a:pt x="3396122" y="1232457"/>
                </a:cubicBezTo>
                <a:close/>
                <a:moveTo>
                  <a:pt x="3494814" y="1224100"/>
                </a:moveTo>
                <a:cubicBezTo>
                  <a:pt x="3482477" y="1237631"/>
                  <a:pt x="3472131" y="1248375"/>
                  <a:pt x="3460988" y="1260712"/>
                </a:cubicBezTo>
                <a:cubicBezTo>
                  <a:pt x="3472927" y="1271854"/>
                  <a:pt x="3483671" y="1282201"/>
                  <a:pt x="3493620" y="1291354"/>
                </a:cubicBezTo>
                <a:cubicBezTo>
                  <a:pt x="3506355" y="1279813"/>
                  <a:pt x="3517497" y="1269865"/>
                  <a:pt x="3528242" y="1259916"/>
                </a:cubicBezTo>
                <a:cubicBezTo>
                  <a:pt x="3516701" y="1247579"/>
                  <a:pt x="3506752" y="1236835"/>
                  <a:pt x="3494814" y="1224100"/>
                </a:cubicBezTo>
                <a:close/>
                <a:moveTo>
                  <a:pt x="1707612" y="1223304"/>
                </a:moveTo>
                <a:cubicBezTo>
                  <a:pt x="1695673" y="1228876"/>
                  <a:pt x="1685724" y="1233253"/>
                  <a:pt x="1674582" y="1238427"/>
                </a:cubicBezTo>
                <a:cubicBezTo>
                  <a:pt x="1680153" y="1250763"/>
                  <a:pt x="1685326" y="1261508"/>
                  <a:pt x="1690500" y="1273048"/>
                </a:cubicBezTo>
                <a:cubicBezTo>
                  <a:pt x="1702040" y="1267875"/>
                  <a:pt x="1711989" y="1263498"/>
                  <a:pt x="1722734" y="1258722"/>
                </a:cubicBezTo>
                <a:cubicBezTo>
                  <a:pt x="1717561" y="1245988"/>
                  <a:pt x="1713183" y="1236039"/>
                  <a:pt x="1707612" y="1223304"/>
                </a:cubicBezTo>
                <a:close/>
                <a:moveTo>
                  <a:pt x="1747009" y="1207386"/>
                </a:moveTo>
                <a:cubicBezTo>
                  <a:pt x="1735070" y="1212162"/>
                  <a:pt x="1725122" y="1216539"/>
                  <a:pt x="1713979" y="1221315"/>
                </a:cubicBezTo>
                <a:cubicBezTo>
                  <a:pt x="1718754" y="1233651"/>
                  <a:pt x="1723132" y="1244396"/>
                  <a:pt x="1728703" y="1257130"/>
                </a:cubicBezTo>
                <a:cubicBezTo>
                  <a:pt x="1740642" y="1251957"/>
                  <a:pt x="1750193" y="1247977"/>
                  <a:pt x="1761335" y="1243202"/>
                </a:cubicBezTo>
                <a:cubicBezTo>
                  <a:pt x="1756560" y="1230865"/>
                  <a:pt x="1751784" y="1219723"/>
                  <a:pt x="1747009" y="1207386"/>
                </a:cubicBezTo>
                <a:close/>
                <a:moveTo>
                  <a:pt x="3249278" y="1206590"/>
                </a:moveTo>
                <a:cubicBezTo>
                  <a:pt x="3239329" y="1220121"/>
                  <a:pt x="3230972" y="1231661"/>
                  <a:pt x="3220625" y="1245590"/>
                </a:cubicBezTo>
                <a:cubicBezTo>
                  <a:pt x="3232564" y="1254345"/>
                  <a:pt x="3243308" y="1262702"/>
                  <a:pt x="3254849" y="1271457"/>
                </a:cubicBezTo>
                <a:cubicBezTo>
                  <a:pt x="3265196" y="1257926"/>
                  <a:pt x="3274349" y="1245988"/>
                  <a:pt x="3285093" y="1233253"/>
                </a:cubicBezTo>
                <a:cubicBezTo>
                  <a:pt x="3272757" y="1224100"/>
                  <a:pt x="3261216" y="1215743"/>
                  <a:pt x="3249278" y="1206590"/>
                </a:cubicBezTo>
                <a:close/>
                <a:moveTo>
                  <a:pt x="1507840" y="1197438"/>
                </a:moveTo>
                <a:cubicBezTo>
                  <a:pt x="1498687" y="1202611"/>
                  <a:pt x="1491524" y="1206590"/>
                  <a:pt x="1481973" y="1212162"/>
                </a:cubicBezTo>
                <a:cubicBezTo>
                  <a:pt x="1488738" y="1223702"/>
                  <a:pt x="1494310" y="1232855"/>
                  <a:pt x="1500677" y="1243600"/>
                </a:cubicBezTo>
                <a:cubicBezTo>
                  <a:pt x="1510228" y="1238029"/>
                  <a:pt x="1517789" y="1233253"/>
                  <a:pt x="1525748" y="1228478"/>
                </a:cubicBezTo>
                <a:cubicBezTo>
                  <a:pt x="1519380" y="1216937"/>
                  <a:pt x="1513809" y="1207386"/>
                  <a:pt x="1507840" y="1197438"/>
                </a:cubicBezTo>
                <a:close/>
                <a:moveTo>
                  <a:pt x="1423872" y="1194254"/>
                </a:moveTo>
                <a:cubicBezTo>
                  <a:pt x="1414321" y="1200223"/>
                  <a:pt x="1407556" y="1204601"/>
                  <a:pt x="1398005" y="1210570"/>
                </a:cubicBezTo>
                <a:cubicBezTo>
                  <a:pt x="1405566" y="1221713"/>
                  <a:pt x="1411933" y="1230865"/>
                  <a:pt x="1418699" y="1240814"/>
                </a:cubicBezTo>
                <a:cubicBezTo>
                  <a:pt x="1428250" y="1234447"/>
                  <a:pt x="1435811" y="1229672"/>
                  <a:pt x="1443770" y="1224100"/>
                </a:cubicBezTo>
                <a:cubicBezTo>
                  <a:pt x="1436209" y="1212958"/>
                  <a:pt x="1430239" y="1204203"/>
                  <a:pt x="1423872" y="1194254"/>
                </a:cubicBezTo>
                <a:close/>
                <a:moveTo>
                  <a:pt x="1786804" y="1192264"/>
                </a:moveTo>
                <a:cubicBezTo>
                  <a:pt x="1774468" y="1197438"/>
                  <a:pt x="1764121" y="1201417"/>
                  <a:pt x="1753376" y="1205795"/>
                </a:cubicBezTo>
                <a:cubicBezTo>
                  <a:pt x="1758152" y="1218131"/>
                  <a:pt x="1762131" y="1228876"/>
                  <a:pt x="1767305" y="1241212"/>
                </a:cubicBezTo>
                <a:cubicBezTo>
                  <a:pt x="1778447" y="1236835"/>
                  <a:pt x="1788794" y="1232855"/>
                  <a:pt x="1799937" y="1228478"/>
                </a:cubicBezTo>
                <a:cubicBezTo>
                  <a:pt x="1795161" y="1215743"/>
                  <a:pt x="1791182" y="1204601"/>
                  <a:pt x="1786804" y="1192264"/>
                </a:cubicBezTo>
                <a:close/>
                <a:moveTo>
                  <a:pt x="1619664" y="1191070"/>
                </a:moveTo>
                <a:cubicBezTo>
                  <a:pt x="1602155" y="1200223"/>
                  <a:pt x="1585839" y="1208580"/>
                  <a:pt x="1568727" y="1217335"/>
                </a:cubicBezTo>
                <a:cubicBezTo>
                  <a:pt x="1586236" y="1250763"/>
                  <a:pt x="1602950" y="1282201"/>
                  <a:pt x="1620858" y="1316027"/>
                </a:cubicBezTo>
                <a:cubicBezTo>
                  <a:pt x="1637572" y="1306874"/>
                  <a:pt x="1652296" y="1299313"/>
                  <a:pt x="1667817" y="1290956"/>
                </a:cubicBezTo>
                <a:cubicBezTo>
                  <a:pt x="1651103" y="1256732"/>
                  <a:pt x="1635980" y="1224498"/>
                  <a:pt x="1619664" y="1191070"/>
                </a:cubicBezTo>
                <a:close/>
                <a:moveTo>
                  <a:pt x="3344388" y="1189478"/>
                </a:moveTo>
                <a:cubicBezTo>
                  <a:pt x="3333643" y="1203009"/>
                  <a:pt x="3324491" y="1214549"/>
                  <a:pt x="3314144" y="1227682"/>
                </a:cubicBezTo>
                <a:cubicBezTo>
                  <a:pt x="3326082" y="1237233"/>
                  <a:pt x="3337225" y="1246386"/>
                  <a:pt x="3349164" y="1255936"/>
                </a:cubicBezTo>
                <a:cubicBezTo>
                  <a:pt x="3359908" y="1243202"/>
                  <a:pt x="3369459" y="1231661"/>
                  <a:pt x="3380602" y="1218529"/>
                </a:cubicBezTo>
                <a:cubicBezTo>
                  <a:pt x="3367469" y="1208182"/>
                  <a:pt x="3356327" y="1199427"/>
                  <a:pt x="3344388" y="1189478"/>
                </a:cubicBezTo>
                <a:close/>
                <a:moveTo>
                  <a:pt x="2835010" y="1183509"/>
                </a:moveTo>
                <a:cubicBezTo>
                  <a:pt x="2829040" y="1197835"/>
                  <a:pt x="2823469" y="1211366"/>
                  <a:pt x="2817500" y="1225692"/>
                </a:cubicBezTo>
                <a:cubicBezTo>
                  <a:pt x="2838989" y="1234845"/>
                  <a:pt x="2857693" y="1243202"/>
                  <a:pt x="2877591" y="1251957"/>
                </a:cubicBezTo>
                <a:cubicBezTo>
                  <a:pt x="2884356" y="1237631"/>
                  <a:pt x="2890325" y="1225294"/>
                  <a:pt x="2896692" y="1211366"/>
                </a:cubicBezTo>
                <a:cubicBezTo>
                  <a:pt x="2875601" y="1201815"/>
                  <a:pt x="2856499" y="1193060"/>
                  <a:pt x="2835010" y="1183509"/>
                </a:cubicBezTo>
                <a:close/>
                <a:moveTo>
                  <a:pt x="1826997" y="1179132"/>
                </a:moveTo>
                <a:cubicBezTo>
                  <a:pt x="1815059" y="1183509"/>
                  <a:pt x="1804314" y="1187091"/>
                  <a:pt x="1792774" y="1191070"/>
                </a:cubicBezTo>
                <a:cubicBezTo>
                  <a:pt x="1797151" y="1203805"/>
                  <a:pt x="1801528" y="1214947"/>
                  <a:pt x="1806304" y="1226886"/>
                </a:cubicBezTo>
                <a:cubicBezTo>
                  <a:pt x="1818242" y="1222508"/>
                  <a:pt x="1828191" y="1219325"/>
                  <a:pt x="1838936" y="1215345"/>
                </a:cubicBezTo>
                <a:cubicBezTo>
                  <a:pt x="1834956" y="1202611"/>
                  <a:pt x="1830977" y="1191468"/>
                  <a:pt x="1826997" y="1179132"/>
                </a:cubicBezTo>
                <a:close/>
                <a:moveTo>
                  <a:pt x="3442284" y="1178336"/>
                </a:moveTo>
                <a:cubicBezTo>
                  <a:pt x="3430744" y="1191468"/>
                  <a:pt x="3421193" y="1203009"/>
                  <a:pt x="3410448" y="1215345"/>
                </a:cubicBezTo>
                <a:cubicBezTo>
                  <a:pt x="3422785" y="1226090"/>
                  <a:pt x="3433927" y="1235641"/>
                  <a:pt x="3445468" y="1246386"/>
                </a:cubicBezTo>
                <a:cubicBezTo>
                  <a:pt x="3457008" y="1234049"/>
                  <a:pt x="3466957" y="1222906"/>
                  <a:pt x="3478100" y="1210570"/>
                </a:cubicBezTo>
                <a:cubicBezTo>
                  <a:pt x="3466161" y="1199825"/>
                  <a:pt x="3455019" y="1189876"/>
                  <a:pt x="3442284" y="1178336"/>
                </a:cubicBezTo>
                <a:close/>
                <a:moveTo>
                  <a:pt x="1362587" y="1176346"/>
                </a:moveTo>
                <a:cubicBezTo>
                  <a:pt x="1353037" y="1183111"/>
                  <a:pt x="1345476" y="1188683"/>
                  <a:pt x="1336721" y="1194652"/>
                </a:cubicBezTo>
                <a:cubicBezTo>
                  <a:pt x="1344282" y="1205397"/>
                  <a:pt x="1350649" y="1214151"/>
                  <a:pt x="1357414" y="1224100"/>
                </a:cubicBezTo>
                <a:cubicBezTo>
                  <a:pt x="1366567" y="1217733"/>
                  <a:pt x="1374128" y="1212560"/>
                  <a:pt x="1382883" y="1206590"/>
                </a:cubicBezTo>
                <a:cubicBezTo>
                  <a:pt x="1376118" y="1196642"/>
                  <a:pt x="1370149" y="1187489"/>
                  <a:pt x="1362587" y="1176346"/>
                </a:cubicBezTo>
                <a:close/>
                <a:moveTo>
                  <a:pt x="3542568" y="1173162"/>
                </a:moveTo>
                <a:cubicBezTo>
                  <a:pt x="3531028" y="1185897"/>
                  <a:pt x="3521079" y="1196244"/>
                  <a:pt x="3509538" y="1208978"/>
                </a:cubicBezTo>
                <a:cubicBezTo>
                  <a:pt x="3521875" y="1220917"/>
                  <a:pt x="3533415" y="1231263"/>
                  <a:pt x="3541772" y="1239222"/>
                </a:cubicBezTo>
                <a:cubicBezTo>
                  <a:pt x="3555303" y="1228080"/>
                  <a:pt x="3567241" y="1218529"/>
                  <a:pt x="3579976" y="1208182"/>
                </a:cubicBezTo>
                <a:cubicBezTo>
                  <a:pt x="3566445" y="1195448"/>
                  <a:pt x="3554905" y="1184703"/>
                  <a:pt x="3542568" y="1173162"/>
                </a:cubicBezTo>
                <a:close/>
                <a:moveTo>
                  <a:pt x="1685724" y="1172366"/>
                </a:moveTo>
                <a:cubicBezTo>
                  <a:pt x="1672990" y="1177938"/>
                  <a:pt x="1662643" y="1182713"/>
                  <a:pt x="1651501" y="1187887"/>
                </a:cubicBezTo>
                <a:cubicBezTo>
                  <a:pt x="1657072" y="1199427"/>
                  <a:pt x="1661449" y="1208978"/>
                  <a:pt x="1667021" y="1221315"/>
                </a:cubicBezTo>
                <a:cubicBezTo>
                  <a:pt x="1678959" y="1216141"/>
                  <a:pt x="1689306" y="1211366"/>
                  <a:pt x="1700449" y="1206590"/>
                </a:cubicBezTo>
                <a:cubicBezTo>
                  <a:pt x="1695275" y="1194254"/>
                  <a:pt x="1690500" y="1183509"/>
                  <a:pt x="1685724" y="1172366"/>
                </a:cubicBezTo>
                <a:close/>
                <a:moveTo>
                  <a:pt x="1867190" y="1166795"/>
                </a:moveTo>
                <a:cubicBezTo>
                  <a:pt x="1855650" y="1169979"/>
                  <a:pt x="1845303" y="1173162"/>
                  <a:pt x="1832569" y="1176744"/>
                </a:cubicBezTo>
                <a:cubicBezTo>
                  <a:pt x="1837344" y="1190672"/>
                  <a:pt x="1841324" y="1201815"/>
                  <a:pt x="1845701" y="1213356"/>
                </a:cubicBezTo>
                <a:cubicBezTo>
                  <a:pt x="1857640" y="1209376"/>
                  <a:pt x="1867190" y="1206192"/>
                  <a:pt x="1878333" y="1202611"/>
                </a:cubicBezTo>
                <a:cubicBezTo>
                  <a:pt x="1874354" y="1189876"/>
                  <a:pt x="1870772" y="1178734"/>
                  <a:pt x="1867190" y="1166795"/>
                </a:cubicBezTo>
                <a:close/>
                <a:moveTo>
                  <a:pt x="1109888" y="1158438"/>
                </a:moveTo>
                <a:cubicBezTo>
                  <a:pt x="1104317" y="1162816"/>
                  <a:pt x="1099541" y="1166397"/>
                  <a:pt x="1095164" y="1169979"/>
                </a:cubicBezTo>
                <a:cubicBezTo>
                  <a:pt x="1088797" y="1175550"/>
                  <a:pt x="1082429" y="1181121"/>
                  <a:pt x="1076062" y="1186693"/>
                </a:cubicBezTo>
                <a:cubicBezTo>
                  <a:pt x="1091582" y="1209376"/>
                  <a:pt x="1109490" y="1208182"/>
                  <a:pt x="1130582" y="1183111"/>
                </a:cubicBezTo>
                <a:cubicBezTo>
                  <a:pt x="1124214" y="1175152"/>
                  <a:pt x="1117449" y="1167193"/>
                  <a:pt x="1109888" y="1158438"/>
                </a:cubicBezTo>
                <a:close/>
                <a:moveTo>
                  <a:pt x="1726713" y="1155653"/>
                </a:moveTo>
                <a:cubicBezTo>
                  <a:pt x="1714377" y="1160428"/>
                  <a:pt x="1704030" y="1165203"/>
                  <a:pt x="1692092" y="1170377"/>
                </a:cubicBezTo>
                <a:cubicBezTo>
                  <a:pt x="1697265" y="1181917"/>
                  <a:pt x="1701643" y="1192264"/>
                  <a:pt x="1706816" y="1204203"/>
                </a:cubicBezTo>
                <a:cubicBezTo>
                  <a:pt x="1719550" y="1199029"/>
                  <a:pt x="1729499" y="1194652"/>
                  <a:pt x="1740642" y="1190274"/>
                </a:cubicBezTo>
                <a:cubicBezTo>
                  <a:pt x="1735468" y="1177938"/>
                  <a:pt x="1731489" y="1167591"/>
                  <a:pt x="1726713" y="1155653"/>
                </a:cubicBezTo>
                <a:close/>
                <a:moveTo>
                  <a:pt x="2743481" y="1149683"/>
                </a:moveTo>
                <a:cubicBezTo>
                  <a:pt x="2738307" y="1164805"/>
                  <a:pt x="2734328" y="1177540"/>
                  <a:pt x="2729552" y="1192662"/>
                </a:cubicBezTo>
                <a:cubicBezTo>
                  <a:pt x="2750644" y="1200223"/>
                  <a:pt x="2769745" y="1207386"/>
                  <a:pt x="2790837" y="1214947"/>
                </a:cubicBezTo>
                <a:cubicBezTo>
                  <a:pt x="2796408" y="1200223"/>
                  <a:pt x="2801582" y="1187091"/>
                  <a:pt x="2807153" y="1172764"/>
                </a:cubicBezTo>
                <a:cubicBezTo>
                  <a:pt x="2784868" y="1164407"/>
                  <a:pt x="2764572" y="1157244"/>
                  <a:pt x="2743481" y="1149683"/>
                </a:cubicBezTo>
                <a:close/>
                <a:moveTo>
                  <a:pt x="3291062" y="1149285"/>
                </a:moveTo>
                <a:cubicBezTo>
                  <a:pt x="3281114" y="1162816"/>
                  <a:pt x="3271961" y="1175152"/>
                  <a:pt x="3262410" y="1188285"/>
                </a:cubicBezTo>
                <a:cubicBezTo>
                  <a:pt x="3275144" y="1197438"/>
                  <a:pt x="3286287" y="1206192"/>
                  <a:pt x="3298624" y="1215345"/>
                </a:cubicBezTo>
                <a:cubicBezTo>
                  <a:pt x="3308970" y="1201417"/>
                  <a:pt x="3318123" y="1189478"/>
                  <a:pt x="3328072" y="1176346"/>
                </a:cubicBezTo>
                <a:cubicBezTo>
                  <a:pt x="3314542" y="1166397"/>
                  <a:pt x="3303001" y="1158040"/>
                  <a:pt x="3291062" y="1149285"/>
                </a:cubicBezTo>
                <a:close/>
                <a:moveTo>
                  <a:pt x="1767305" y="1139734"/>
                </a:moveTo>
                <a:cubicBezTo>
                  <a:pt x="1754968" y="1144908"/>
                  <a:pt x="1744223" y="1149285"/>
                  <a:pt x="1733081" y="1154061"/>
                </a:cubicBezTo>
                <a:cubicBezTo>
                  <a:pt x="1737856" y="1166397"/>
                  <a:pt x="1741836" y="1176744"/>
                  <a:pt x="1746611" y="1187489"/>
                </a:cubicBezTo>
                <a:cubicBezTo>
                  <a:pt x="1758550" y="1182713"/>
                  <a:pt x="1769294" y="1179132"/>
                  <a:pt x="1780835" y="1174754"/>
                </a:cubicBezTo>
                <a:cubicBezTo>
                  <a:pt x="1776059" y="1162816"/>
                  <a:pt x="1772080" y="1151673"/>
                  <a:pt x="1767305" y="1139734"/>
                </a:cubicBezTo>
                <a:close/>
                <a:moveTo>
                  <a:pt x="3388561" y="1133765"/>
                </a:moveTo>
                <a:cubicBezTo>
                  <a:pt x="3377816" y="1147296"/>
                  <a:pt x="3369061" y="1158438"/>
                  <a:pt x="3358316" y="1171969"/>
                </a:cubicBezTo>
                <a:cubicBezTo>
                  <a:pt x="3371051" y="1182713"/>
                  <a:pt x="3382591" y="1191866"/>
                  <a:pt x="3394530" y="1201815"/>
                </a:cubicBezTo>
                <a:cubicBezTo>
                  <a:pt x="3405275" y="1189080"/>
                  <a:pt x="3415224" y="1177540"/>
                  <a:pt x="3425968" y="1164407"/>
                </a:cubicBezTo>
                <a:cubicBezTo>
                  <a:pt x="3412836" y="1153663"/>
                  <a:pt x="3400897" y="1144112"/>
                  <a:pt x="3388561" y="1133765"/>
                </a:cubicBezTo>
                <a:close/>
                <a:moveTo>
                  <a:pt x="1809487" y="1126204"/>
                </a:moveTo>
                <a:cubicBezTo>
                  <a:pt x="1796753" y="1130582"/>
                  <a:pt x="1786406" y="1134163"/>
                  <a:pt x="1774070" y="1138541"/>
                </a:cubicBezTo>
                <a:cubicBezTo>
                  <a:pt x="1778845" y="1151275"/>
                  <a:pt x="1783223" y="1162020"/>
                  <a:pt x="1787600" y="1173162"/>
                </a:cubicBezTo>
                <a:cubicBezTo>
                  <a:pt x="1799937" y="1168785"/>
                  <a:pt x="1809885" y="1165203"/>
                  <a:pt x="1821028" y="1161224"/>
                </a:cubicBezTo>
                <a:cubicBezTo>
                  <a:pt x="1817049" y="1148887"/>
                  <a:pt x="1813467" y="1138143"/>
                  <a:pt x="1809487" y="1126204"/>
                </a:cubicBezTo>
                <a:close/>
                <a:moveTo>
                  <a:pt x="1492320" y="1125806"/>
                </a:moveTo>
                <a:cubicBezTo>
                  <a:pt x="1482371" y="1131377"/>
                  <a:pt x="1474412" y="1136153"/>
                  <a:pt x="1465657" y="1141724"/>
                </a:cubicBezTo>
                <a:cubicBezTo>
                  <a:pt x="1472422" y="1152867"/>
                  <a:pt x="1477994" y="1162020"/>
                  <a:pt x="1483963" y="1172366"/>
                </a:cubicBezTo>
                <a:cubicBezTo>
                  <a:pt x="1493514" y="1167193"/>
                  <a:pt x="1501473" y="1162816"/>
                  <a:pt x="1510626" y="1157642"/>
                </a:cubicBezTo>
                <a:cubicBezTo>
                  <a:pt x="1503860" y="1146500"/>
                  <a:pt x="1498289" y="1136551"/>
                  <a:pt x="1492320" y="1125806"/>
                </a:cubicBezTo>
                <a:close/>
                <a:moveTo>
                  <a:pt x="3488049" y="1124612"/>
                </a:moveTo>
                <a:cubicBezTo>
                  <a:pt x="3476906" y="1137745"/>
                  <a:pt x="3467355" y="1148887"/>
                  <a:pt x="3456611" y="1161622"/>
                </a:cubicBezTo>
                <a:cubicBezTo>
                  <a:pt x="3469743" y="1173162"/>
                  <a:pt x="3481284" y="1183111"/>
                  <a:pt x="3493620" y="1193856"/>
                </a:cubicBezTo>
                <a:cubicBezTo>
                  <a:pt x="3505161" y="1180723"/>
                  <a:pt x="3515110" y="1169183"/>
                  <a:pt x="3525854" y="1156846"/>
                </a:cubicBezTo>
                <a:cubicBezTo>
                  <a:pt x="3511926" y="1145306"/>
                  <a:pt x="3500385" y="1135357"/>
                  <a:pt x="3488049" y="1124612"/>
                </a:cubicBezTo>
                <a:close/>
                <a:moveTo>
                  <a:pt x="1252355" y="1122622"/>
                </a:moveTo>
                <a:cubicBezTo>
                  <a:pt x="1233651" y="1136551"/>
                  <a:pt x="1216539" y="1149285"/>
                  <a:pt x="1197437" y="1162816"/>
                </a:cubicBezTo>
                <a:cubicBezTo>
                  <a:pt x="1214151" y="1183509"/>
                  <a:pt x="1226090" y="1208182"/>
                  <a:pt x="1245988" y="1219723"/>
                </a:cubicBezTo>
                <a:cubicBezTo>
                  <a:pt x="1277028" y="1238427"/>
                  <a:pt x="1313241" y="1248375"/>
                  <a:pt x="1347465" y="1261906"/>
                </a:cubicBezTo>
                <a:cubicBezTo>
                  <a:pt x="1348659" y="1261508"/>
                  <a:pt x="1349455" y="1260712"/>
                  <a:pt x="1350649" y="1259916"/>
                </a:cubicBezTo>
                <a:cubicBezTo>
                  <a:pt x="1318415" y="1214549"/>
                  <a:pt x="1285783" y="1169581"/>
                  <a:pt x="1252355" y="1122622"/>
                </a:cubicBezTo>
                <a:close/>
                <a:moveTo>
                  <a:pt x="2649962" y="1121429"/>
                </a:moveTo>
                <a:cubicBezTo>
                  <a:pt x="2645982" y="1136949"/>
                  <a:pt x="2642401" y="1150479"/>
                  <a:pt x="2638819" y="1165203"/>
                </a:cubicBezTo>
                <a:cubicBezTo>
                  <a:pt x="2660707" y="1171173"/>
                  <a:pt x="2680206" y="1176744"/>
                  <a:pt x="2701298" y="1182713"/>
                </a:cubicBezTo>
                <a:cubicBezTo>
                  <a:pt x="2706073" y="1167989"/>
                  <a:pt x="2710053" y="1154857"/>
                  <a:pt x="2714828" y="1140132"/>
                </a:cubicBezTo>
                <a:cubicBezTo>
                  <a:pt x="2691747" y="1133367"/>
                  <a:pt x="2671452" y="1127398"/>
                  <a:pt x="2649962" y="1121429"/>
                </a:cubicBezTo>
                <a:close/>
                <a:moveTo>
                  <a:pt x="3591118" y="1119837"/>
                </a:moveTo>
                <a:cubicBezTo>
                  <a:pt x="3578384" y="1133367"/>
                  <a:pt x="3568435" y="1144510"/>
                  <a:pt x="3557292" y="1156448"/>
                </a:cubicBezTo>
                <a:cubicBezTo>
                  <a:pt x="3570425" y="1168785"/>
                  <a:pt x="3582363" y="1179530"/>
                  <a:pt x="3591118" y="1187887"/>
                </a:cubicBezTo>
                <a:cubicBezTo>
                  <a:pt x="3604251" y="1176744"/>
                  <a:pt x="3615393" y="1166795"/>
                  <a:pt x="3624944" y="1158040"/>
                </a:cubicBezTo>
                <a:cubicBezTo>
                  <a:pt x="3613802" y="1145704"/>
                  <a:pt x="3603057" y="1133367"/>
                  <a:pt x="3591118" y="1119837"/>
                </a:cubicBezTo>
                <a:close/>
                <a:moveTo>
                  <a:pt x="1375322" y="1116653"/>
                </a:moveTo>
                <a:cubicBezTo>
                  <a:pt x="1364975" y="1123020"/>
                  <a:pt x="1357016" y="1128592"/>
                  <a:pt x="1348261" y="1134561"/>
                </a:cubicBezTo>
                <a:cubicBezTo>
                  <a:pt x="1355424" y="1145306"/>
                  <a:pt x="1361394" y="1154459"/>
                  <a:pt x="1368159" y="1164407"/>
                </a:cubicBezTo>
                <a:cubicBezTo>
                  <a:pt x="1377710" y="1158438"/>
                  <a:pt x="1385669" y="1153265"/>
                  <a:pt x="1394822" y="1147296"/>
                </a:cubicBezTo>
                <a:cubicBezTo>
                  <a:pt x="1388056" y="1136551"/>
                  <a:pt x="1382087" y="1127000"/>
                  <a:pt x="1375322" y="1116653"/>
                </a:cubicBezTo>
                <a:close/>
                <a:moveTo>
                  <a:pt x="1851272" y="1113072"/>
                </a:moveTo>
                <a:cubicBezTo>
                  <a:pt x="1838538" y="1117051"/>
                  <a:pt x="1827793" y="1120633"/>
                  <a:pt x="1815855" y="1124612"/>
                </a:cubicBezTo>
                <a:cubicBezTo>
                  <a:pt x="1820232" y="1136949"/>
                  <a:pt x="1823416" y="1147296"/>
                  <a:pt x="1827395" y="1159234"/>
                </a:cubicBezTo>
                <a:cubicBezTo>
                  <a:pt x="1839732" y="1155255"/>
                  <a:pt x="1850079" y="1152071"/>
                  <a:pt x="1862017" y="1148489"/>
                </a:cubicBezTo>
                <a:cubicBezTo>
                  <a:pt x="1858038" y="1135755"/>
                  <a:pt x="1854854" y="1125010"/>
                  <a:pt x="1851272" y="1113072"/>
                </a:cubicBezTo>
                <a:close/>
                <a:moveTo>
                  <a:pt x="1071287" y="1112276"/>
                </a:moveTo>
                <a:cubicBezTo>
                  <a:pt x="1058552" y="1123418"/>
                  <a:pt x="1047409" y="1133367"/>
                  <a:pt x="1035471" y="1143714"/>
                </a:cubicBezTo>
                <a:cubicBezTo>
                  <a:pt x="1044226" y="1153663"/>
                  <a:pt x="1051389" y="1161622"/>
                  <a:pt x="1059348" y="1170377"/>
                </a:cubicBezTo>
                <a:cubicBezTo>
                  <a:pt x="1072083" y="1159632"/>
                  <a:pt x="1082827" y="1150081"/>
                  <a:pt x="1094368" y="1140132"/>
                </a:cubicBezTo>
                <a:cubicBezTo>
                  <a:pt x="1086409" y="1130582"/>
                  <a:pt x="1080042" y="1122622"/>
                  <a:pt x="1071287" y="1112276"/>
                </a:cubicBezTo>
                <a:close/>
                <a:moveTo>
                  <a:pt x="1312445" y="1100337"/>
                </a:moveTo>
                <a:cubicBezTo>
                  <a:pt x="1302497" y="1107102"/>
                  <a:pt x="1294538" y="1112276"/>
                  <a:pt x="1284987" y="1119439"/>
                </a:cubicBezTo>
                <a:cubicBezTo>
                  <a:pt x="1292548" y="1130184"/>
                  <a:pt x="1298915" y="1138939"/>
                  <a:pt x="1305680" y="1148887"/>
                </a:cubicBezTo>
                <a:cubicBezTo>
                  <a:pt x="1315629" y="1142122"/>
                  <a:pt x="1323986" y="1136153"/>
                  <a:pt x="1332741" y="1130184"/>
                </a:cubicBezTo>
                <a:cubicBezTo>
                  <a:pt x="1325180" y="1119041"/>
                  <a:pt x="1319211" y="1110286"/>
                  <a:pt x="1312445" y="1100337"/>
                </a:cubicBezTo>
                <a:close/>
                <a:moveTo>
                  <a:pt x="3332847" y="1091582"/>
                </a:moveTo>
                <a:cubicBezTo>
                  <a:pt x="3322899" y="1105511"/>
                  <a:pt x="3313746" y="1118245"/>
                  <a:pt x="3304195" y="1131377"/>
                </a:cubicBezTo>
                <a:cubicBezTo>
                  <a:pt x="3317327" y="1140928"/>
                  <a:pt x="3328868" y="1149683"/>
                  <a:pt x="3341602" y="1159234"/>
                </a:cubicBezTo>
                <a:cubicBezTo>
                  <a:pt x="3351551" y="1146500"/>
                  <a:pt x="3360306" y="1134959"/>
                  <a:pt x="3371449" y="1120633"/>
                </a:cubicBezTo>
                <a:cubicBezTo>
                  <a:pt x="3357919" y="1110286"/>
                  <a:pt x="3345980" y="1101531"/>
                  <a:pt x="3332847" y="1091582"/>
                </a:cubicBezTo>
                <a:close/>
                <a:moveTo>
                  <a:pt x="1440188" y="1078450"/>
                </a:moveTo>
                <a:cubicBezTo>
                  <a:pt x="1430637" y="1083623"/>
                  <a:pt x="1422280" y="1088797"/>
                  <a:pt x="1412331" y="1094766"/>
                </a:cubicBezTo>
                <a:cubicBezTo>
                  <a:pt x="1419495" y="1106704"/>
                  <a:pt x="1425464" y="1115857"/>
                  <a:pt x="1431433" y="1125806"/>
                </a:cubicBezTo>
                <a:cubicBezTo>
                  <a:pt x="1441382" y="1119837"/>
                  <a:pt x="1449341" y="1114663"/>
                  <a:pt x="1458494" y="1109490"/>
                </a:cubicBezTo>
                <a:cubicBezTo>
                  <a:pt x="1451729" y="1098348"/>
                  <a:pt x="1446157" y="1088797"/>
                  <a:pt x="1440188" y="1078450"/>
                </a:cubicBezTo>
                <a:close/>
                <a:moveTo>
                  <a:pt x="3432335" y="1078052"/>
                </a:moveTo>
                <a:cubicBezTo>
                  <a:pt x="3421989" y="1091582"/>
                  <a:pt x="3412438" y="1103919"/>
                  <a:pt x="3402489" y="1116653"/>
                </a:cubicBezTo>
                <a:cubicBezTo>
                  <a:pt x="3415622" y="1127398"/>
                  <a:pt x="3426764" y="1136153"/>
                  <a:pt x="3440294" y="1147296"/>
                </a:cubicBezTo>
                <a:cubicBezTo>
                  <a:pt x="3451039" y="1134163"/>
                  <a:pt x="3460590" y="1122225"/>
                  <a:pt x="3471335" y="1109490"/>
                </a:cubicBezTo>
                <a:cubicBezTo>
                  <a:pt x="3457804" y="1098745"/>
                  <a:pt x="3445866" y="1089195"/>
                  <a:pt x="3432335" y="1078052"/>
                </a:cubicBezTo>
                <a:close/>
                <a:moveTo>
                  <a:pt x="1645929" y="1078052"/>
                </a:moveTo>
                <a:cubicBezTo>
                  <a:pt x="1632399" y="1084419"/>
                  <a:pt x="1621654" y="1089195"/>
                  <a:pt x="1608920" y="1094766"/>
                </a:cubicBezTo>
                <a:cubicBezTo>
                  <a:pt x="1622450" y="1124214"/>
                  <a:pt x="1635185" y="1151673"/>
                  <a:pt x="1648317" y="1180326"/>
                </a:cubicBezTo>
                <a:cubicBezTo>
                  <a:pt x="1660653" y="1174754"/>
                  <a:pt x="1671000" y="1169979"/>
                  <a:pt x="1682939" y="1164407"/>
                </a:cubicBezTo>
                <a:cubicBezTo>
                  <a:pt x="1670204" y="1134561"/>
                  <a:pt x="1658266" y="1106704"/>
                  <a:pt x="1645929" y="1078052"/>
                </a:cubicBezTo>
                <a:close/>
                <a:moveTo>
                  <a:pt x="3534609" y="1071287"/>
                </a:moveTo>
                <a:cubicBezTo>
                  <a:pt x="3523466" y="1084419"/>
                  <a:pt x="3513518" y="1095562"/>
                  <a:pt x="3503171" y="1107898"/>
                </a:cubicBezTo>
                <a:cubicBezTo>
                  <a:pt x="3515905" y="1119041"/>
                  <a:pt x="3527446" y="1129388"/>
                  <a:pt x="3540976" y="1142122"/>
                </a:cubicBezTo>
                <a:cubicBezTo>
                  <a:pt x="3552517" y="1128990"/>
                  <a:pt x="3562864" y="1117449"/>
                  <a:pt x="3573608" y="1105113"/>
                </a:cubicBezTo>
                <a:cubicBezTo>
                  <a:pt x="3559680" y="1092776"/>
                  <a:pt x="3547344" y="1082429"/>
                  <a:pt x="3534609" y="1071287"/>
                </a:cubicBezTo>
                <a:close/>
                <a:moveTo>
                  <a:pt x="3639270" y="1068899"/>
                </a:moveTo>
                <a:cubicBezTo>
                  <a:pt x="3626934" y="1081633"/>
                  <a:pt x="3616985" y="1092776"/>
                  <a:pt x="3605843" y="1104715"/>
                </a:cubicBezTo>
                <a:cubicBezTo>
                  <a:pt x="3618975" y="1117051"/>
                  <a:pt x="3631311" y="1128592"/>
                  <a:pt x="3642056" y="1138541"/>
                </a:cubicBezTo>
                <a:cubicBezTo>
                  <a:pt x="3654393" y="1127000"/>
                  <a:pt x="3665137" y="1116653"/>
                  <a:pt x="3677474" y="1105113"/>
                </a:cubicBezTo>
                <a:cubicBezTo>
                  <a:pt x="3664739" y="1092776"/>
                  <a:pt x="3652005" y="1080838"/>
                  <a:pt x="3639270" y="1068899"/>
                </a:cubicBezTo>
                <a:close/>
                <a:moveTo>
                  <a:pt x="1561961" y="1068103"/>
                </a:moveTo>
                <a:cubicBezTo>
                  <a:pt x="1541666" y="1078450"/>
                  <a:pt x="1523758" y="1087603"/>
                  <a:pt x="1505054" y="1097154"/>
                </a:cubicBezTo>
                <a:cubicBezTo>
                  <a:pt x="1522166" y="1129786"/>
                  <a:pt x="1538482" y="1160428"/>
                  <a:pt x="1555594" y="1192662"/>
                </a:cubicBezTo>
                <a:cubicBezTo>
                  <a:pt x="1573502" y="1183509"/>
                  <a:pt x="1590216" y="1175152"/>
                  <a:pt x="1608920" y="1165601"/>
                </a:cubicBezTo>
                <a:cubicBezTo>
                  <a:pt x="1592604" y="1131775"/>
                  <a:pt x="1577879" y="1100735"/>
                  <a:pt x="1561961" y="1068103"/>
                </a:cubicBezTo>
                <a:close/>
                <a:moveTo>
                  <a:pt x="2885151" y="1063328"/>
                </a:moveTo>
                <a:cubicBezTo>
                  <a:pt x="2879182" y="1078052"/>
                  <a:pt x="2874009" y="1090786"/>
                  <a:pt x="2868040" y="1104715"/>
                </a:cubicBezTo>
                <a:cubicBezTo>
                  <a:pt x="2889927" y="1114663"/>
                  <a:pt x="2910621" y="1123816"/>
                  <a:pt x="2932906" y="1133765"/>
                </a:cubicBezTo>
                <a:cubicBezTo>
                  <a:pt x="2939273" y="1120633"/>
                  <a:pt x="2945242" y="1108296"/>
                  <a:pt x="2952803" y="1092776"/>
                </a:cubicBezTo>
                <a:cubicBezTo>
                  <a:pt x="2928926" y="1082429"/>
                  <a:pt x="2907835" y="1073276"/>
                  <a:pt x="2885151" y="1063328"/>
                </a:cubicBezTo>
                <a:close/>
                <a:moveTo>
                  <a:pt x="1689704" y="1060144"/>
                </a:moveTo>
                <a:cubicBezTo>
                  <a:pt x="1675776" y="1066113"/>
                  <a:pt x="1664633" y="1070889"/>
                  <a:pt x="1652296" y="1075664"/>
                </a:cubicBezTo>
                <a:cubicBezTo>
                  <a:pt x="1665031" y="1105511"/>
                  <a:pt x="1676969" y="1133765"/>
                  <a:pt x="1689306" y="1162418"/>
                </a:cubicBezTo>
                <a:cubicBezTo>
                  <a:pt x="1702040" y="1156846"/>
                  <a:pt x="1712387" y="1152867"/>
                  <a:pt x="1723928" y="1147694"/>
                </a:cubicBezTo>
                <a:cubicBezTo>
                  <a:pt x="1712387" y="1118245"/>
                  <a:pt x="1701643" y="1090388"/>
                  <a:pt x="1689704" y="1060144"/>
                </a:cubicBezTo>
                <a:close/>
                <a:moveTo>
                  <a:pt x="2666278" y="1058552"/>
                </a:moveTo>
                <a:cubicBezTo>
                  <a:pt x="2661901" y="1075664"/>
                  <a:pt x="2658717" y="1088399"/>
                  <a:pt x="2655135" y="1101929"/>
                </a:cubicBezTo>
                <a:cubicBezTo>
                  <a:pt x="2677819" y="1108296"/>
                  <a:pt x="2698910" y="1114266"/>
                  <a:pt x="2720797" y="1120633"/>
                </a:cubicBezTo>
                <a:cubicBezTo>
                  <a:pt x="2725573" y="1106307"/>
                  <a:pt x="2729552" y="1093174"/>
                  <a:pt x="2734328" y="1077654"/>
                </a:cubicBezTo>
                <a:cubicBezTo>
                  <a:pt x="2709655" y="1070889"/>
                  <a:pt x="2688165" y="1064522"/>
                  <a:pt x="2666278" y="1058552"/>
                </a:cubicBezTo>
                <a:close/>
                <a:moveTo>
                  <a:pt x="1385271" y="1054175"/>
                </a:moveTo>
                <a:cubicBezTo>
                  <a:pt x="1374924" y="1060940"/>
                  <a:pt x="1366169" y="1066113"/>
                  <a:pt x="1357414" y="1072083"/>
                </a:cubicBezTo>
                <a:cubicBezTo>
                  <a:pt x="1364179" y="1082827"/>
                  <a:pt x="1369751" y="1091980"/>
                  <a:pt x="1376516" y="1102725"/>
                </a:cubicBezTo>
                <a:cubicBezTo>
                  <a:pt x="1386863" y="1096358"/>
                  <a:pt x="1395220" y="1090786"/>
                  <a:pt x="1404372" y="1085215"/>
                </a:cubicBezTo>
                <a:cubicBezTo>
                  <a:pt x="1397209" y="1073674"/>
                  <a:pt x="1391638" y="1064124"/>
                  <a:pt x="1385271" y="1054175"/>
                </a:cubicBezTo>
                <a:close/>
                <a:moveTo>
                  <a:pt x="2051840" y="1052185"/>
                </a:moveTo>
                <a:cubicBezTo>
                  <a:pt x="2040300" y="1053777"/>
                  <a:pt x="2029953" y="1055369"/>
                  <a:pt x="2018014" y="1056563"/>
                </a:cubicBezTo>
                <a:cubicBezTo>
                  <a:pt x="2020402" y="1071287"/>
                  <a:pt x="2022392" y="1084021"/>
                  <a:pt x="2024779" y="1097950"/>
                </a:cubicBezTo>
                <a:cubicBezTo>
                  <a:pt x="2036718" y="1095960"/>
                  <a:pt x="2046667" y="1094368"/>
                  <a:pt x="2057810" y="1092378"/>
                </a:cubicBezTo>
                <a:cubicBezTo>
                  <a:pt x="2055820" y="1078450"/>
                  <a:pt x="2053830" y="1066113"/>
                  <a:pt x="2051840" y="1052185"/>
                </a:cubicBezTo>
                <a:close/>
                <a:moveTo>
                  <a:pt x="1627623" y="1036665"/>
                </a:moveTo>
                <a:cubicBezTo>
                  <a:pt x="1614491" y="1043032"/>
                  <a:pt x="1602950" y="1048604"/>
                  <a:pt x="1590216" y="1054573"/>
                </a:cubicBezTo>
                <a:cubicBezTo>
                  <a:pt x="1596185" y="1066909"/>
                  <a:pt x="1600961" y="1076858"/>
                  <a:pt x="1606134" y="1087205"/>
                </a:cubicBezTo>
                <a:cubicBezTo>
                  <a:pt x="1618470" y="1081633"/>
                  <a:pt x="1629215" y="1076858"/>
                  <a:pt x="1642746" y="1070889"/>
                </a:cubicBezTo>
                <a:cubicBezTo>
                  <a:pt x="1637572" y="1058552"/>
                  <a:pt x="1632797" y="1048206"/>
                  <a:pt x="1627623" y="1036665"/>
                </a:cubicBezTo>
                <a:close/>
                <a:moveTo>
                  <a:pt x="2566790" y="1035073"/>
                </a:moveTo>
                <a:cubicBezTo>
                  <a:pt x="2564004" y="1052185"/>
                  <a:pt x="2561617" y="1065317"/>
                  <a:pt x="2559627" y="1079644"/>
                </a:cubicBezTo>
                <a:cubicBezTo>
                  <a:pt x="2582708" y="1084817"/>
                  <a:pt x="2603800" y="1089195"/>
                  <a:pt x="2625687" y="1093970"/>
                </a:cubicBezTo>
                <a:cubicBezTo>
                  <a:pt x="2629268" y="1078450"/>
                  <a:pt x="2632850" y="1065317"/>
                  <a:pt x="2636432" y="1050195"/>
                </a:cubicBezTo>
                <a:cubicBezTo>
                  <a:pt x="2612953" y="1045022"/>
                  <a:pt x="2591463" y="1040246"/>
                  <a:pt x="2566790" y="1035073"/>
                </a:cubicBezTo>
                <a:close/>
                <a:moveTo>
                  <a:pt x="3375030" y="1034277"/>
                </a:moveTo>
                <a:cubicBezTo>
                  <a:pt x="3364684" y="1048604"/>
                  <a:pt x="3355929" y="1060940"/>
                  <a:pt x="3346378" y="1074072"/>
                </a:cubicBezTo>
                <a:cubicBezTo>
                  <a:pt x="3359908" y="1084419"/>
                  <a:pt x="3371847" y="1093174"/>
                  <a:pt x="3384979" y="1103123"/>
                </a:cubicBezTo>
                <a:cubicBezTo>
                  <a:pt x="3395326" y="1089593"/>
                  <a:pt x="3404877" y="1077256"/>
                  <a:pt x="3414826" y="1064124"/>
                </a:cubicBezTo>
                <a:cubicBezTo>
                  <a:pt x="3400897" y="1053777"/>
                  <a:pt x="3388561" y="1044226"/>
                  <a:pt x="3375030" y="1034277"/>
                </a:cubicBezTo>
                <a:close/>
                <a:moveTo>
                  <a:pt x="1778447" y="1029104"/>
                </a:moveTo>
                <a:cubicBezTo>
                  <a:pt x="1765315" y="1033481"/>
                  <a:pt x="1754172" y="1037063"/>
                  <a:pt x="1740244" y="1041838"/>
                </a:cubicBezTo>
                <a:cubicBezTo>
                  <a:pt x="1750989" y="1072481"/>
                  <a:pt x="1761335" y="1101133"/>
                  <a:pt x="1771682" y="1130582"/>
                </a:cubicBezTo>
                <a:cubicBezTo>
                  <a:pt x="1784814" y="1126204"/>
                  <a:pt x="1795161" y="1122622"/>
                  <a:pt x="1807498" y="1118643"/>
                </a:cubicBezTo>
                <a:cubicBezTo>
                  <a:pt x="1797549" y="1088399"/>
                  <a:pt x="1788396" y="1059348"/>
                  <a:pt x="1778447" y="1029104"/>
                </a:cubicBezTo>
                <a:close/>
                <a:moveTo>
                  <a:pt x="3199932" y="1025522"/>
                </a:moveTo>
                <a:cubicBezTo>
                  <a:pt x="3195952" y="1032685"/>
                  <a:pt x="3192370" y="1037859"/>
                  <a:pt x="3188789" y="1044624"/>
                </a:cubicBezTo>
                <a:cubicBezTo>
                  <a:pt x="3217043" y="1062930"/>
                  <a:pt x="3244104" y="1080838"/>
                  <a:pt x="3272757" y="1099541"/>
                </a:cubicBezTo>
                <a:cubicBezTo>
                  <a:pt x="3276736" y="1093572"/>
                  <a:pt x="3280716" y="1088399"/>
                  <a:pt x="3285491" y="1081633"/>
                </a:cubicBezTo>
                <a:cubicBezTo>
                  <a:pt x="3256441" y="1062532"/>
                  <a:pt x="3228584" y="1044226"/>
                  <a:pt x="3199932" y="1025522"/>
                </a:cubicBezTo>
                <a:close/>
                <a:moveTo>
                  <a:pt x="2785664" y="1025522"/>
                </a:moveTo>
                <a:cubicBezTo>
                  <a:pt x="2780888" y="1039848"/>
                  <a:pt x="2776113" y="1052981"/>
                  <a:pt x="2770939" y="1068103"/>
                </a:cubicBezTo>
                <a:cubicBezTo>
                  <a:pt x="2794419" y="1076858"/>
                  <a:pt x="2815510" y="1084419"/>
                  <a:pt x="2838193" y="1092378"/>
                </a:cubicBezTo>
                <a:cubicBezTo>
                  <a:pt x="2843765" y="1078052"/>
                  <a:pt x="2848938" y="1065317"/>
                  <a:pt x="2854509" y="1050593"/>
                </a:cubicBezTo>
                <a:cubicBezTo>
                  <a:pt x="2831428" y="1042236"/>
                  <a:pt x="2809541" y="1034277"/>
                  <a:pt x="2785664" y="1025522"/>
                </a:cubicBezTo>
                <a:close/>
                <a:moveTo>
                  <a:pt x="1934444" y="1023930"/>
                </a:moveTo>
                <a:cubicBezTo>
                  <a:pt x="1921710" y="1026716"/>
                  <a:pt x="1911761" y="1029104"/>
                  <a:pt x="1900221" y="1031889"/>
                </a:cubicBezTo>
                <a:cubicBezTo>
                  <a:pt x="1903802" y="1046216"/>
                  <a:pt x="1906986" y="1058552"/>
                  <a:pt x="1910169" y="1072481"/>
                </a:cubicBezTo>
                <a:cubicBezTo>
                  <a:pt x="1922506" y="1069695"/>
                  <a:pt x="1932853" y="1067307"/>
                  <a:pt x="1944393" y="1064522"/>
                </a:cubicBezTo>
                <a:cubicBezTo>
                  <a:pt x="1940812" y="1049797"/>
                  <a:pt x="1937628" y="1037461"/>
                  <a:pt x="1934444" y="1023930"/>
                </a:cubicBezTo>
                <a:close/>
                <a:moveTo>
                  <a:pt x="3476906" y="1023134"/>
                </a:moveTo>
                <a:cubicBezTo>
                  <a:pt x="3466559" y="1035869"/>
                  <a:pt x="3457008" y="1047808"/>
                  <a:pt x="3446264" y="1061338"/>
                </a:cubicBezTo>
                <a:cubicBezTo>
                  <a:pt x="3460192" y="1072481"/>
                  <a:pt x="3472131" y="1082429"/>
                  <a:pt x="3485661" y="1093174"/>
                </a:cubicBezTo>
                <a:cubicBezTo>
                  <a:pt x="3496406" y="1080042"/>
                  <a:pt x="3506355" y="1068501"/>
                  <a:pt x="3517099" y="1055767"/>
                </a:cubicBezTo>
                <a:cubicBezTo>
                  <a:pt x="3503569" y="1044624"/>
                  <a:pt x="3490834" y="1034277"/>
                  <a:pt x="3476906" y="1023134"/>
                </a:cubicBezTo>
                <a:close/>
                <a:moveTo>
                  <a:pt x="1672592" y="1018757"/>
                </a:moveTo>
                <a:cubicBezTo>
                  <a:pt x="1659062" y="1024328"/>
                  <a:pt x="1647919" y="1029104"/>
                  <a:pt x="1634787" y="1034675"/>
                </a:cubicBezTo>
                <a:cubicBezTo>
                  <a:pt x="1639960" y="1046614"/>
                  <a:pt x="1644337" y="1056563"/>
                  <a:pt x="1649113" y="1068103"/>
                </a:cubicBezTo>
                <a:cubicBezTo>
                  <a:pt x="1662245" y="1062930"/>
                  <a:pt x="1673388" y="1058154"/>
                  <a:pt x="1686520" y="1052981"/>
                </a:cubicBezTo>
                <a:cubicBezTo>
                  <a:pt x="1681745" y="1040644"/>
                  <a:pt x="1677367" y="1030298"/>
                  <a:pt x="1672592" y="1018757"/>
                </a:cubicBezTo>
                <a:close/>
                <a:moveTo>
                  <a:pt x="2384130" y="1017961"/>
                </a:moveTo>
                <a:cubicBezTo>
                  <a:pt x="2382936" y="1041042"/>
                  <a:pt x="2381742" y="1060940"/>
                  <a:pt x="2380549" y="1082031"/>
                </a:cubicBezTo>
                <a:cubicBezTo>
                  <a:pt x="2398456" y="1083623"/>
                  <a:pt x="2413977" y="1084817"/>
                  <a:pt x="2430691" y="1086409"/>
                </a:cubicBezTo>
                <a:cubicBezTo>
                  <a:pt x="2433078" y="1064124"/>
                  <a:pt x="2435068" y="1044624"/>
                  <a:pt x="2437456" y="1023532"/>
                </a:cubicBezTo>
                <a:cubicBezTo>
                  <a:pt x="2419548" y="1021941"/>
                  <a:pt x="2403630" y="1019951"/>
                  <a:pt x="2384130" y="1017961"/>
                </a:cubicBezTo>
                <a:close/>
                <a:moveTo>
                  <a:pt x="3580772" y="1016767"/>
                </a:moveTo>
                <a:cubicBezTo>
                  <a:pt x="3569629" y="1029900"/>
                  <a:pt x="3559680" y="1041838"/>
                  <a:pt x="3548936" y="1054175"/>
                </a:cubicBezTo>
                <a:cubicBezTo>
                  <a:pt x="3562864" y="1066511"/>
                  <a:pt x="3575200" y="1077256"/>
                  <a:pt x="3588333" y="1088797"/>
                </a:cubicBezTo>
                <a:cubicBezTo>
                  <a:pt x="3599873" y="1076062"/>
                  <a:pt x="3610220" y="1064522"/>
                  <a:pt x="3620965" y="1052185"/>
                </a:cubicBezTo>
                <a:cubicBezTo>
                  <a:pt x="3607434" y="1040246"/>
                  <a:pt x="3595098" y="1029502"/>
                  <a:pt x="3580772" y="1016767"/>
                </a:cubicBezTo>
                <a:close/>
                <a:moveTo>
                  <a:pt x="2205450" y="1015175"/>
                </a:moveTo>
                <a:cubicBezTo>
                  <a:pt x="2186746" y="1016369"/>
                  <a:pt x="2170032" y="1017563"/>
                  <a:pt x="2152124" y="1018757"/>
                </a:cubicBezTo>
                <a:cubicBezTo>
                  <a:pt x="2153716" y="1040246"/>
                  <a:pt x="2155308" y="1060144"/>
                  <a:pt x="2156899" y="1082031"/>
                </a:cubicBezTo>
                <a:cubicBezTo>
                  <a:pt x="2175603" y="1080838"/>
                  <a:pt x="2191123" y="1079644"/>
                  <a:pt x="2205450" y="1078848"/>
                </a:cubicBezTo>
                <a:cubicBezTo>
                  <a:pt x="2205450" y="1056563"/>
                  <a:pt x="2205450" y="1037063"/>
                  <a:pt x="2205450" y="1015175"/>
                </a:cubicBezTo>
                <a:close/>
                <a:moveTo>
                  <a:pt x="1823018" y="1015175"/>
                </a:moveTo>
                <a:cubicBezTo>
                  <a:pt x="1809090" y="1019553"/>
                  <a:pt x="1797151" y="1023532"/>
                  <a:pt x="1784417" y="1027512"/>
                </a:cubicBezTo>
                <a:cubicBezTo>
                  <a:pt x="1794763" y="1058552"/>
                  <a:pt x="1803916" y="1087205"/>
                  <a:pt x="1813467" y="1116653"/>
                </a:cubicBezTo>
                <a:cubicBezTo>
                  <a:pt x="1826599" y="1112674"/>
                  <a:pt x="1836946" y="1109490"/>
                  <a:pt x="1849681" y="1105511"/>
                </a:cubicBezTo>
                <a:cubicBezTo>
                  <a:pt x="1840528" y="1074072"/>
                  <a:pt x="1832171" y="1045420"/>
                  <a:pt x="1823018" y="1015175"/>
                </a:cubicBezTo>
                <a:close/>
                <a:moveTo>
                  <a:pt x="2306927" y="1014380"/>
                </a:moveTo>
                <a:cubicBezTo>
                  <a:pt x="2306927" y="1036665"/>
                  <a:pt x="2306927" y="1056165"/>
                  <a:pt x="2306927" y="1077654"/>
                </a:cubicBezTo>
                <a:cubicBezTo>
                  <a:pt x="2323244" y="1078450"/>
                  <a:pt x="2338764" y="1079246"/>
                  <a:pt x="2356274" y="1080042"/>
                </a:cubicBezTo>
                <a:cubicBezTo>
                  <a:pt x="2357865" y="1058552"/>
                  <a:pt x="2359059" y="1038655"/>
                  <a:pt x="2360253" y="1016767"/>
                </a:cubicBezTo>
                <a:cubicBezTo>
                  <a:pt x="2341549" y="1015971"/>
                  <a:pt x="2325233" y="1015175"/>
                  <a:pt x="2306927" y="1014380"/>
                </a:cubicBezTo>
                <a:close/>
                <a:moveTo>
                  <a:pt x="1718356" y="1001645"/>
                </a:moveTo>
                <a:cubicBezTo>
                  <a:pt x="1704428" y="1006818"/>
                  <a:pt x="1692888" y="1011196"/>
                  <a:pt x="1679755" y="1016369"/>
                </a:cubicBezTo>
                <a:cubicBezTo>
                  <a:pt x="1684133" y="1027910"/>
                  <a:pt x="1688112" y="1038257"/>
                  <a:pt x="1692888" y="1050991"/>
                </a:cubicBezTo>
                <a:cubicBezTo>
                  <a:pt x="1706418" y="1045818"/>
                  <a:pt x="1717561" y="1041440"/>
                  <a:pt x="1730693" y="1036267"/>
                </a:cubicBezTo>
                <a:cubicBezTo>
                  <a:pt x="1726315" y="1023930"/>
                  <a:pt x="1722336" y="1013186"/>
                  <a:pt x="1718356" y="1001645"/>
                </a:cubicBezTo>
                <a:close/>
                <a:moveTo>
                  <a:pt x="2476057" y="995676"/>
                </a:moveTo>
                <a:cubicBezTo>
                  <a:pt x="2468098" y="1053777"/>
                  <a:pt x="2460935" y="1109490"/>
                  <a:pt x="2453374" y="1167193"/>
                </a:cubicBezTo>
                <a:cubicBezTo>
                  <a:pt x="2472077" y="1169979"/>
                  <a:pt x="2489189" y="1172366"/>
                  <a:pt x="2507495" y="1175152"/>
                </a:cubicBezTo>
                <a:cubicBezTo>
                  <a:pt x="2517444" y="1117051"/>
                  <a:pt x="2526995" y="1061736"/>
                  <a:pt x="2536944" y="1004431"/>
                </a:cubicBezTo>
                <a:cubicBezTo>
                  <a:pt x="2516648" y="1001247"/>
                  <a:pt x="2497944" y="998462"/>
                  <a:pt x="2476057" y="995676"/>
                </a:cubicBezTo>
                <a:close/>
                <a:moveTo>
                  <a:pt x="1044226" y="994084"/>
                </a:moveTo>
                <a:cubicBezTo>
                  <a:pt x="1030298" y="1006023"/>
                  <a:pt x="1018359" y="1015971"/>
                  <a:pt x="1006022" y="1026318"/>
                </a:cubicBezTo>
                <a:cubicBezTo>
                  <a:pt x="1013584" y="1035869"/>
                  <a:pt x="1019951" y="1043032"/>
                  <a:pt x="1027114" y="1051787"/>
                </a:cubicBezTo>
                <a:cubicBezTo>
                  <a:pt x="1040644" y="1041042"/>
                  <a:pt x="1052583" y="1031093"/>
                  <a:pt x="1065317" y="1020747"/>
                </a:cubicBezTo>
                <a:cubicBezTo>
                  <a:pt x="1058154" y="1011992"/>
                  <a:pt x="1052185" y="1004033"/>
                  <a:pt x="1044226" y="994084"/>
                </a:cubicBezTo>
                <a:close/>
                <a:moveTo>
                  <a:pt x="1764519" y="985727"/>
                </a:moveTo>
                <a:cubicBezTo>
                  <a:pt x="1750989" y="990502"/>
                  <a:pt x="1739448" y="994482"/>
                  <a:pt x="1725122" y="999257"/>
                </a:cubicBezTo>
                <a:cubicBezTo>
                  <a:pt x="1729897" y="1012390"/>
                  <a:pt x="1733877" y="1023134"/>
                  <a:pt x="1737856" y="1034277"/>
                </a:cubicBezTo>
                <a:cubicBezTo>
                  <a:pt x="1752182" y="1029104"/>
                  <a:pt x="1763723" y="1025124"/>
                  <a:pt x="1776059" y="1020349"/>
                </a:cubicBezTo>
                <a:cubicBezTo>
                  <a:pt x="1772080" y="1008012"/>
                  <a:pt x="1768498" y="997666"/>
                  <a:pt x="1764519" y="985727"/>
                </a:cubicBezTo>
                <a:close/>
                <a:moveTo>
                  <a:pt x="1606134" y="984931"/>
                </a:moveTo>
                <a:cubicBezTo>
                  <a:pt x="1593002" y="990900"/>
                  <a:pt x="1580665" y="996074"/>
                  <a:pt x="1567135" y="1002043"/>
                </a:cubicBezTo>
                <a:cubicBezTo>
                  <a:pt x="1573104" y="1014380"/>
                  <a:pt x="1577879" y="1024726"/>
                  <a:pt x="1583053" y="1036665"/>
                </a:cubicBezTo>
                <a:cubicBezTo>
                  <a:pt x="1596185" y="1031093"/>
                  <a:pt x="1608124" y="1025920"/>
                  <a:pt x="1621256" y="1019951"/>
                </a:cubicBezTo>
                <a:cubicBezTo>
                  <a:pt x="1616481" y="1008410"/>
                  <a:pt x="1612103" y="998462"/>
                  <a:pt x="1606134" y="984931"/>
                </a:cubicBezTo>
                <a:close/>
                <a:moveTo>
                  <a:pt x="3416815" y="976972"/>
                </a:moveTo>
                <a:cubicBezTo>
                  <a:pt x="3406867" y="990900"/>
                  <a:pt x="3397714" y="1003635"/>
                  <a:pt x="3388561" y="1016767"/>
                </a:cubicBezTo>
                <a:cubicBezTo>
                  <a:pt x="3402489" y="1027114"/>
                  <a:pt x="3414826" y="1036665"/>
                  <a:pt x="3428754" y="1047012"/>
                </a:cubicBezTo>
                <a:cubicBezTo>
                  <a:pt x="3438703" y="1034277"/>
                  <a:pt x="3447856" y="1022339"/>
                  <a:pt x="3458600" y="1008410"/>
                </a:cubicBezTo>
                <a:cubicBezTo>
                  <a:pt x="3443876" y="997268"/>
                  <a:pt x="3430744" y="987717"/>
                  <a:pt x="3416815" y="976972"/>
                </a:cubicBezTo>
                <a:close/>
                <a:moveTo>
                  <a:pt x="1810681" y="971799"/>
                </a:moveTo>
                <a:cubicBezTo>
                  <a:pt x="1796753" y="976176"/>
                  <a:pt x="1784417" y="980156"/>
                  <a:pt x="1771682" y="984135"/>
                </a:cubicBezTo>
                <a:cubicBezTo>
                  <a:pt x="1775662" y="996472"/>
                  <a:pt x="1778845" y="1006818"/>
                  <a:pt x="1782825" y="1018757"/>
                </a:cubicBezTo>
                <a:cubicBezTo>
                  <a:pt x="1795957" y="1014777"/>
                  <a:pt x="1807498" y="1011594"/>
                  <a:pt x="1821426" y="1007216"/>
                </a:cubicBezTo>
                <a:cubicBezTo>
                  <a:pt x="1817446" y="994084"/>
                  <a:pt x="1814263" y="983737"/>
                  <a:pt x="1810681" y="971799"/>
                </a:cubicBezTo>
                <a:close/>
                <a:moveTo>
                  <a:pt x="3520681" y="967023"/>
                </a:moveTo>
                <a:cubicBezTo>
                  <a:pt x="3509936" y="980554"/>
                  <a:pt x="3500385" y="992492"/>
                  <a:pt x="3490437" y="1005227"/>
                </a:cubicBezTo>
                <a:cubicBezTo>
                  <a:pt x="3504763" y="1016767"/>
                  <a:pt x="3516701" y="1026716"/>
                  <a:pt x="3531426" y="1038655"/>
                </a:cubicBezTo>
                <a:cubicBezTo>
                  <a:pt x="3542170" y="1025522"/>
                  <a:pt x="3551721" y="1013584"/>
                  <a:pt x="3562466" y="1000849"/>
                </a:cubicBezTo>
                <a:cubicBezTo>
                  <a:pt x="3547741" y="988911"/>
                  <a:pt x="3534609" y="978564"/>
                  <a:pt x="3520681" y="967023"/>
                </a:cubicBezTo>
                <a:close/>
                <a:moveTo>
                  <a:pt x="1652296" y="965034"/>
                </a:moveTo>
                <a:cubicBezTo>
                  <a:pt x="1637970" y="971401"/>
                  <a:pt x="1625634" y="976574"/>
                  <a:pt x="1612899" y="982145"/>
                </a:cubicBezTo>
                <a:cubicBezTo>
                  <a:pt x="1618470" y="994880"/>
                  <a:pt x="1623246" y="1005625"/>
                  <a:pt x="1628419" y="1017165"/>
                </a:cubicBezTo>
                <a:cubicBezTo>
                  <a:pt x="1642348" y="1011196"/>
                  <a:pt x="1654286" y="1006023"/>
                  <a:pt x="1666623" y="1000849"/>
                </a:cubicBezTo>
                <a:cubicBezTo>
                  <a:pt x="1661449" y="988115"/>
                  <a:pt x="1657470" y="977768"/>
                  <a:pt x="1652296" y="965034"/>
                </a:cubicBezTo>
                <a:close/>
                <a:moveTo>
                  <a:pt x="1699255" y="947922"/>
                </a:moveTo>
                <a:cubicBezTo>
                  <a:pt x="1685326" y="953095"/>
                  <a:pt x="1672990" y="957870"/>
                  <a:pt x="1659460" y="963044"/>
                </a:cubicBezTo>
                <a:cubicBezTo>
                  <a:pt x="1664235" y="975380"/>
                  <a:pt x="1668214" y="985727"/>
                  <a:pt x="1673388" y="998859"/>
                </a:cubicBezTo>
                <a:cubicBezTo>
                  <a:pt x="1687316" y="993686"/>
                  <a:pt x="1699255" y="989309"/>
                  <a:pt x="1712387" y="984135"/>
                </a:cubicBezTo>
                <a:cubicBezTo>
                  <a:pt x="1708010" y="971799"/>
                  <a:pt x="1704030" y="960656"/>
                  <a:pt x="1699255" y="947922"/>
                </a:cubicBezTo>
                <a:close/>
                <a:moveTo>
                  <a:pt x="1006818" y="947126"/>
                </a:moveTo>
                <a:cubicBezTo>
                  <a:pt x="992890" y="958666"/>
                  <a:pt x="980554" y="969013"/>
                  <a:pt x="967421" y="979758"/>
                </a:cubicBezTo>
                <a:cubicBezTo>
                  <a:pt x="975380" y="989707"/>
                  <a:pt x="982543" y="998064"/>
                  <a:pt x="991298" y="1008410"/>
                </a:cubicBezTo>
                <a:cubicBezTo>
                  <a:pt x="1005227" y="996870"/>
                  <a:pt x="1017165" y="986921"/>
                  <a:pt x="1030298" y="976176"/>
                </a:cubicBezTo>
                <a:cubicBezTo>
                  <a:pt x="1021941" y="966227"/>
                  <a:pt x="1014777" y="957074"/>
                  <a:pt x="1006818" y="947126"/>
                </a:cubicBezTo>
                <a:close/>
                <a:moveTo>
                  <a:pt x="2055422" y="944738"/>
                </a:moveTo>
                <a:cubicBezTo>
                  <a:pt x="2041891" y="947126"/>
                  <a:pt x="2030749" y="948718"/>
                  <a:pt x="2018810" y="951105"/>
                </a:cubicBezTo>
                <a:cubicBezTo>
                  <a:pt x="2021198" y="965034"/>
                  <a:pt x="2022790" y="977370"/>
                  <a:pt x="2025177" y="991298"/>
                </a:cubicBezTo>
                <a:cubicBezTo>
                  <a:pt x="2037116" y="989707"/>
                  <a:pt x="2047861" y="988115"/>
                  <a:pt x="2060595" y="986523"/>
                </a:cubicBezTo>
                <a:cubicBezTo>
                  <a:pt x="2059003" y="972197"/>
                  <a:pt x="2057411" y="959860"/>
                  <a:pt x="2055422" y="944738"/>
                </a:cubicBezTo>
                <a:close/>
                <a:moveTo>
                  <a:pt x="2935294" y="942350"/>
                </a:moveTo>
                <a:cubicBezTo>
                  <a:pt x="2928926" y="957472"/>
                  <a:pt x="2923355" y="970605"/>
                  <a:pt x="2917784" y="984135"/>
                </a:cubicBezTo>
                <a:cubicBezTo>
                  <a:pt x="2942855" y="995278"/>
                  <a:pt x="2965538" y="1004829"/>
                  <a:pt x="2989017" y="1015175"/>
                </a:cubicBezTo>
                <a:cubicBezTo>
                  <a:pt x="2995384" y="1001247"/>
                  <a:pt x="3001354" y="989707"/>
                  <a:pt x="3008119" y="974982"/>
                </a:cubicBezTo>
                <a:cubicBezTo>
                  <a:pt x="2983048" y="963442"/>
                  <a:pt x="2959967" y="953095"/>
                  <a:pt x="2935294" y="942350"/>
                </a:cubicBezTo>
                <a:close/>
                <a:moveTo>
                  <a:pt x="2700502" y="931606"/>
                </a:moveTo>
                <a:cubicBezTo>
                  <a:pt x="2696522" y="947126"/>
                  <a:pt x="2692941" y="960258"/>
                  <a:pt x="2688961" y="975380"/>
                </a:cubicBezTo>
                <a:cubicBezTo>
                  <a:pt x="2714430" y="982543"/>
                  <a:pt x="2736715" y="988911"/>
                  <a:pt x="2760593" y="995676"/>
                </a:cubicBezTo>
                <a:cubicBezTo>
                  <a:pt x="2764970" y="980952"/>
                  <a:pt x="2768950" y="967819"/>
                  <a:pt x="2773327" y="953095"/>
                </a:cubicBezTo>
                <a:cubicBezTo>
                  <a:pt x="2748256" y="945932"/>
                  <a:pt x="2725175" y="939167"/>
                  <a:pt x="2700502" y="931606"/>
                </a:cubicBezTo>
                <a:close/>
                <a:moveTo>
                  <a:pt x="1747009" y="931606"/>
                </a:moveTo>
                <a:cubicBezTo>
                  <a:pt x="1732683" y="936381"/>
                  <a:pt x="1720346" y="940758"/>
                  <a:pt x="1706418" y="945534"/>
                </a:cubicBezTo>
                <a:cubicBezTo>
                  <a:pt x="1711193" y="958666"/>
                  <a:pt x="1715173" y="969809"/>
                  <a:pt x="1719550" y="981747"/>
                </a:cubicBezTo>
                <a:cubicBezTo>
                  <a:pt x="1733479" y="976972"/>
                  <a:pt x="1745019" y="972993"/>
                  <a:pt x="1758948" y="968217"/>
                </a:cubicBezTo>
                <a:cubicBezTo>
                  <a:pt x="1754570" y="954687"/>
                  <a:pt x="1750989" y="943942"/>
                  <a:pt x="1747009" y="931606"/>
                </a:cubicBezTo>
                <a:close/>
                <a:moveTo>
                  <a:pt x="2309713" y="924442"/>
                </a:moveTo>
                <a:cubicBezTo>
                  <a:pt x="2309713" y="943942"/>
                  <a:pt x="2309713" y="963442"/>
                  <a:pt x="2309713" y="985329"/>
                </a:cubicBezTo>
                <a:cubicBezTo>
                  <a:pt x="2326427" y="986125"/>
                  <a:pt x="2343539" y="986921"/>
                  <a:pt x="2362243" y="987717"/>
                </a:cubicBezTo>
                <a:cubicBezTo>
                  <a:pt x="2363437" y="965829"/>
                  <a:pt x="2364630" y="946330"/>
                  <a:pt x="2365824" y="924442"/>
                </a:cubicBezTo>
                <a:cubicBezTo>
                  <a:pt x="2346325" y="924442"/>
                  <a:pt x="2328815" y="924442"/>
                  <a:pt x="2309713" y="924442"/>
                </a:cubicBezTo>
                <a:close/>
                <a:moveTo>
                  <a:pt x="2228531" y="923647"/>
                </a:moveTo>
                <a:cubicBezTo>
                  <a:pt x="2228531" y="944738"/>
                  <a:pt x="2228531" y="964238"/>
                  <a:pt x="2228531" y="984533"/>
                </a:cubicBezTo>
                <a:cubicBezTo>
                  <a:pt x="2248428" y="984533"/>
                  <a:pt x="2265142" y="984533"/>
                  <a:pt x="2282254" y="984533"/>
                </a:cubicBezTo>
                <a:cubicBezTo>
                  <a:pt x="2282254" y="963044"/>
                  <a:pt x="2282254" y="943146"/>
                  <a:pt x="2282254" y="923647"/>
                </a:cubicBezTo>
                <a:cubicBezTo>
                  <a:pt x="2263153" y="923647"/>
                  <a:pt x="2245643" y="923647"/>
                  <a:pt x="2228531" y="923647"/>
                </a:cubicBezTo>
                <a:close/>
                <a:moveTo>
                  <a:pt x="2201470" y="923249"/>
                </a:moveTo>
                <a:cubicBezTo>
                  <a:pt x="2182766" y="924442"/>
                  <a:pt x="2166053" y="925636"/>
                  <a:pt x="2145359" y="926830"/>
                </a:cubicBezTo>
                <a:cubicBezTo>
                  <a:pt x="2146951" y="949115"/>
                  <a:pt x="2148543" y="969013"/>
                  <a:pt x="2150532" y="990502"/>
                </a:cubicBezTo>
                <a:cubicBezTo>
                  <a:pt x="2170032" y="988911"/>
                  <a:pt x="2186746" y="987717"/>
                  <a:pt x="2204256" y="986523"/>
                </a:cubicBezTo>
                <a:cubicBezTo>
                  <a:pt x="2203460" y="964238"/>
                  <a:pt x="2202266" y="944340"/>
                  <a:pt x="2201470" y="923249"/>
                </a:cubicBezTo>
                <a:close/>
                <a:moveTo>
                  <a:pt x="3458998" y="919667"/>
                </a:moveTo>
                <a:cubicBezTo>
                  <a:pt x="3448652" y="933993"/>
                  <a:pt x="3439499" y="946330"/>
                  <a:pt x="3430346" y="959462"/>
                </a:cubicBezTo>
                <a:cubicBezTo>
                  <a:pt x="3445070" y="970605"/>
                  <a:pt x="3457804" y="980156"/>
                  <a:pt x="3472131" y="990900"/>
                </a:cubicBezTo>
                <a:cubicBezTo>
                  <a:pt x="3482477" y="977370"/>
                  <a:pt x="3491630" y="965034"/>
                  <a:pt x="3501977" y="951901"/>
                </a:cubicBezTo>
                <a:cubicBezTo>
                  <a:pt x="3487253" y="941156"/>
                  <a:pt x="3474518" y="931208"/>
                  <a:pt x="3458998" y="919667"/>
                </a:cubicBezTo>
                <a:close/>
                <a:moveTo>
                  <a:pt x="1794365" y="917279"/>
                </a:moveTo>
                <a:cubicBezTo>
                  <a:pt x="1780039" y="921259"/>
                  <a:pt x="1767702" y="925238"/>
                  <a:pt x="1753774" y="929218"/>
                </a:cubicBezTo>
                <a:cubicBezTo>
                  <a:pt x="1757754" y="941952"/>
                  <a:pt x="1761335" y="953095"/>
                  <a:pt x="1765315" y="966625"/>
                </a:cubicBezTo>
                <a:cubicBezTo>
                  <a:pt x="1780039" y="961850"/>
                  <a:pt x="1792376" y="957870"/>
                  <a:pt x="1805508" y="953493"/>
                </a:cubicBezTo>
                <a:cubicBezTo>
                  <a:pt x="1801528" y="940360"/>
                  <a:pt x="1798345" y="929218"/>
                  <a:pt x="1794365" y="917279"/>
                </a:cubicBezTo>
                <a:close/>
                <a:moveTo>
                  <a:pt x="2592657" y="906933"/>
                </a:moveTo>
                <a:cubicBezTo>
                  <a:pt x="2589473" y="922453"/>
                  <a:pt x="2586688" y="935585"/>
                  <a:pt x="2583902" y="950707"/>
                </a:cubicBezTo>
                <a:cubicBezTo>
                  <a:pt x="2608575" y="956279"/>
                  <a:pt x="2632054" y="961452"/>
                  <a:pt x="2656727" y="967023"/>
                </a:cubicBezTo>
                <a:cubicBezTo>
                  <a:pt x="2660309" y="952299"/>
                  <a:pt x="2663890" y="939167"/>
                  <a:pt x="2667472" y="923647"/>
                </a:cubicBezTo>
                <a:cubicBezTo>
                  <a:pt x="2642003" y="918075"/>
                  <a:pt x="2618126" y="912504"/>
                  <a:pt x="2592657" y="906933"/>
                </a:cubicBezTo>
                <a:close/>
                <a:moveTo>
                  <a:pt x="2827847" y="901361"/>
                </a:moveTo>
                <a:cubicBezTo>
                  <a:pt x="2822673" y="916085"/>
                  <a:pt x="2818296" y="929218"/>
                  <a:pt x="2813122" y="944340"/>
                </a:cubicBezTo>
                <a:cubicBezTo>
                  <a:pt x="2838989" y="953891"/>
                  <a:pt x="2862070" y="962248"/>
                  <a:pt x="2886346" y="971003"/>
                </a:cubicBezTo>
                <a:cubicBezTo>
                  <a:pt x="2891917" y="956279"/>
                  <a:pt x="2896692" y="943942"/>
                  <a:pt x="2902264" y="929218"/>
                </a:cubicBezTo>
                <a:cubicBezTo>
                  <a:pt x="2876795" y="920065"/>
                  <a:pt x="2852917" y="911310"/>
                  <a:pt x="2827847" y="901361"/>
                </a:cubicBezTo>
                <a:close/>
                <a:moveTo>
                  <a:pt x="1969066" y="898178"/>
                </a:moveTo>
                <a:cubicBezTo>
                  <a:pt x="1955536" y="900963"/>
                  <a:pt x="1943995" y="903351"/>
                  <a:pt x="1931261" y="906137"/>
                </a:cubicBezTo>
                <a:cubicBezTo>
                  <a:pt x="1934444" y="920463"/>
                  <a:pt x="1937230" y="932799"/>
                  <a:pt x="1940016" y="946728"/>
                </a:cubicBezTo>
                <a:cubicBezTo>
                  <a:pt x="1953148" y="943942"/>
                  <a:pt x="1964291" y="941554"/>
                  <a:pt x="1976627" y="939167"/>
                </a:cubicBezTo>
                <a:cubicBezTo>
                  <a:pt x="1973842" y="924442"/>
                  <a:pt x="1971454" y="911708"/>
                  <a:pt x="1969066" y="898178"/>
                </a:cubicBezTo>
                <a:close/>
                <a:moveTo>
                  <a:pt x="1565941" y="890617"/>
                </a:moveTo>
                <a:cubicBezTo>
                  <a:pt x="1551217" y="896984"/>
                  <a:pt x="1538482" y="902555"/>
                  <a:pt x="1524156" y="908922"/>
                </a:cubicBezTo>
                <a:cubicBezTo>
                  <a:pt x="1537686" y="938371"/>
                  <a:pt x="1550421" y="965829"/>
                  <a:pt x="1563553" y="994880"/>
                </a:cubicBezTo>
                <a:cubicBezTo>
                  <a:pt x="1576686" y="988911"/>
                  <a:pt x="1588624" y="983737"/>
                  <a:pt x="1602950" y="977370"/>
                </a:cubicBezTo>
                <a:cubicBezTo>
                  <a:pt x="1590216" y="947524"/>
                  <a:pt x="1578277" y="919667"/>
                  <a:pt x="1565941" y="890617"/>
                </a:cubicBezTo>
                <a:close/>
                <a:moveTo>
                  <a:pt x="2960762" y="882259"/>
                </a:moveTo>
                <a:cubicBezTo>
                  <a:pt x="2954395" y="896586"/>
                  <a:pt x="2949222" y="909718"/>
                  <a:pt x="2943253" y="923647"/>
                </a:cubicBezTo>
                <a:cubicBezTo>
                  <a:pt x="2968324" y="934789"/>
                  <a:pt x="2991803" y="945136"/>
                  <a:pt x="3016874" y="956279"/>
                </a:cubicBezTo>
                <a:cubicBezTo>
                  <a:pt x="3023241" y="942350"/>
                  <a:pt x="3029210" y="929616"/>
                  <a:pt x="3036373" y="915687"/>
                </a:cubicBezTo>
                <a:cubicBezTo>
                  <a:pt x="3010108" y="904147"/>
                  <a:pt x="2986231" y="893402"/>
                  <a:pt x="2960762" y="882259"/>
                </a:cubicBezTo>
                <a:close/>
                <a:moveTo>
                  <a:pt x="2491975" y="875096"/>
                </a:moveTo>
                <a:cubicBezTo>
                  <a:pt x="2488394" y="904147"/>
                  <a:pt x="2484812" y="930412"/>
                  <a:pt x="2480832" y="958666"/>
                </a:cubicBezTo>
                <a:cubicBezTo>
                  <a:pt x="2502322" y="961850"/>
                  <a:pt x="2522220" y="964636"/>
                  <a:pt x="2542913" y="967819"/>
                </a:cubicBezTo>
                <a:cubicBezTo>
                  <a:pt x="2547688" y="939167"/>
                  <a:pt x="2552066" y="913698"/>
                  <a:pt x="2557239" y="884647"/>
                </a:cubicBezTo>
                <a:cubicBezTo>
                  <a:pt x="2534158" y="881066"/>
                  <a:pt x="2513862" y="878280"/>
                  <a:pt x="2491975" y="875096"/>
                </a:cubicBezTo>
                <a:close/>
                <a:moveTo>
                  <a:pt x="1614889" y="870321"/>
                </a:moveTo>
                <a:cubicBezTo>
                  <a:pt x="1600165" y="876290"/>
                  <a:pt x="1587430" y="881862"/>
                  <a:pt x="1573104" y="887831"/>
                </a:cubicBezTo>
                <a:cubicBezTo>
                  <a:pt x="1585441" y="917279"/>
                  <a:pt x="1597379" y="945534"/>
                  <a:pt x="1609716" y="974584"/>
                </a:cubicBezTo>
                <a:cubicBezTo>
                  <a:pt x="1624042" y="968615"/>
                  <a:pt x="1635980" y="963442"/>
                  <a:pt x="1649511" y="957870"/>
                </a:cubicBezTo>
                <a:cubicBezTo>
                  <a:pt x="1637572" y="928024"/>
                  <a:pt x="1626430" y="899769"/>
                  <a:pt x="1614889" y="870321"/>
                </a:cubicBezTo>
                <a:close/>
                <a:moveTo>
                  <a:pt x="1879527" y="858382"/>
                </a:moveTo>
                <a:cubicBezTo>
                  <a:pt x="1866395" y="861566"/>
                  <a:pt x="1855650" y="864352"/>
                  <a:pt x="1841722" y="867933"/>
                </a:cubicBezTo>
                <a:cubicBezTo>
                  <a:pt x="1845701" y="882657"/>
                  <a:pt x="1849283" y="894994"/>
                  <a:pt x="1852864" y="908524"/>
                </a:cubicBezTo>
                <a:cubicBezTo>
                  <a:pt x="1866395" y="904545"/>
                  <a:pt x="1877537" y="901759"/>
                  <a:pt x="1889874" y="898178"/>
                </a:cubicBezTo>
                <a:cubicBezTo>
                  <a:pt x="1885894" y="883453"/>
                  <a:pt x="1882711" y="871117"/>
                  <a:pt x="1879527" y="858382"/>
                </a:cubicBezTo>
                <a:close/>
                <a:moveTo>
                  <a:pt x="2848938" y="840077"/>
                </a:moveTo>
                <a:cubicBezTo>
                  <a:pt x="2843765" y="854801"/>
                  <a:pt x="2838989" y="867535"/>
                  <a:pt x="2833816" y="882657"/>
                </a:cubicBezTo>
                <a:cubicBezTo>
                  <a:pt x="2860081" y="892606"/>
                  <a:pt x="2884356" y="901361"/>
                  <a:pt x="2909825" y="910514"/>
                </a:cubicBezTo>
                <a:cubicBezTo>
                  <a:pt x="2915396" y="896188"/>
                  <a:pt x="2920569" y="883055"/>
                  <a:pt x="2926141" y="868331"/>
                </a:cubicBezTo>
                <a:cubicBezTo>
                  <a:pt x="2899080" y="858382"/>
                  <a:pt x="2874805" y="849627"/>
                  <a:pt x="2848938" y="840077"/>
                </a:cubicBezTo>
                <a:close/>
                <a:moveTo>
                  <a:pt x="1715173" y="834505"/>
                </a:moveTo>
                <a:cubicBezTo>
                  <a:pt x="1699653" y="839679"/>
                  <a:pt x="1686520" y="844056"/>
                  <a:pt x="1672194" y="849230"/>
                </a:cubicBezTo>
                <a:cubicBezTo>
                  <a:pt x="1682939" y="879872"/>
                  <a:pt x="1693286" y="908524"/>
                  <a:pt x="1703632" y="937973"/>
                </a:cubicBezTo>
                <a:cubicBezTo>
                  <a:pt x="1718754" y="932799"/>
                  <a:pt x="1731091" y="928422"/>
                  <a:pt x="1744621" y="924044"/>
                </a:cubicBezTo>
                <a:cubicBezTo>
                  <a:pt x="1734673" y="893402"/>
                  <a:pt x="1725122" y="864352"/>
                  <a:pt x="1715173" y="834505"/>
                </a:cubicBezTo>
                <a:close/>
                <a:moveTo>
                  <a:pt x="2398058" y="834107"/>
                </a:moveTo>
                <a:cubicBezTo>
                  <a:pt x="2396467" y="856393"/>
                  <a:pt x="2394875" y="876290"/>
                  <a:pt x="2393283" y="897382"/>
                </a:cubicBezTo>
                <a:cubicBezTo>
                  <a:pt x="2413181" y="899371"/>
                  <a:pt x="2430691" y="900963"/>
                  <a:pt x="2450588" y="902953"/>
                </a:cubicBezTo>
                <a:cubicBezTo>
                  <a:pt x="2452976" y="880668"/>
                  <a:pt x="2454966" y="861168"/>
                  <a:pt x="2457353" y="839679"/>
                </a:cubicBezTo>
                <a:cubicBezTo>
                  <a:pt x="2437058" y="837689"/>
                  <a:pt x="2418354" y="836097"/>
                  <a:pt x="2398058" y="834107"/>
                </a:cubicBezTo>
                <a:close/>
                <a:moveTo>
                  <a:pt x="2311305" y="832515"/>
                </a:moveTo>
                <a:cubicBezTo>
                  <a:pt x="2311305" y="852413"/>
                  <a:pt x="2311305" y="871913"/>
                  <a:pt x="2311305" y="893402"/>
                </a:cubicBezTo>
                <a:cubicBezTo>
                  <a:pt x="2329611" y="893402"/>
                  <a:pt x="2347916" y="893402"/>
                  <a:pt x="2367814" y="893402"/>
                </a:cubicBezTo>
                <a:cubicBezTo>
                  <a:pt x="2368610" y="873505"/>
                  <a:pt x="2369406" y="854005"/>
                  <a:pt x="2370600" y="832515"/>
                </a:cubicBezTo>
                <a:cubicBezTo>
                  <a:pt x="2350702" y="832515"/>
                  <a:pt x="2332396" y="832515"/>
                  <a:pt x="2311305" y="832515"/>
                </a:cubicBezTo>
                <a:close/>
                <a:moveTo>
                  <a:pt x="2197889" y="830526"/>
                </a:moveTo>
                <a:cubicBezTo>
                  <a:pt x="2177593" y="831322"/>
                  <a:pt x="2159287" y="832515"/>
                  <a:pt x="2137798" y="833709"/>
                </a:cubicBezTo>
                <a:cubicBezTo>
                  <a:pt x="2139788" y="856393"/>
                  <a:pt x="2141379" y="876290"/>
                  <a:pt x="2143369" y="897780"/>
                </a:cubicBezTo>
                <a:cubicBezTo>
                  <a:pt x="2163267" y="896586"/>
                  <a:pt x="2181175" y="894994"/>
                  <a:pt x="2197889" y="893800"/>
                </a:cubicBezTo>
                <a:cubicBezTo>
                  <a:pt x="2197889" y="872311"/>
                  <a:pt x="2197889" y="852811"/>
                  <a:pt x="2197889" y="830526"/>
                </a:cubicBezTo>
                <a:close/>
                <a:moveTo>
                  <a:pt x="1766111" y="819383"/>
                </a:moveTo>
                <a:cubicBezTo>
                  <a:pt x="1751784" y="823761"/>
                  <a:pt x="1738652" y="827740"/>
                  <a:pt x="1722734" y="832515"/>
                </a:cubicBezTo>
                <a:cubicBezTo>
                  <a:pt x="1732683" y="863556"/>
                  <a:pt x="1741836" y="892208"/>
                  <a:pt x="1751387" y="922055"/>
                </a:cubicBezTo>
                <a:cubicBezTo>
                  <a:pt x="1766111" y="917279"/>
                  <a:pt x="1778845" y="913300"/>
                  <a:pt x="1792774" y="908922"/>
                </a:cubicBezTo>
                <a:cubicBezTo>
                  <a:pt x="1783621" y="878280"/>
                  <a:pt x="1775264" y="849230"/>
                  <a:pt x="1766111" y="819383"/>
                </a:cubicBezTo>
                <a:close/>
                <a:moveTo>
                  <a:pt x="2733930" y="805853"/>
                </a:moveTo>
                <a:cubicBezTo>
                  <a:pt x="2729950" y="820975"/>
                  <a:pt x="2726369" y="834107"/>
                  <a:pt x="2722389" y="849230"/>
                </a:cubicBezTo>
                <a:cubicBezTo>
                  <a:pt x="2749450" y="857189"/>
                  <a:pt x="2774123" y="863954"/>
                  <a:pt x="2799990" y="871515"/>
                </a:cubicBezTo>
                <a:cubicBezTo>
                  <a:pt x="2804367" y="856791"/>
                  <a:pt x="2808745" y="843260"/>
                  <a:pt x="2813122" y="828536"/>
                </a:cubicBezTo>
                <a:cubicBezTo>
                  <a:pt x="2785266" y="820577"/>
                  <a:pt x="2760195" y="813414"/>
                  <a:pt x="2733930" y="805853"/>
                </a:cubicBezTo>
                <a:close/>
                <a:moveTo>
                  <a:pt x="2617330" y="778792"/>
                </a:moveTo>
                <a:cubicBezTo>
                  <a:pt x="2614544" y="794312"/>
                  <a:pt x="2611759" y="808240"/>
                  <a:pt x="2608575" y="822965"/>
                </a:cubicBezTo>
                <a:cubicBezTo>
                  <a:pt x="2635636" y="828934"/>
                  <a:pt x="2660707" y="834107"/>
                  <a:pt x="2687370" y="840077"/>
                </a:cubicBezTo>
                <a:cubicBezTo>
                  <a:pt x="2690951" y="824954"/>
                  <a:pt x="2694135" y="811424"/>
                  <a:pt x="2697716" y="796302"/>
                </a:cubicBezTo>
                <a:cubicBezTo>
                  <a:pt x="2669860" y="790333"/>
                  <a:pt x="2644391" y="784761"/>
                  <a:pt x="2617330" y="778792"/>
                </a:cubicBezTo>
                <a:close/>
                <a:moveTo>
                  <a:pt x="2869233" y="777996"/>
                </a:moveTo>
                <a:cubicBezTo>
                  <a:pt x="2864060" y="793516"/>
                  <a:pt x="2859683" y="806649"/>
                  <a:pt x="2854907" y="820577"/>
                </a:cubicBezTo>
                <a:cubicBezTo>
                  <a:pt x="2881570" y="830526"/>
                  <a:pt x="2906641" y="839679"/>
                  <a:pt x="2933304" y="848832"/>
                </a:cubicBezTo>
                <a:cubicBezTo>
                  <a:pt x="2938875" y="834903"/>
                  <a:pt x="2944049" y="822169"/>
                  <a:pt x="2950018" y="807047"/>
                </a:cubicBezTo>
                <a:cubicBezTo>
                  <a:pt x="2921763" y="797098"/>
                  <a:pt x="2895896" y="787547"/>
                  <a:pt x="2869233" y="777996"/>
                </a:cubicBezTo>
                <a:close/>
                <a:moveTo>
                  <a:pt x="1577879" y="775210"/>
                </a:moveTo>
                <a:cubicBezTo>
                  <a:pt x="1562359" y="781578"/>
                  <a:pt x="1548431" y="787149"/>
                  <a:pt x="1533309" y="793516"/>
                </a:cubicBezTo>
                <a:cubicBezTo>
                  <a:pt x="1545645" y="822965"/>
                  <a:pt x="1557584" y="851219"/>
                  <a:pt x="1569920" y="880668"/>
                </a:cubicBezTo>
                <a:cubicBezTo>
                  <a:pt x="1585043" y="873903"/>
                  <a:pt x="1598175" y="868331"/>
                  <a:pt x="1612103" y="862362"/>
                </a:cubicBezTo>
                <a:cubicBezTo>
                  <a:pt x="1600563" y="832515"/>
                  <a:pt x="1589420" y="804261"/>
                  <a:pt x="1577879" y="775210"/>
                </a:cubicBezTo>
                <a:close/>
                <a:moveTo>
                  <a:pt x="3010506" y="761282"/>
                </a:moveTo>
                <a:cubicBezTo>
                  <a:pt x="3004139" y="776404"/>
                  <a:pt x="2998568" y="789537"/>
                  <a:pt x="2992997" y="803067"/>
                </a:cubicBezTo>
                <a:cubicBezTo>
                  <a:pt x="3020455" y="815404"/>
                  <a:pt x="3045526" y="826546"/>
                  <a:pt x="3072189" y="838087"/>
                </a:cubicBezTo>
                <a:cubicBezTo>
                  <a:pt x="3078954" y="824159"/>
                  <a:pt x="3084923" y="811424"/>
                  <a:pt x="3091689" y="797496"/>
                </a:cubicBezTo>
                <a:cubicBezTo>
                  <a:pt x="3063832" y="785159"/>
                  <a:pt x="3038761" y="773619"/>
                  <a:pt x="3010506" y="761282"/>
                </a:cubicBezTo>
                <a:close/>
                <a:moveTo>
                  <a:pt x="1630807" y="755313"/>
                </a:moveTo>
                <a:cubicBezTo>
                  <a:pt x="1614093" y="761282"/>
                  <a:pt x="1600165" y="766853"/>
                  <a:pt x="1585441" y="772823"/>
                </a:cubicBezTo>
                <a:cubicBezTo>
                  <a:pt x="1597379" y="802669"/>
                  <a:pt x="1608124" y="830924"/>
                  <a:pt x="1619664" y="860372"/>
                </a:cubicBezTo>
                <a:cubicBezTo>
                  <a:pt x="1634389" y="854801"/>
                  <a:pt x="1647919" y="849627"/>
                  <a:pt x="1662643" y="844056"/>
                </a:cubicBezTo>
                <a:cubicBezTo>
                  <a:pt x="1651899" y="813812"/>
                  <a:pt x="1641552" y="785159"/>
                  <a:pt x="1630807" y="755313"/>
                </a:cubicBezTo>
                <a:close/>
                <a:moveTo>
                  <a:pt x="2750644" y="742578"/>
                </a:moveTo>
                <a:cubicBezTo>
                  <a:pt x="2746266" y="758496"/>
                  <a:pt x="2743083" y="771231"/>
                  <a:pt x="2739103" y="785955"/>
                </a:cubicBezTo>
                <a:cubicBezTo>
                  <a:pt x="2766164" y="793516"/>
                  <a:pt x="2791633" y="801077"/>
                  <a:pt x="2819489" y="809036"/>
                </a:cubicBezTo>
                <a:cubicBezTo>
                  <a:pt x="2824265" y="793914"/>
                  <a:pt x="2828244" y="780782"/>
                  <a:pt x="2832622" y="766058"/>
                </a:cubicBezTo>
                <a:cubicBezTo>
                  <a:pt x="2803969" y="757701"/>
                  <a:pt x="2777704" y="750139"/>
                  <a:pt x="2750644" y="742578"/>
                </a:cubicBezTo>
                <a:close/>
                <a:moveTo>
                  <a:pt x="2404824" y="742180"/>
                </a:moveTo>
                <a:cubicBezTo>
                  <a:pt x="2403232" y="764864"/>
                  <a:pt x="2401640" y="784761"/>
                  <a:pt x="2400844" y="805455"/>
                </a:cubicBezTo>
                <a:cubicBezTo>
                  <a:pt x="2422333" y="807445"/>
                  <a:pt x="2441037" y="809036"/>
                  <a:pt x="2460935" y="810628"/>
                </a:cubicBezTo>
                <a:cubicBezTo>
                  <a:pt x="2463322" y="788741"/>
                  <a:pt x="2465312" y="769241"/>
                  <a:pt x="2467700" y="747354"/>
                </a:cubicBezTo>
                <a:cubicBezTo>
                  <a:pt x="2445415" y="745762"/>
                  <a:pt x="2425915" y="744170"/>
                  <a:pt x="2404824" y="742180"/>
                </a:cubicBezTo>
                <a:close/>
                <a:moveTo>
                  <a:pt x="2313693" y="739793"/>
                </a:moveTo>
                <a:cubicBezTo>
                  <a:pt x="2313693" y="760486"/>
                  <a:pt x="2313693" y="779986"/>
                  <a:pt x="2313693" y="801077"/>
                </a:cubicBezTo>
                <a:cubicBezTo>
                  <a:pt x="2333988" y="801077"/>
                  <a:pt x="2353090" y="801077"/>
                  <a:pt x="2372988" y="801077"/>
                </a:cubicBezTo>
                <a:cubicBezTo>
                  <a:pt x="2374181" y="780782"/>
                  <a:pt x="2375375" y="761282"/>
                  <a:pt x="2376569" y="739793"/>
                </a:cubicBezTo>
                <a:cubicBezTo>
                  <a:pt x="2355080" y="739793"/>
                  <a:pt x="2335580" y="739793"/>
                  <a:pt x="2313693" y="739793"/>
                </a:cubicBezTo>
                <a:close/>
                <a:moveTo>
                  <a:pt x="2224153" y="738997"/>
                </a:moveTo>
                <a:cubicBezTo>
                  <a:pt x="2224153" y="760486"/>
                  <a:pt x="2224153" y="779986"/>
                  <a:pt x="2224153" y="799486"/>
                </a:cubicBezTo>
                <a:cubicBezTo>
                  <a:pt x="2245245" y="799486"/>
                  <a:pt x="2264346" y="799486"/>
                  <a:pt x="2284642" y="799486"/>
                </a:cubicBezTo>
                <a:cubicBezTo>
                  <a:pt x="2284642" y="778394"/>
                  <a:pt x="2284642" y="759292"/>
                  <a:pt x="2284642" y="738997"/>
                </a:cubicBezTo>
                <a:cubicBezTo>
                  <a:pt x="2263153" y="738997"/>
                  <a:pt x="2243255" y="738997"/>
                  <a:pt x="2224153" y="738997"/>
                </a:cubicBezTo>
                <a:close/>
                <a:moveTo>
                  <a:pt x="1684133" y="737405"/>
                </a:moveTo>
                <a:cubicBezTo>
                  <a:pt x="1668612" y="742578"/>
                  <a:pt x="1654286" y="747354"/>
                  <a:pt x="1638766" y="752925"/>
                </a:cubicBezTo>
                <a:cubicBezTo>
                  <a:pt x="1649113" y="783567"/>
                  <a:pt x="1659460" y="811822"/>
                  <a:pt x="1669806" y="841668"/>
                </a:cubicBezTo>
                <a:cubicBezTo>
                  <a:pt x="1684929" y="836097"/>
                  <a:pt x="1698459" y="831720"/>
                  <a:pt x="1713183" y="826546"/>
                </a:cubicBezTo>
                <a:cubicBezTo>
                  <a:pt x="1703234" y="796700"/>
                  <a:pt x="1694081" y="768047"/>
                  <a:pt x="1684133" y="737405"/>
                </a:cubicBezTo>
                <a:close/>
                <a:moveTo>
                  <a:pt x="1737856" y="720691"/>
                </a:moveTo>
                <a:cubicBezTo>
                  <a:pt x="1721540" y="725864"/>
                  <a:pt x="1707612" y="729844"/>
                  <a:pt x="1691694" y="734619"/>
                </a:cubicBezTo>
                <a:cubicBezTo>
                  <a:pt x="1702040" y="766058"/>
                  <a:pt x="1711193" y="794710"/>
                  <a:pt x="1720744" y="824556"/>
                </a:cubicBezTo>
                <a:cubicBezTo>
                  <a:pt x="1736264" y="819383"/>
                  <a:pt x="1749795" y="815006"/>
                  <a:pt x="1764121" y="810628"/>
                </a:cubicBezTo>
                <a:cubicBezTo>
                  <a:pt x="1754968" y="779588"/>
                  <a:pt x="1746611" y="750935"/>
                  <a:pt x="1737856" y="720691"/>
                </a:cubicBezTo>
                <a:close/>
                <a:moveTo>
                  <a:pt x="2630064" y="714722"/>
                </a:moveTo>
                <a:cubicBezTo>
                  <a:pt x="2626881" y="730242"/>
                  <a:pt x="2624493" y="743772"/>
                  <a:pt x="2621708" y="759292"/>
                </a:cubicBezTo>
                <a:cubicBezTo>
                  <a:pt x="2649962" y="765262"/>
                  <a:pt x="2675829" y="770833"/>
                  <a:pt x="2703288" y="776802"/>
                </a:cubicBezTo>
                <a:cubicBezTo>
                  <a:pt x="2706869" y="761282"/>
                  <a:pt x="2710053" y="748150"/>
                  <a:pt x="2713634" y="733028"/>
                </a:cubicBezTo>
                <a:cubicBezTo>
                  <a:pt x="2684982" y="726660"/>
                  <a:pt x="2658319" y="721089"/>
                  <a:pt x="2630064" y="714722"/>
                </a:cubicBezTo>
                <a:close/>
                <a:moveTo>
                  <a:pt x="1485953" y="701987"/>
                </a:moveTo>
                <a:cubicBezTo>
                  <a:pt x="1470034" y="709150"/>
                  <a:pt x="1455708" y="715518"/>
                  <a:pt x="1439392" y="722681"/>
                </a:cubicBezTo>
                <a:cubicBezTo>
                  <a:pt x="1453320" y="752925"/>
                  <a:pt x="1465657" y="780384"/>
                  <a:pt x="1478789" y="808638"/>
                </a:cubicBezTo>
                <a:cubicBezTo>
                  <a:pt x="1494708" y="801475"/>
                  <a:pt x="1508238" y="795506"/>
                  <a:pt x="1522962" y="788343"/>
                </a:cubicBezTo>
                <a:cubicBezTo>
                  <a:pt x="1510228" y="758894"/>
                  <a:pt x="1498289" y="731038"/>
                  <a:pt x="1485953" y="701987"/>
                </a:cubicBezTo>
                <a:close/>
                <a:moveTo>
                  <a:pt x="1540870" y="680100"/>
                </a:moveTo>
                <a:cubicBezTo>
                  <a:pt x="1524952" y="686467"/>
                  <a:pt x="1510228" y="692436"/>
                  <a:pt x="1493514" y="698804"/>
                </a:cubicBezTo>
                <a:cubicBezTo>
                  <a:pt x="1506646" y="729048"/>
                  <a:pt x="1518187" y="756905"/>
                  <a:pt x="1530523" y="785955"/>
                </a:cubicBezTo>
                <a:cubicBezTo>
                  <a:pt x="1546441" y="779190"/>
                  <a:pt x="1559972" y="773619"/>
                  <a:pt x="1575094" y="767251"/>
                </a:cubicBezTo>
                <a:cubicBezTo>
                  <a:pt x="1563155" y="737405"/>
                  <a:pt x="1552411" y="709150"/>
                  <a:pt x="1540870" y="680100"/>
                </a:cubicBezTo>
                <a:close/>
                <a:moveTo>
                  <a:pt x="1468841" y="662590"/>
                </a:moveTo>
                <a:cubicBezTo>
                  <a:pt x="1451729" y="670549"/>
                  <a:pt x="1437005" y="677314"/>
                  <a:pt x="1421882" y="684079"/>
                </a:cubicBezTo>
                <a:cubicBezTo>
                  <a:pt x="1426658" y="694824"/>
                  <a:pt x="1431035" y="703977"/>
                  <a:pt x="1436607" y="715916"/>
                </a:cubicBezTo>
                <a:cubicBezTo>
                  <a:pt x="1452525" y="708752"/>
                  <a:pt x="1467647" y="701987"/>
                  <a:pt x="1483167" y="694824"/>
                </a:cubicBezTo>
                <a:cubicBezTo>
                  <a:pt x="1477994" y="683284"/>
                  <a:pt x="1473616" y="673335"/>
                  <a:pt x="1468841" y="662590"/>
                </a:cubicBezTo>
                <a:close/>
                <a:moveTo>
                  <a:pt x="1596185" y="659008"/>
                </a:moveTo>
                <a:cubicBezTo>
                  <a:pt x="1579471" y="665376"/>
                  <a:pt x="1564747" y="670947"/>
                  <a:pt x="1548829" y="676916"/>
                </a:cubicBezTo>
                <a:cubicBezTo>
                  <a:pt x="1560370" y="706763"/>
                  <a:pt x="1571114" y="735017"/>
                  <a:pt x="1582655" y="764864"/>
                </a:cubicBezTo>
                <a:cubicBezTo>
                  <a:pt x="1598573" y="758894"/>
                  <a:pt x="1612899" y="753323"/>
                  <a:pt x="1628021" y="747354"/>
                </a:cubicBezTo>
                <a:cubicBezTo>
                  <a:pt x="1616879" y="716712"/>
                  <a:pt x="1606930" y="688457"/>
                  <a:pt x="1596185" y="659008"/>
                </a:cubicBezTo>
                <a:close/>
                <a:moveTo>
                  <a:pt x="2911018" y="654233"/>
                </a:moveTo>
                <a:cubicBezTo>
                  <a:pt x="2905845" y="669753"/>
                  <a:pt x="2901866" y="682886"/>
                  <a:pt x="2897090" y="696814"/>
                </a:cubicBezTo>
                <a:cubicBezTo>
                  <a:pt x="2925743" y="707559"/>
                  <a:pt x="2952803" y="717507"/>
                  <a:pt x="2981058" y="727854"/>
                </a:cubicBezTo>
                <a:cubicBezTo>
                  <a:pt x="2986629" y="713130"/>
                  <a:pt x="2991803" y="699998"/>
                  <a:pt x="2997374" y="685671"/>
                </a:cubicBezTo>
                <a:cubicBezTo>
                  <a:pt x="2967130" y="674529"/>
                  <a:pt x="2939671" y="664580"/>
                  <a:pt x="2911018" y="654233"/>
                </a:cubicBezTo>
                <a:close/>
                <a:moveTo>
                  <a:pt x="2191123" y="646672"/>
                </a:moveTo>
                <a:cubicBezTo>
                  <a:pt x="2167246" y="647866"/>
                  <a:pt x="2146553" y="648662"/>
                  <a:pt x="2124268" y="649856"/>
                </a:cubicBezTo>
                <a:cubicBezTo>
                  <a:pt x="2125859" y="672539"/>
                  <a:pt x="2127053" y="692436"/>
                  <a:pt x="2128645" y="713528"/>
                </a:cubicBezTo>
                <a:cubicBezTo>
                  <a:pt x="2151726" y="711936"/>
                  <a:pt x="2172022" y="711140"/>
                  <a:pt x="2191123" y="709946"/>
                </a:cubicBezTo>
                <a:cubicBezTo>
                  <a:pt x="2191123" y="688457"/>
                  <a:pt x="2191123" y="669355"/>
                  <a:pt x="2191123" y="646672"/>
                </a:cubicBezTo>
                <a:close/>
                <a:moveTo>
                  <a:pt x="2315682" y="645080"/>
                </a:moveTo>
                <a:cubicBezTo>
                  <a:pt x="2315682" y="667365"/>
                  <a:pt x="2315682" y="687263"/>
                  <a:pt x="2315682" y="708752"/>
                </a:cubicBezTo>
                <a:cubicBezTo>
                  <a:pt x="2335182" y="709548"/>
                  <a:pt x="2355478" y="710344"/>
                  <a:pt x="2378161" y="711538"/>
                </a:cubicBezTo>
                <a:cubicBezTo>
                  <a:pt x="2379355" y="688855"/>
                  <a:pt x="2380549" y="669355"/>
                  <a:pt x="2381742" y="647866"/>
                </a:cubicBezTo>
                <a:cubicBezTo>
                  <a:pt x="2358661" y="647070"/>
                  <a:pt x="2337968" y="645876"/>
                  <a:pt x="2315682" y="645080"/>
                </a:cubicBezTo>
                <a:close/>
                <a:moveTo>
                  <a:pt x="3060648" y="640703"/>
                </a:moveTo>
                <a:cubicBezTo>
                  <a:pt x="3054281" y="655427"/>
                  <a:pt x="3049108" y="667763"/>
                  <a:pt x="3043138" y="682090"/>
                </a:cubicBezTo>
                <a:cubicBezTo>
                  <a:pt x="3072587" y="695222"/>
                  <a:pt x="3099648" y="707161"/>
                  <a:pt x="3127902" y="719895"/>
                </a:cubicBezTo>
                <a:cubicBezTo>
                  <a:pt x="3134270" y="705967"/>
                  <a:pt x="3140239" y="693232"/>
                  <a:pt x="3147004" y="678906"/>
                </a:cubicBezTo>
                <a:cubicBezTo>
                  <a:pt x="3117556" y="665774"/>
                  <a:pt x="3090097" y="653835"/>
                  <a:pt x="3060648" y="640703"/>
                </a:cubicBezTo>
                <a:close/>
                <a:moveTo>
                  <a:pt x="1651899" y="640305"/>
                </a:moveTo>
                <a:cubicBezTo>
                  <a:pt x="1635185" y="645876"/>
                  <a:pt x="1620460" y="651049"/>
                  <a:pt x="1604144" y="656621"/>
                </a:cubicBezTo>
                <a:cubicBezTo>
                  <a:pt x="1614889" y="686467"/>
                  <a:pt x="1624838" y="715120"/>
                  <a:pt x="1635583" y="745364"/>
                </a:cubicBezTo>
                <a:cubicBezTo>
                  <a:pt x="1651899" y="739793"/>
                  <a:pt x="1667021" y="734619"/>
                  <a:pt x="1681347" y="729844"/>
                </a:cubicBezTo>
                <a:cubicBezTo>
                  <a:pt x="1670602" y="697610"/>
                  <a:pt x="1661449" y="669355"/>
                  <a:pt x="1651899" y="640305"/>
                </a:cubicBezTo>
                <a:close/>
                <a:moveTo>
                  <a:pt x="1524554" y="639907"/>
                </a:moveTo>
                <a:cubicBezTo>
                  <a:pt x="1507840" y="647070"/>
                  <a:pt x="1493116" y="653039"/>
                  <a:pt x="1477198" y="659804"/>
                </a:cubicBezTo>
                <a:cubicBezTo>
                  <a:pt x="1481973" y="671345"/>
                  <a:pt x="1486351" y="680896"/>
                  <a:pt x="1491126" y="691641"/>
                </a:cubicBezTo>
                <a:cubicBezTo>
                  <a:pt x="1507044" y="685273"/>
                  <a:pt x="1521370" y="679304"/>
                  <a:pt x="1538482" y="672539"/>
                </a:cubicBezTo>
                <a:cubicBezTo>
                  <a:pt x="1533309" y="660202"/>
                  <a:pt x="1528931" y="650254"/>
                  <a:pt x="1524554" y="639907"/>
                </a:cubicBezTo>
                <a:close/>
                <a:moveTo>
                  <a:pt x="1580665" y="618019"/>
                </a:moveTo>
                <a:cubicBezTo>
                  <a:pt x="1563951" y="624387"/>
                  <a:pt x="1549227" y="629958"/>
                  <a:pt x="1532911" y="636325"/>
                </a:cubicBezTo>
                <a:cubicBezTo>
                  <a:pt x="1537288" y="647468"/>
                  <a:pt x="1540870" y="657019"/>
                  <a:pt x="1545645" y="669355"/>
                </a:cubicBezTo>
                <a:cubicBezTo>
                  <a:pt x="1562757" y="662988"/>
                  <a:pt x="1577879" y="657019"/>
                  <a:pt x="1593798" y="651049"/>
                </a:cubicBezTo>
                <a:cubicBezTo>
                  <a:pt x="1589420" y="639111"/>
                  <a:pt x="1585441" y="629162"/>
                  <a:pt x="1580665" y="618019"/>
                </a:cubicBezTo>
                <a:close/>
                <a:moveTo>
                  <a:pt x="2784470" y="616030"/>
                </a:moveTo>
                <a:cubicBezTo>
                  <a:pt x="2780490" y="630356"/>
                  <a:pt x="2776909" y="643886"/>
                  <a:pt x="2772531" y="659008"/>
                </a:cubicBezTo>
                <a:cubicBezTo>
                  <a:pt x="2802378" y="667763"/>
                  <a:pt x="2829836" y="675722"/>
                  <a:pt x="2858887" y="684079"/>
                </a:cubicBezTo>
                <a:cubicBezTo>
                  <a:pt x="2863264" y="669753"/>
                  <a:pt x="2867642" y="656621"/>
                  <a:pt x="2872417" y="641499"/>
                </a:cubicBezTo>
                <a:cubicBezTo>
                  <a:pt x="2842571" y="633142"/>
                  <a:pt x="2814316" y="624785"/>
                  <a:pt x="2784470" y="616030"/>
                </a:cubicBezTo>
                <a:close/>
                <a:moveTo>
                  <a:pt x="1445759" y="608071"/>
                </a:moveTo>
                <a:cubicBezTo>
                  <a:pt x="1428648" y="616030"/>
                  <a:pt x="1413127" y="622795"/>
                  <a:pt x="1396811" y="630356"/>
                </a:cubicBezTo>
                <a:cubicBezTo>
                  <a:pt x="1403576" y="643488"/>
                  <a:pt x="1408750" y="654631"/>
                  <a:pt x="1414321" y="666172"/>
                </a:cubicBezTo>
                <a:cubicBezTo>
                  <a:pt x="1430637" y="658611"/>
                  <a:pt x="1445361" y="652243"/>
                  <a:pt x="1461677" y="645080"/>
                </a:cubicBezTo>
                <a:cubicBezTo>
                  <a:pt x="1456106" y="631550"/>
                  <a:pt x="1450933" y="620407"/>
                  <a:pt x="1445759" y="608071"/>
                </a:cubicBezTo>
                <a:close/>
                <a:moveTo>
                  <a:pt x="1639164" y="598918"/>
                </a:moveTo>
                <a:cubicBezTo>
                  <a:pt x="1622052" y="604887"/>
                  <a:pt x="1606532" y="610458"/>
                  <a:pt x="1590216" y="616030"/>
                </a:cubicBezTo>
                <a:cubicBezTo>
                  <a:pt x="1594593" y="628366"/>
                  <a:pt x="1598573" y="638315"/>
                  <a:pt x="1602552" y="649060"/>
                </a:cubicBezTo>
                <a:cubicBezTo>
                  <a:pt x="1619266" y="643090"/>
                  <a:pt x="1633991" y="637917"/>
                  <a:pt x="1650307" y="632744"/>
                </a:cubicBezTo>
                <a:cubicBezTo>
                  <a:pt x="1646725" y="621203"/>
                  <a:pt x="1643144" y="611652"/>
                  <a:pt x="1639164" y="598918"/>
                </a:cubicBezTo>
                <a:close/>
                <a:moveTo>
                  <a:pt x="2932110" y="592551"/>
                </a:moveTo>
                <a:cubicBezTo>
                  <a:pt x="2926936" y="607673"/>
                  <a:pt x="2922559" y="620805"/>
                  <a:pt x="2917386" y="635131"/>
                </a:cubicBezTo>
                <a:cubicBezTo>
                  <a:pt x="2947232" y="645876"/>
                  <a:pt x="2975487" y="656223"/>
                  <a:pt x="3004935" y="666968"/>
                </a:cubicBezTo>
                <a:cubicBezTo>
                  <a:pt x="3010506" y="652641"/>
                  <a:pt x="3015282" y="639907"/>
                  <a:pt x="3020853" y="625183"/>
                </a:cubicBezTo>
                <a:cubicBezTo>
                  <a:pt x="2991007" y="614040"/>
                  <a:pt x="2961956" y="603295"/>
                  <a:pt x="2932110" y="592551"/>
                </a:cubicBezTo>
                <a:close/>
                <a:moveTo>
                  <a:pt x="2654737" y="586581"/>
                </a:moveTo>
                <a:cubicBezTo>
                  <a:pt x="2651952" y="602499"/>
                  <a:pt x="2649564" y="616030"/>
                  <a:pt x="2646778" y="630754"/>
                </a:cubicBezTo>
                <a:cubicBezTo>
                  <a:pt x="2676625" y="637519"/>
                  <a:pt x="2704879" y="643488"/>
                  <a:pt x="2733930" y="649856"/>
                </a:cubicBezTo>
                <a:cubicBezTo>
                  <a:pt x="2737909" y="634335"/>
                  <a:pt x="2741093" y="621203"/>
                  <a:pt x="2744675" y="606081"/>
                </a:cubicBezTo>
                <a:cubicBezTo>
                  <a:pt x="2713634" y="599316"/>
                  <a:pt x="2684982" y="592948"/>
                  <a:pt x="2654737" y="586581"/>
                </a:cubicBezTo>
                <a:close/>
                <a:moveTo>
                  <a:pt x="1503860" y="584989"/>
                </a:moveTo>
                <a:cubicBezTo>
                  <a:pt x="1486749" y="591755"/>
                  <a:pt x="1470830" y="598122"/>
                  <a:pt x="1454514" y="605285"/>
                </a:cubicBezTo>
                <a:cubicBezTo>
                  <a:pt x="1460086" y="618019"/>
                  <a:pt x="1464861" y="629560"/>
                  <a:pt x="1470034" y="642295"/>
                </a:cubicBezTo>
                <a:cubicBezTo>
                  <a:pt x="1487146" y="635131"/>
                  <a:pt x="1502269" y="629162"/>
                  <a:pt x="1518585" y="622397"/>
                </a:cubicBezTo>
                <a:cubicBezTo>
                  <a:pt x="1513411" y="609264"/>
                  <a:pt x="1509034" y="598122"/>
                  <a:pt x="1503860" y="584989"/>
                </a:cubicBezTo>
                <a:close/>
                <a:moveTo>
                  <a:pt x="1696469" y="581010"/>
                </a:moveTo>
                <a:cubicBezTo>
                  <a:pt x="1679357" y="586183"/>
                  <a:pt x="1664235" y="590959"/>
                  <a:pt x="1647123" y="596132"/>
                </a:cubicBezTo>
                <a:cubicBezTo>
                  <a:pt x="1651501" y="608867"/>
                  <a:pt x="1654684" y="618417"/>
                  <a:pt x="1658266" y="629560"/>
                </a:cubicBezTo>
                <a:cubicBezTo>
                  <a:pt x="1674980" y="624387"/>
                  <a:pt x="1690102" y="620009"/>
                  <a:pt x="1706816" y="614836"/>
                </a:cubicBezTo>
                <a:cubicBezTo>
                  <a:pt x="1703234" y="603295"/>
                  <a:pt x="1700051" y="592948"/>
                  <a:pt x="1696469" y="581010"/>
                </a:cubicBezTo>
                <a:close/>
                <a:moveTo>
                  <a:pt x="1561563" y="563102"/>
                </a:moveTo>
                <a:cubicBezTo>
                  <a:pt x="1544452" y="569867"/>
                  <a:pt x="1528533" y="575836"/>
                  <a:pt x="1511819" y="582602"/>
                </a:cubicBezTo>
                <a:cubicBezTo>
                  <a:pt x="1517391" y="596132"/>
                  <a:pt x="1522166" y="607275"/>
                  <a:pt x="1526942" y="619611"/>
                </a:cubicBezTo>
                <a:cubicBezTo>
                  <a:pt x="1543656" y="613244"/>
                  <a:pt x="1558778" y="607275"/>
                  <a:pt x="1575492" y="600907"/>
                </a:cubicBezTo>
                <a:cubicBezTo>
                  <a:pt x="1570318" y="587377"/>
                  <a:pt x="1566339" y="575836"/>
                  <a:pt x="1561563" y="563102"/>
                </a:cubicBezTo>
                <a:close/>
                <a:moveTo>
                  <a:pt x="2418354" y="557929"/>
                </a:moveTo>
                <a:cubicBezTo>
                  <a:pt x="2416762" y="580214"/>
                  <a:pt x="2415170" y="600112"/>
                  <a:pt x="2413977" y="621203"/>
                </a:cubicBezTo>
                <a:cubicBezTo>
                  <a:pt x="2436660" y="623591"/>
                  <a:pt x="2457751" y="625580"/>
                  <a:pt x="2480832" y="627570"/>
                </a:cubicBezTo>
                <a:cubicBezTo>
                  <a:pt x="2483220" y="604887"/>
                  <a:pt x="2485210" y="584989"/>
                  <a:pt x="2487200" y="563898"/>
                </a:cubicBezTo>
                <a:cubicBezTo>
                  <a:pt x="2462925" y="561908"/>
                  <a:pt x="2441435" y="559918"/>
                  <a:pt x="2418354" y="557929"/>
                </a:cubicBezTo>
                <a:close/>
                <a:moveTo>
                  <a:pt x="2219378" y="553551"/>
                </a:moveTo>
                <a:cubicBezTo>
                  <a:pt x="2219378" y="575439"/>
                  <a:pt x="2219378" y="594938"/>
                  <a:pt x="2219378" y="614836"/>
                </a:cubicBezTo>
                <a:cubicBezTo>
                  <a:pt x="2242459" y="614836"/>
                  <a:pt x="2263949" y="614836"/>
                  <a:pt x="2284642" y="614836"/>
                </a:cubicBezTo>
                <a:cubicBezTo>
                  <a:pt x="2284642" y="593346"/>
                  <a:pt x="2284642" y="573449"/>
                  <a:pt x="2284642" y="553551"/>
                </a:cubicBezTo>
                <a:cubicBezTo>
                  <a:pt x="2261959" y="553551"/>
                  <a:pt x="2240867" y="553551"/>
                  <a:pt x="2219378" y="553551"/>
                </a:cubicBezTo>
                <a:close/>
                <a:moveTo>
                  <a:pt x="2318070" y="552755"/>
                </a:moveTo>
                <a:cubicBezTo>
                  <a:pt x="2318070" y="575836"/>
                  <a:pt x="2318070" y="595336"/>
                  <a:pt x="2317672" y="616030"/>
                </a:cubicBezTo>
                <a:cubicBezTo>
                  <a:pt x="2339957" y="617224"/>
                  <a:pt x="2360651" y="618417"/>
                  <a:pt x="2383732" y="619611"/>
                </a:cubicBezTo>
                <a:cubicBezTo>
                  <a:pt x="2384926" y="597724"/>
                  <a:pt x="2385722" y="577428"/>
                  <a:pt x="2386916" y="555939"/>
                </a:cubicBezTo>
                <a:cubicBezTo>
                  <a:pt x="2363437" y="554745"/>
                  <a:pt x="2341947" y="553949"/>
                  <a:pt x="2318070" y="552755"/>
                </a:cubicBezTo>
                <a:close/>
                <a:moveTo>
                  <a:pt x="1621256" y="542807"/>
                </a:moveTo>
                <a:cubicBezTo>
                  <a:pt x="1603348" y="548776"/>
                  <a:pt x="1587430" y="554347"/>
                  <a:pt x="1570716" y="560316"/>
                </a:cubicBezTo>
                <a:cubicBezTo>
                  <a:pt x="1575890" y="574245"/>
                  <a:pt x="1579869" y="585785"/>
                  <a:pt x="1584247" y="598122"/>
                </a:cubicBezTo>
                <a:cubicBezTo>
                  <a:pt x="1602155" y="591755"/>
                  <a:pt x="1617277" y="586581"/>
                  <a:pt x="1633593" y="581010"/>
                </a:cubicBezTo>
                <a:cubicBezTo>
                  <a:pt x="1629215" y="568275"/>
                  <a:pt x="1625634" y="557133"/>
                  <a:pt x="1621256" y="542807"/>
                </a:cubicBezTo>
                <a:close/>
                <a:moveTo>
                  <a:pt x="1680153" y="524899"/>
                </a:moveTo>
                <a:cubicBezTo>
                  <a:pt x="1662245" y="530072"/>
                  <a:pt x="1646327" y="535245"/>
                  <a:pt x="1629215" y="540021"/>
                </a:cubicBezTo>
                <a:cubicBezTo>
                  <a:pt x="1633991" y="553949"/>
                  <a:pt x="1637572" y="565092"/>
                  <a:pt x="1641950" y="578622"/>
                </a:cubicBezTo>
                <a:cubicBezTo>
                  <a:pt x="1659858" y="573051"/>
                  <a:pt x="1675378" y="568275"/>
                  <a:pt x="1691694" y="563102"/>
                </a:cubicBezTo>
                <a:cubicBezTo>
                  <a:pt x="1687714" y="549572"/>
                  <a:pt x="1684133" y="537633"/>
                  <a:pt x="1680153" y="524899"/>
                </a:cubicBezTo>
                <a:close/>
                <a:moveTo>
                  <a:pt x="2667472" y="522113"/>
                </a:moveTo>
                <a:cubicBezTo>
                  <a:pt x="2664288" y="538827"/>
                  <a:pt x="2661901" y="551959"/>
                  <a:pt x="2659115" y="566286"/>
                </a:cubicBezTo>
                <a:cubicBezTo>
                  <a:pt x="2690155" y="573051"/>
                  <a:pt x="2718808" y="579418"/>
                  <a:pt x="2749450" y="586183"/>
                </a:cubicBezTo>
                <a:cubicBezTo>
                  <a:pt x="2753032" y="571061"/>
                  <a:pt x="2756215" y="557929"/>
                  <a:pt x="2760195" y="542409"/>
                </a:cubicBezTo>
                <a:cubicBezTo>
                  <a:pt x="2728756" y="535643"/>
                  <a:pt x="2698910" y="528878"/>
                  <a:pt x="2667472" y="522113"/>
                </a:cubicBezTo>
                <a:close/>
                <a:moveTo>
                  <a:pt x="2425119" y="465604"/>
                </a:moveTo>
                <a:cubicBezTo>
                  <a:pt x="2423527" y="487889"/>
                  <a:pt x="2421936" y="508185"/>
                  <a:pt x="2420742" y="529276"/>
                </a:cubicBezTo>
                <a:cubicBezTo>
                  <a:pt x="2445017" y="531266"/>
                  <a:pt x="2467302" y="533654"/>
                  <a:pt x="2490781" y="535643"/>
                </a:cubicBezTo>
                <a:cubicBezTo>
                  <a:pt x="2493169" y="513358"/>
                  <a:pt x="2495159" y="493460"/>
                  <a:pt x="2497148" y="472369"/>
                </a:cubicBezTo>
                <a:cubicBezTo>
                  <a:pt x="2472476" y="469981"/>
                  <a:pt x="2450190" y="467992"/>
                  <a:pt x="2425119" y="465604"/>
                </a:cubicBezTo>
                <a:close/>
                <a:moveTo>
                  <a:pt x="2320060" y="462818"/>
                </a:moveTo>
                <a:cubicBezTo>
                  <a:pt x="2320060" y="483114"/>
                  <a:pt x="2320060" y="503011"/>
                  <a:pt x="2319662" y="523705"/>
                </a:cubicBezTo>
                <a:cubicBezTo>
                  <a:pt x="2342743" y="524899"/>
                  <a:pt x="2364233" y="526092"/>
                  <a:pt x="2388508" y="527286"/>
                </a:cubicBezTo>
                <a:cubicBezTo>
                  <a:pt x="2390099" y="505001"/>
                  <a:pt x="2391293" y="485103"/>
                  <a:pt x="2392487" y="462818"/>
                </a:cubicBezTo>
                <a:cubicBezTo>
                  <a:pt x="2367416" y="462818"/>
                  <a:pt x="2344335" y="462818"/>
                  <a:pt x="2320060" y="462818"/>
                </a:cubicBezTo>
                <a:close/>
                <a:moveTo>
                  <a:pt x="2181971" y="461226"/>
                </a:moveTo>
                <a:cubicBezTo>
                  <a:pt x="2156899" y="462818"/>
                  <a:pt x="2134614" y="464410"/>
                  <a:pt x="2110339" y="466002"/>
                </a:cubicBezTo>
                <a:cubicBezTo>
                  <a:pt x="2111931" y="487491"/>
                  <a:pt x="2113523" y="507787"/>
                  <a:pt x="2115115" y="528878"/>
                </a:cubicBezTo>
                <a:cubicBezTo>
                  <a:pt x="2138992" y="527684"/>
                  <a:pt x="2161277" y="526490"/>
                  <a:pt x="2185950" y="524899"/>
                </a:cubicBezTo>
                <a:cubicBezTo>
                  <a:pt x="2184358" y="501817"/>
                  <a:pt x="2183164" y="481920"/>
                  <a:pt x="2181971" y="461226"/>
                </a:cubicBezTo>
                <a:close/>
                <a:moveTo>
                  <a:pt x="1608523" y="448890"/>
                </a:moveTo>
                <a:cubicBezTo>
                  <a:pt x="1613696" y="462420"/>
                  <a:pt x="1616880" y="471573"/>
                  <a:pt x="1620859" y="481522"/>
                </a:cubicBezTo>
                <a:cubicBezTo>
                  <a:pt x="1630808" y="479532"/>
                  <a:pt x="1640359" y="477543"/>
                  <a:pt x="1651900" y="475155"/>
                </a:cubicBezTo>
                <a:cubicBezTo>
                  <a:pt x="1654287" y="483910"/>
                  <a:pt x="1656277" y="491471"/>
                  <a:pt x="1658267" y="498635"/>
                </a:cubicBezTo>
                <a:cubicBezTo>
                  <a:pt x="1573105" y="530471"/>
                  <a:pt x="1489534" y="561113"/>
                  <a:pt x="1403576" y="592950"/>
                </a:cubicBezTo>
                <a:cubicBezTo>
                  <a:pt x="1400791" y="586980"/>
                  <a:pt x="1397209" y="579817"/>
                  <a:pt x="1391240" y="566685"/>
                </a:cubicBezTo>
                <a:cubicBezTo>
                  <a:pt x="1406760" y="564297"/>
                  <a:pt x="1419892" y="562705"/>
                  <a:pt x="1432627" y="560318"/>
                </a:cubicBezTo>
                <a:cubicBezTo>
                  <a:pt x="1437004" y="559522"/>
                  <a:pt x="1441382" y="557930"/>
                  <a:pt x="1445759" y="556338"/>
                </a:cubicBezTo>
                <a:cubicBezTo>
                  <a:pt x="1499881" y="536838"/>
                  <a:pt x="1554003" y="516941"/>
                  <a:pt x="1608125" y="496247"/>
                </a:cubicBezTo>
                <a:cubicBezTo>
                  <a:pt x="1613298" y="494655"/>
                  <a:pt x="1617676" y="492267"/>
                  <a:pt x="1622451" y="489879"/>
                </a:cubicBezTo>
                <a:cubicBezTo>
                  <a:pt x="1621257" y="487093"/>
                  <a:pt x="1620461" y="484706"/>
                  <a:pt x="1619267" y="482318"/>
                </a:cubicBezTo>
                <a:cubicBezTo>
                  <a:pt x="1555595" y="505400"/>
                  <a:pt x="1492320" y="528481"/>
                  <a:pt x="1427056" y="552359"/>
                </a:cubicBezTo>
                <a:cubicBezTo>
                  <a:pt x="1423474" y="543604"/>
                  <a:pt x="1419494" y="534053"/>
                  <a:pt x="1413525" y="520920"/>
                </a:cubicBezTo>
                <a:cubicBezTo>
                  <a:pt x="1478391" y="497043"/>
                  <a:pt x="1542463" y="473165"/>
                  <a:pt x="1608523" y="448890"/>
                </a:cubicBezTo>
                <a:close/>
                <a:moveTo>
                  <a:pt x="2322448" y="370891"/>
                </a:moveTo>
                <a:cubicBezTo>
                  <a:pt x="2322448" y="390789"/>
                  <a:pt x="2322448" y="410288"/>
                  <a:pt x="2322845" y="432574"/>
                </a:cubicBezTo>
                <a:cubicBezTo>
                  <a:pt x="2347519" y="432574"/>
                  <a:pt x="2370202" y="432574"/>
                  <a:pt x="2394875" y="432574"/>
                </a:cubicBezTo>
                <a:cubicBezTo>
                  <a:pt x="2395671" y="412278"/>
                  <a:pt x="2396865" y="392779"/>
                  <a:pt x="2398058" y="370891"/>
                </a:cubicBezTo>
                <a:cubicBezTo>
                  <a:pt x="2371794" y="370891"/>
                  <a:pt x="2347916" y="370891"/>
                  <a:pt x="2322448" y="370891"/>
                </a:cubicBezTo>
                <a:close/>
                <a:moveTo>
                  <a:pt x="2215398" y="369697"/>
                </a:moveTo>
                <a:cubicBezTo>
                  <a:pt x="2215398" y="390789"/>
                  <a:pt x="2215398" y="411084"/>
                  <a:pt x="2215398" y="430982"/>
                </a:cubicBezTo>
                <a:cubicBezTo>
                  <a:pt x="2240072" y="430982"/>
                  <a:pt x="2263153" y="430982"/>
                  <a:pt x="2287428" y="430982"/>
                </a:cubicBezTo>
                <a:cubicBezTo>
                  <a:pt x="2287428" y="409891"/>
                  <a:pt x="2287428" y="389993"/>
                  <a:pt x="2287428" y="369697"/>
                </a:cubicBezTo>
                <a:cubicBezTo>
                  <a:pt x="2262357" y="369697"/>
                  <a:pt x="2238878" y="369697"/>
                  <a:pt x="2215398" y="369697"/>
                </a:cubicBezTo>
                <a:close/>
                <a:moveTo>
                  <a:pt x="2178787" y="369299"/>
                </a:moveTo>
                <a:cubicBezTo>
                  <a:pt x="2152522" y="370891"/>
                  <a:pt x="2128645" y="372483"/>
                  <a:pt x="2103176" y="374075"/>
                </a:cubicBezTo>
                <a:cubicBezTo>
                  <a:pt x="2104768" y="395962"/>
                  <a:pt x="2106360" y="415462"/>
                  <a:pt x="2108350" y="437747"/>
                </a:cubicBezTo>
                <a:cubicBezTo>
                  <a:pt x="2134614" y="436155"/>
                  <a:pt x="2157695" y="434166"/>
                  <a:pt x="2182368" y="432574"/>
                </a:cubicBezTo>
                <a:cubicBezTo>
                  <a:pt x="2181175" y="410288"/>
                  <a:pt x="2179981" y="390789"/>
                  <a:pt x="2178787" y="369299"/>
                </a:cubicBezTo>
                <a:close/>
                <a:moveTo>
                  <a:pt x="2438650" y="281352"/>
                </a:moveTo>
                <a:cubicBezTo>
                  <a:pt x="2437058" y="303239"/>
                  <a:pt x="2435466" y="323535"/>
                  <a:pt x="2433874" y="345024"/>
                </a:cubicBezTo>
                <a:cubicBezTo>
                  <a:pt x="2460139" y="347412"/>
                  <a:pt x="2484414" y="349402"/>
                  <a:pt x="2510281" y="351790"/>
                </a:cubicBezTo>
                <a:cubicBezTo>
                  <a:pt x="2512669" y="330698"/>
                  <a:pt x="2515056" y="311198"/>
                  <a:pt x="2517444" y="288515"/>
                </a:cubicBezTo>
                <a:cubicBezTo>
                  <a:pt x="2489985" y="286127"/>
                  <a:pt x="2465312" y="283740"/>
                  <a:pt x="2438650" y="281352"/>
                </a:cubicBezTo>
                <a:close/>
                <a:moveTo>
                  <a:pt x="2212215" y="276975"/>
                </a:moveTo>
                <a:cubicBezTo>
                  <a:pt x="2212215" y="298464"/>
                  <a:pt x="2212215" y="317964"/>
                  <a:pt x="2212215" y="337463"/>
                </a:cubicBezTo>
                <a:cubicBezTo>
                  <a:pt x="2238878" y="337463"/>
                  <a:pt x="2263153" y="337463"/>
                  <a:pt x="2288622" y="337463"/>
                </a:cubicBezTo>
                <a:cubicBezTo>
                  <a:pt x="2288622" y="316372"/>
                  <a:pt x="2288622" y="297270"/>
                  <a:pt x="2288622" y="276975"/>
                </a:cubicBezTo>
                <a:cubicBezTo>
                  <a:pt x="2261561" y="276975"/>
                  <a:pt x="2236490" y="276975"/>
                  <a:pt x="2212215" y="276975"/>
                </a:cubicBezTo>
                <a:close/>
                <a:moveTo>
                  <a:pt x="2445415" y="189425"/>
                </a:moveTo>
                <a:cubicBezTo>
                  <a:pt x="2443823" y="212108"/>
                  <a:pt x="2442231" y="231608"/>
                  <a:pt x="2440639" y="252700"/>
                </a:cubicBezTo>
                <a:cubicBezTo>
                  <a:pt x="2467302" y="255087"/>
                  <a:pt x="2492373" y="257475"/>
                  <a:pt x="2520230" y="259863"/>
                </a:cubicBezTo>
                <a:cubicBezTo>
                  <a:pt x="2522617" y="238771"/>
                  <a:pt x="2524607" y="219272"/>
                  <a:pt x="2526995" y="196588"/>
                </a:cubicBezTo>
                <a:cubicBezTo>
                  <a:pt x="2499138" y="194201"/>
                  <a:pt x="2472873" y="191813"/>
                  <a:pt x="2445415" y="189425"/>
                </a:cubicBezTo>
                <a:close/>
                <a:moveTo>
                  <a:pt x="2170828" y="184650"/>
                </a:moveTo>
                <a:cubicBezTo>
                  <a:pt x="2142175" y="186242"/>
                  <a:pt x="2116309" y="188231"/>
                  <a:pt x="2089248" y="189823"/>
                </a:cubicBezTo>
                <a:cubicBezTo>
                  <a:pt x="2091237" y="212506"/>
                  <a:pt x="2092829" y="232006"/>
                  <a:pt x="2094421" y="253097"/>
                </a:cubicBezTo>
                <a:cubicBezTo>
                  <a:pt x="2121880" y="251506"/>
                  <a:pt x="2146951" y="249914"/>
                  <a:pt x="2174409" y="248322"/>
                </a:cubicBezTo>
                <a:cubicBezTo>
                  <a:pt x="2173216" y="226435"/>
                  <a:pt x="2172022" y="206537"/>
                  <a:pt x="2170828" y="184650"/>
                </a:cubicBezTo>
                <a:close/>
                <a:moveTo>
                  <a:pt x="2210225" y="184252"/>
                </a:moveTo>
                <a:cubicBezTo>
                  <a:pt x="2210225" y="205741"/>
                  <a:pt x="2210225" y="225639"/>
                  <a:pt x="2210225" y="245536"/>
                </a:cubicBezTo>
                <a:cubicBezTo>
                  <a:pt x="2238082" y="245536"/>
                  <a:pt x="2263153" y="245536"/>
                  <a:pt x="2289020" y="245536"/>
                </a:cubicBezTo>
                <a:cubicBezTo>
                  <a:pt x="2289020" y="224047"/>
                  <a:pt x="2289020" y="204547"/>
                  <a:pt x="2289020" y="184252"/>
                </a:cubicBezTo>
                <a:cubicBezTo>
                  <a:pt x="2261959" y="184252"/>
                  <a:pt x="2236092" y="184252"/>
                  <a:pt x="2210225" y="184252"/>
                </a:cubicBezTo>
                <a:close/>
                <a:moveTo>
                  <a:pt x="2175205" y="0"/>
                </a:moveTo>
                <a:cubicBezTo>
                  <a:pt x="2211021" y="0"/>
                  <a:pt x="2246837" y="0"/>
                  <a:pt x="2282652" y="0"/>
                </a:cubicBezTo>
                <a:cubicBezTo>
                  <a:pt x="2282652" y="10347"/>
                  <a:pt x="2282652" y="21091"/>
                  <a:pt x="2282652" y="33030"/>
                </a:cubicBezTo>
                <a:cubicBezTo>
                  <a:pt x="2302948" y="33030"/>
                  <a:pt x="2322050" y="33030"/>
                  <a:pt x="2342345" y="33030"/>
                </a:cubicBezTo>
                <a:cubicBezTo>
                  <a:pt x="2342345" y="21091"/>
                  <a:pt x="2342345" y="10347"/>
                  <a:pt x="2342345" y="0"/>
                </a:cubicBezTo>
                <a:cubicBezTo>
                  <a:pt x="2350304" y="0"/>
                  <a:pt x="2358263" y="0"/>
                  <a:pt x="2366222" y="0"/>
                </a:cubicBezTo>
                <a:cubicBezTo>
                  <a:pt x="2381344" y="1194"/>
                  <a:pt x="2396467" y="2786"/>
                  <a:pt x="2411589" y="3980"/>
                </a:cubicBezTo>
                <a:cubicBezTo>
                  <a:pt x="2450986" y="7163"/>
                  <a:pt x="2490781" y="9949"/>
                  <a:pt x="2530179" y="12734"/>
                </a:cubicBezTo>
                <a:cubicBezTo>
                  <a:pt x="2530179" y="25071"/>
                  <a:pt x="2530179" y="35020"/>
                  <a:pt x="2530179" y="45367"/>
                </a:cubicBezTo>
                <a:cubicBezTo>
                  <a:pt x="2534954" y="46958"/>
                  <a:pt x="2540127" y="48550"/>
                  <a:pt x="2545301" y="50142"/>
                </a:cubicBezTo>
                <a:cubicBezTo>
                  <a:pt x="2542913" y="73223"/>
                  <a:pt x="2540923" y="95508"/>
                  <a:pt x="2538535" y="118590"/>
                </a:cubicBezTo>
                <a:cubicBezTo>
                  <a:pt x="2549678" y="120977"/>
                  <a:pt x="2559627" y="122967"/>
                  <a:pt x="2571168" y="125355"/>
                </a:cubicBezTo>
                <a:cubicBezTo>
                  <a:pt x="2541719" y="363330"/>
                  <a:pt x="2512669" y="599714"/>
                  <a:pt x="2483618" y="837689"/>
                </a:cubicBezTo>
                <a:cubicBezTo>
                  <a:pt x="2512669" y="841668"/>
                  <a:pt x="2539331" y="845648"/>
                  <a:pt x="2567188" y="849627"/>
                </a:cubicBezTo>
                <a:cubicBezTo>
                  <a:pt x="2589075" y="723875"/>
                  <a:pt x="2610565" y="600907"/>
                  <a:pt x="2632054" y="476746"/>
                </a:cubicBezTo>
                <a:cubicBezTo>
                  <a:pt x="2643993" y="478338"/>
                  <a:pt x="2653544" y="479532"/>
                  <a:pt x="2664686" y="480726"/>
                </a:cubicBezTo>
                <a:cubicBezTo>
                  <a:pt x="2668268" y="465206"/>
                  <a:pt x="2671452" y="449686"/>
                  <a:pt x="2675033" y="432972"/>
                </a:cubicBezTo>
                <a:cubicBezTo>
                  <a:pt x="2686176" y="434564"/>
                  <a:pt x="2696522" y="436155"/>
                  <a:pt x="2706869" y="437747"/>
                </a:cubicBezTo>
                <a:cubicBezTo>
                  <a:pt x="2709655" y="430186"/>
                  <a:pt x="2712042" y="423421"/>
                  <a:pt x="2715624" y="414666"/>
                </a:cubicBezTo>
                <a:cubicBezTo>
                  <a:pt x="2778899" y="430982"/>
                  <a:pt x="2841377" y="446900"/>
                  <a:pt x="2904651" y="463216"/>
                </a:cubicBezTo>
                <a:cubicBezTo>
                  <a:pt x="2902661" y="473563"/>
                  <a:pt x="2901070" y="479930"/>
                  <a:pt x="2899478" y="487491"/>
                </a:cubicBezTo>
                <a:cubicBezTo>
                  <a:pt x="2925743" y="495848"/>
                  <a:pt x="2951212" y="504205"/>
                  <a:pt x="2976680" y="512562"/>
                </a:cubicBezTo>
                <a:cubicBezTo>
                  <a:pt x="2980660" y="505001"/>
                  <a:pt x="2983844" y="499032"/>
                  <a:pt x="2988221" y="490675"/>
                </a:cubicBezTo>
                <a:cubicBezTo>
                  <a:pt x="3049506" y="515348"/>
                  <a:pt x="3109199" y="539225"/>
                  <a:pt x="3170085" y="563500"/>
                </a:cubicBezTo>
                <a:cubicBezTo>
                  <a:pt x="3166504" y="572653"/>
                  <a:pt x="3164116" y="578622"/>
                  <a:pt x="3161330" y="585387"/>
                </a:cubicBezTo>
                <a:cubicBezTo>
                  <a:pt x="3166902" y="589367"/>
                  <a:pt x="3171677" y="592551"/>
                  <a:pt x="3177248" y="596132"/>
                </a:cubicBezTo>
                <a:cubicBezTo>
                  <a:pt x="3170483" y="610856"/>
                  <a:pt x="3164116" y="625183"/>
                  <a:pt x="3157351" y="640305"/>
                </a:cubicBezTo>
                <a:cubicBezTo>
                  <a:pt x="3168891" y="646274"/>
                  <a:pt x="3179238" y="651845"/>
                  <a:pt x="3190779" y="657815"/>
                </a:cubicBezTo>
                <a:cubicBezTo>
                  <a:pt x="3110392" y="822965"/>
                  <a:pt x="3030404" y="987319"/>
                  <a:pt x="2948028" y="1156051"/>
                </a:cubicBezTo>
                <a:cubicBezTo>
                  <a:pt x="2952803" y="1157642"/>
                  <a:pt x="2958375" y="1159632"/>
                  <a:pt x="2962752" y="1161224"/>
                </a:cubicBezTo>
                <a:cubicBezTo>
                  <a:pt x="2938079" y="1211366"/>
                  <a:pt x="2915396" y="1257130"/>
                  <a:pt x="2892713" y="1303293"/>
                </a:cubicBezTo>
                <a:cubicBezTo>
                  <a:pt x="2895498" y="1304487"/>
                  <a:pt x="2897886" y="1306078"/>
                  <a:pt x="2900672" y="1307272"/>
                </a:cubicBezTo>
                <a:cubicBezTo>
                  <a:pt x="2924151" y="1260712"/>
                  <a:pt x="2948028" y="1214151"/>
                  <a:pt x="2971905" y="1167989"/>
                </a:cubicBezTo>
                <a:cubicBezTo>
                  <a:pt x="2985038" y="1170377"/>
                  <a:pt x="2986231" y="1175550"/>
                  <a:pt x="2980660" y="1185897"/>
                </a:cubicBezTo>
                <a:cubicBezTo>
                  <a:pt x="2957977" y="1227682"/>
                  <a:pt x="2936487" y="1269865"/>
                  <a:pt x="2913406" y="1314037"/>
                </a:cubicBezTo>
                <a:cubicBezTo>
                  <a:pt x="2929324" y="1322394"/>
                  <a:pt x="2943650" y="1329955"/>
                  <a:pt x="2961558" y="1339506"/>
                </a:cubicBezTo>
                <a:cubicBezTo>
                  <a:pt x="2952405" y="1316823"/>
                  <a:pt x="2956385" y="1309660"/>
                  <a:pt x="2977476" y="1300905"/>
                </a:cubicBezTo>
                <a:cubicBezTo>
                  <a:pt x="2979466" y="1299711"/>
                  <a:pt x="2981456" y="1292150"/>
                  <a:pt x="2979864" y="1290558"/>
                </a:cubicBezTo>
                <a:cubicBezTo>
                  <a:pt x="2976680" y="1286579"/>
                  <a:pt x="2971507" y="1284589"/>
                  <a:pt x="2965936" y="1281007"/>
                </a:cubicBezTo>
                <a:cubicBezTo>
                  <a:pt x="2971109" y="1271457"/>
                  <a:pt x="2975885" y="1263100"/>
                  <a:pt x="2979864" y="1256334"/>
                </a:cubicBezTo>
                <a:cubicBezTo>
                  <a:pt x="2989415" y="1257926"/>
                  <a:pt x="2996578" y="1259518"/>
                  <a:pt x="3003741" y="1260712"/>
                </a:cubicBezTo>
                <a:cubicBezTo>
                  <a:pt x="3004537" y="1258722"/>
                  <a:pt x="3004935" y="1256334"/>
                  <a:pt x="3005333" y="1254345"/>
                </a:cubicBezTo>
                <a:cubicBezTo>
                  <a:pt x="2996578" y="1248375"/>
                  <a:pt x="2988221" y="1242804"/>
                  <a:pt x="2979068" y="1236835"/>
                </a:cubicBezTo>
                <a:cubicBezTo>
                  <a:pt x="2984639" y="1227284"/>
                  <a:pt x="2989415" y="1218927"/>
                  <a:pt x="2994190" y="1210172"/>
                </a:cubicBezTo>
                <a:cubicBezTo>
                  <a:pt x="3002149" y="1214549"/>
                  <a:pt x="3007721" y="1218131"/>
                  <a:pt x="3013690" y="1220519"/>
                </a:cubicBezTo>
                <a:cubicBezTo>
                  <a:pt x="3016874" y="1221713"/>
                  <a:pt x="3021251" y="1220519"/>
                  <a:pt x="3025231" y="1220121"/>
                </a:cubicBezTo>
                <a:cubicBezTo>
                  <a:pt x="3023241" y="1216937"/>
                  <a:pt x="3022047" y="1212162"/>
                  <a:pt x="3018863" y="1210172"/>
                </a:cubicBezTo>
                <a:cubicBezTo>
                  <a:pt x="3010108" y="1204203"/>
                  <a:pt x="3000956" y="1199427"/>
                  <a:pt x="2991007" y="1193856"/>
                </a:cubicBezTo>
                <a:cubicBezTo>
                  <a:pt x="2996578" y="1183907"/>
                  <a:pt x="3001354" y="1175152"/>
                  <a:pt x="3006129" y="1166397"/>
                </a:cubicBezTo>
                <a:cubicBezTo>
                  <a:pt x="3017272" y="1172366"/>
                  <a:pt x="3026424" y="1177938"/>
                  <a:pt x="3035975" y="1182315"/>
                </a:cubicBezTo>
                <a:cubicBezTo>
                  <a:pt x="3038761" y="1183509"/>
                  <a:pt x="3043138" y="1181519"/>
                  <a:pt x="3047118" y="1181121"/>
                </a:cubicBezTo>
                <a:cubicBezTo>
                  <a:pt x="3045526" y="1177938"/>
                  <a:pt x="3044332" y="1173958"/>
                  <a:pt x="3041945" y="1172366"/>
                </a:cubicBezTo>
                <a:cubicBezTo>
                  <a:pt x="3029210" y="1164407"/>
                  <a:pt x="3016078" y="1157244"/>
                  <a:pt x="3002547" y="1149683"/>
                </a:cubicBezTo>
                <a:cubicBezTo>
                  <a:pt x="3008119" y="1139734"/>
                  <a:pt x="3012894" y="1131377"/>
                  <a:pt x="3017670" y="1122622"/>
                </a:cubicBezTo>
                <a:cubicBezTo>
                  <a:pt x="3031598" y="1130582"/>
                  <a:pt x="3043138" y="1137347"/>
                  <a:pt x="3055077" y="1142918"/>
                </a:cubicBezTo>
                <a:cubicBezTo>
                  <a:pt x="3059057" y="1144510"/>
                  <a:pt x="3064230" y="1143316"/>
                  <a:pt x="3068607" y="1143316"/>
                </a:cubicBezTo>
                <a:cubicBezTo>
                  <a:pt x="3065822" y="1139337"/>
                  <a:pt x="3063832" y="1134561"/>
                  <a:pt x="3060250" y="1132173"/>
                </a:cubicBezTo>
                <a:cubicBezTo>
                  <a:pt x="3045128" y="1123020"/>
                  <a:pt x="3029608" y="1114663"/>
                  <a:pt x="3013690" y="1105909"/>
                </a:cubicBezTo>
                <a:cubicBezTo>
                  <a:pt x="3019261" y="1095562"/>
                  <a:pt x="3023639" y="1087205"/>
                  <a:pt x="3028414" y="1078450"/>
                </a:cubicBezTo>
                <a:cubicBezTo>
                  <a:pt x="3041149" y="1085215"/>
                  <a:pt x="3051893" y="1090786"/>
                  <a:pt x="3062240" y="1096358"/>
                </a:cubicBezTo>
                <a:cubicBezTo>
                  <a:pt x="3084526" y="1108694"/>
                  <a:pt x="3084526" y="1109092"/>
                  <a:pt x="3091689" y="1099143"/>
                </a:cubicBezTo>
                <a:cubicBezTo>
                  <a:pt x="3069403" y="1086807"/>
                  <a:pt x="3047118" y="1074470"/>
                  <a:pt x="3024435" y="1061736"/>
                </a:cubicBezTo>
                <a:cubicBezTo>
                  <a:pt x="3030006" y="1051389"/>
                  <a:pt x="3033986" y="1043430"/>
                  <a:pt x="3039159" y="1033879"/>
                </a:cubicBezTo>
                <a:cubicBezTo>
                  <a:pt x="3059455" y="1045022"/>
                  <a:pt x="3078158" y="1055767"/>
                  <a:pt x="3097658" y="1065317"/>
                </a:cubicBezTo>
                <a:cubicBezTo>
                  <a:pt x="3101637" y="1067307"/>
                  <a:pt x="3107607" y="1065715"/>
                  <a:pt x="3112382" y="1065715"/>
                </a:cubicBezTo>
                <a:cubicBezTo>
                  <a:pt x="3109596" y="1062134"/>
                  <a:pt x="3107607" y="1056960"/>
                  <a:pt x="3103627" y="1054971"/>
                </a:cubicBezTo>
                <a:cubicBezTo>
                  <a:pt x="3081342" y="1042236"/>
                  <a:pt x="3058659" y="1029900"/>
                  <a:pt x="3035179" y="1017165"/>
                </a:cubicBezTo>
                <a:cubicBezTo>
                  <a:pt x="3039955" y="1007614"/>
                  <a:pt x="3044332" y="998859"/>
                  <a:pt x="3049108" y="989309"/>
                </a:cubicBezTo>
                <a:cubicBezTo>
                  <a:pt x="3069005" y="1000053"/>
                  <a:pt x="3085719" y="1010798"/>
                  <a:pt x="3104025" y="1017961"/>
                </a:cubicBezTo>
                <a:cubicBezTo>
                  <a:pt x="3121137" y="1024726"/>
                  <a:pt x="3139841" y="1027910"/>
                  <a:pt x="3157749" y="1032685"/>
                </a:cubicBezTo>
                <a:cubicBezTo>
                  <a:pt x="3168891" y="1015175"/>
                  <a:pt x="3178840" y="999257"/>
                  <a:pt x="3189187" y="982145"/>
                </a:cubicBezTo>
                <a:cubicBezTo>
                  <a:pt x="3229778" y="1008012"/>
                  <a:pt x="3268777" y="1033083"/>
                  <a:pt x="3308572" y="1058552"/>
                </a:cubicBezTo>
                <a:cubicBezTo>
                  <a:pt x="3360306" y="984533"/>
                  <a:pt x="3411642" y="911708"/>
                  <a:pt x="3463376" y="837689"/>
                </a:cubicBezTo>
                <a:cubicBezTo>
                  <a:pt x="3476110" y="846444"/>
                  <a:pt x="3486855" y="853607"/>
                  <a:pt x="3498793" y="861566"/>
                </a:cubicBezTo>
                <a:cubicBezTo>
                  <a:pt x="3508344" y="849627"/>
                  <a:pt x="3517099" y="838485"/>
                  <a:pt x="3526650" y="825750"/>
                </a:cubicBezTo>
                <a:cubicBezTo>
                  <a:pt x="3538191" y="833709"/>
                  <a:pt x="3548537" y="841270"/>
                  <a:pt x="3559680" y="849230"/>
                </a:cubicBezTo>
                <a:cubicBezTo>
                  <a:pt x="3566047" y="842066"/>
                  <a:pt x="3571619" y="836097"/>
                  <a:pt x="3579578" y="827740"/>
                </a:cubicBezTo>
                <a:cubicBezTo>
                  <a:pt x="3639270" y="878678"/>
                  <a:pt x="3698167" y="928820"/>
                  <a:pt x="3757462" y="979758"/>
                </a:cubicBezTo>
                <a:cubicBezTo>
                  <a:pt x="3750299" y="988911"/>
                  <a:pt x="3745126" y="995278"/>
                  <a:pt x="3737565" y="1004431"/>
                </a:cubicBezTo>
                <a:cubicBezTo>
                  <a:pt x="3746717" y="1010798"/>
                  <a:pt x="3755472" y="1017165"/>
                  <a:pt x="3764625" y="1023930"/>
                </a:cubicBezTo>
                <a:cubicBezTo>
                  <a:pt x="3752289" y="1037461"/>
                  <a:pt x="3742340" y="1048604"/>
                  <a:pt x="3729208" y="1062930"/>
                </a:cubicBezTo>
                <a:cubicBezTo>
                  <a:pt x="3740748" y="1071685"/>
                  <a:pt x="3751095" y="1078848"/>
                  <a:pt x="3762238" y="1087205"/>
                </a:cubicBezTo>
                <a:cubicBezTo>
                  <a:pt x="3673096" y="1174356"/>
                  <a:pt x="3586741" y="1258722"/>
                  <a:pt x="3500385" y="1343486"/>
                </a:cubicBezTo>
                <a:cubicBezTo>
                  <a:pt x="3510732" y="1354629"/>
                  <a:pt x="3519885" y="1364975"/>
                  <a:pt x="3530232" y="1376118"/>
                </a:cubicBezTo>
                <a:cubicBezTo>
                  <a:pt x="3460988" y="1440586"/>
                  <a:pt x="3392540" y="1504258"/>
                  <a:pt x="3322899" y="1569125"/>
                </a:cubicBezTo>
                <a:cubicBezTo>
                  <a:pt x="3341205" y="1581063"/>
                  <a:pt x="3357919" y="1592604"/>
                  <a:pt x="3377816" y="1606134"/>
                </a:cubicBezTo>
                <a:cubicBezTo>
                  <a:pt x="3379806" y="1604144"/>
                  <a:pt x="3382990" y="1600563"/>
                  <a:pt x="3386969" y="1596583"/>
                </a:cubicBezTo>
                <a:cubicBezTo>
                  <a:pt x="3377020" y="1584645"/>
                  <a:pt x="3368663" y="1574696"/>
                  <a:pt x="3359510" y="1563951"/>
                </a:cubicBezTo>
                <a:cubicBezTo>
                  <a:pt x="3365480" y="1558778"/>
                  <a:pt x="3370255" y="1554400"/>
                  <a:pt x="3375826" y="1549625"/>
                </a:cubicBezTo>
                <a:cubicBezTo>
                  <a:pt x="3385377" y="1560370"/>
                  <a:pt x="3394132" y="1569921"/>
                  <a:pt x="3404081" y="1580665"/>
                </a:cubicBezTo>
                <a:cubicBezTo>
                  <a:pt x="3408458" y="1576288"/>
                  <a:pt x="3412438" y="1572706"/>
                  <a:pt x="3416815" y="1568727"/>
                </a:cubicBezTo>
                <a:cubicBezTo>
                  <a:pt x="3407264" y="1557186"/>
                  <a:pt x="3398908" y="1547237"/>
                  <a:pt x="3389755" y="1536493"/>
                </a:cubicBezTo>
                <a:cubicBezTo>
                  <a:pt x="3395724" y="1530921"/>
                  <a:pt x="3400499" y="1526942"/>
                  <a:pt x="3406071" y="1522166"/>
                </a:cubicBezTo>
                <a:cubicBezTo>
                  <a:pt x="3416019" y="1532911"/>
                  <a:pt x="3424774" y="1542860"/>
                  <a:pt x="3434723" y="1553605"/>
                </a:cubicBezTo>
                <a:cubicBezTo>
                  <a:pt x="3439101" y="1550023"/>
                  <a:pt x="3443080" y="1546441"/>
                  <a:pt x="3447856" y="1542462"/>
                </a:cubicBezTo>
                <a:cubicBezTo>
                  <a:pt x="3437907" y="1530921"/>
                  <a:pt x="3429152" y="1520574"/>
                  <a:pt x="3419601" y="1509034"/>
                </a:cubicBezTo>
                <a:cubicBezTo>
                  <a:pt x="3425570" y="1503861"/>
                  <a:pt x="3430346" y="1499881"/>
                  <a:pt x="3436315" y="1494708"/>
                </a:cubicBezTo>
                <a:cubicBezTo>
                  <a:pt x="3446264" y="1505850"/>
                  <a:pt x="3455417" y="1515799"/>
                  <a:pt x="3465763" y="1527340"/>
                </a:cubicBezTo>
                <a:cubicBezTo>
                  <a:pt x="3470141" y="1523360"/>
                  <a:pt x="3474518" y="1519779"/>
                  <a:pt x="3478896" y="1515799"/>
                </a:cubicBezTo>
                <a:cubicBezTo>
                  <a:pt x="3468947" y="1503861"/>
                  <a:pt x="3459794" y="1493514"/>
                  <a:pt x="3449845" y="1481575"/>
                </a:cubicBezTo>
                <a:cubicBezTo>
                  <a:pt x="3455815" y="1476402"/>
                  <a:pt x="3460988" y="1472024"/>
                  <a:pt x="3466559" y="1467249"/>
                </a:cubicBezTo>
                <a:cubicBezTo>
                  <a:pt x="3477702" y="1479187"/>
                  <a:pt x="3487253" y="1489932"/>
                  <a:pt x="3498793" y="1502667"/>
                </a:cubicBezTo>
                <a:cubicBezTo>
                  <a:pt x="3516303" y="1475606"/>
                  <a:pt x="3483273" y="1470433"/>
                  <a:pt x="3482079" y="1452127"/>
                </a:cubicBezTo>
                <a:cubicBezTo>
                  <a:pt x="3486059" y="1448545"/>
                  <a:pt x="3490834" y="1444168"/>
                  <a:pt x="3496406" y="1439790"/>
                </a:cubicBezTo>
                <a:cubicBezTo>
                  <a:pt x="3507548" y="1451729"/>
                  <a:pt x="3517497" y="1462474"/>
                  <a:pt x="3529834" y="1475606"/>
                </a:cubicBezTo>
                <a:cubicBezTo>
                  <a:pt x="3547344" y="1448147"/>
                  <a:pt x="3513916" y="1443372"/>
                  <a:pt x="3512722" y="1424270"/>
                </a:cubicBezTo>
                <a:cubicBezTo>
                  <a:pt x="3516303" y="1421086"/>
                  <a:pt x="3521477" y="1416709"/>
                  <a:pt x="3527048" y="1411934"/>
                </a:cubicBezTo>
                <a:cubicBezTo>
                  <a:pt x="3538589" y="1424270"/>
                  <a:pt x="3548537" y="1435413"/>
                  <a:pt x="3560874" y="1448943"/>
                </a:cubicBezTo>
                <a:cubicBezTo>
                  <a:pt x="3566047" y="1443770"/>
                  <a:pt x="3569629" y="1440586"/>
                  <a:pt x="3573210" y="1436607"/>
                </a:cubicBezTo>
                <a:cubicBezTo>
                  <a:pt x="3561670" y="1422678"/>
                  <a:pt x="3551721" y="1411138"/>
                  <a:pt x="3541374" y="1398801"/>
                </a:cubicBezTo>
                <a:cubicBezTo>
                  <a:pt x="3546946" y="1394026"/>
                  <a:pt x="3551721" y="1389648"/>
                  <a:pt x="3557292" y="1384475"/>
                </a:cubicBezTo>
                <a:cubicBezTo>
                  <a:pt x="3568435" y="1396811"/>
                  <a:pt x="3579180" y="1408352"/>
                  <a:pt x="3590322" y="1420689"/>
                </a:cubicBezTo>
                <a:cubicBezTo>
                  <a:pt x="3594700" y="1416311"/>
                  <a:pt x="3598679" y="1413127"/>
                  <a:pt x="3603057" y="1409148"/>
                </a:cubicBezTo>
                <a:cubicBezTo>
                  <a:pt x="3592312" y="1396413"/>
                  <a:pt x="3581965" y="1384077"/>
                  <a:pt x="3571221" y="1371342"/>
                </a:cubicBezTo>
                <a:cubicBezTo>
                  <a:pt x="3577986" y="1365373"/>
                  <a:pt x="3583557" y="1360598"/>
                  <a:pt x="3590322" y="1354231"/>
                </a:cubicBezTo>
                <a:cubicBezTo>
                  <a:pt x="3604251" y="1369751"/>
                  <a:pt x="3616985" y="1383679"/>
                  <a:pt x="3630118" y="1398801"/>
                </a:cubicBezTo>
                <a:cubicBezTo>
                  <a:pt x="3644046" y="1387658"/>
                  <a:pt x="3656780" y="1377312"/>
                  <a:pt x="3671903" y="1364975"/>
                </a:cubicBezTo>
                <a:cubicBezTo>
                  <a:pt x="3710902" y="1416311"/>
                  <a:pt x="3749105" y="1466851"/>
                  <a:pt x="3787707" y="1517789"/>
                </a:cubicBezTo>
                <a:cubicBezTo>
                  <a:pt x="3771390" y="1529329"/>
                  <a:pt x="3757860" y="1538880"/>
                  <a:pt x="3743932" y="1548829"/>
                </a:cubicBezTo>
                <a:cubicBezTo>
                  <a:pt x="3756268" y="1567931"/>
                  <a:pt x="3767411" y="1585441"/>
                  <a:pt x="3779350" y="1604144"/>
                </a:cubicBezTo>
                <a:cubicBezTo>
                  <a:pt x="3713687" y="1645531"/>
                  <a:pt x="3649219" y="1685724"/>
                  <a:pt x="3585547" y="1725918"/>
                </a:cubicBezTo>
                <a:cubicBezTo>
                  <a:pt x="3611016" y="1771682"/>
                  <a:pt x="3635291" y="1814263"/>
                  <a:pt x="3659964" y="1858436"/>
                </a:cubicBezTo>
                <a:cubicBezTo>
                  <a:pt x="3675086" y="1834956"/>
                  <a:pt x="3683841" y="1830579"/>
                  <a:pt x="3698565" y="1834161"/>
                </a:cubicBezTo>
                <a:cubicBezTo>
                  <a:pt x="3710902" y="1824610"/>
                  <a:pt x="3720453" y="1817049"/>
                  <a:pt x="3732789" y="1807498"/>
                </a:cubicBezTo>
                <a:cubicBezTo>
                  <a:pt x="3754676" y="1856048"/>
                  <a:pt x="3774574" y="1900221"/>
                  <a:pt x="3794870" y="1944791"/>
                </a:cubicBezTo>
                <a:cubicBezTo>
                  <a:pt x="3811982" y="1938424"/>
                  <a:pt x="3827900" y="1932455"/>
                  <a:pt x="3844216" y="1926088"/>
                </a:cubicBezTo>
                <a:cubicBezTo>
                  <a:pt x="3850583" y="1941210"/>
                  <a:pt x="3856154" y="1954342"/>
                  <a:pt x="3861726" y="1968270"/>
                </a:cubicBezTo>
                <a:cubicBezTo>
                  <a:pt x="3875654" y="1963495"/>
                  <a:pt x="3887990" y="1959118"/>
                  <a:pt x="3902317" y="1954342"/>
                </a:cubicBezTo>
                <a:cubicBezTo>
                  <a:pt x="3917041" y="2002096"/>
                  <a:pt x="3931367" y="2047861"/>
                  <a:pt x="3946091" y="2094421"/>
                </a:cubicBezTo>
                <a:cubicBezTo>
                  <a:pt x="3930571" y="2098799"/>
                  <a:pt x="3918235" y="2102778"/>
                  <a:pt x="3905102" y="2106360"/>
                </a:cubicBezTo>
                <a:cubicBezTo>
                  <a:pt x="3909082" y="2123472"/>
                  <a:pt x="3912663" y="2138992"/>
                  <a:pt x="3916643" y="2155706"/>
                </a:cubicBezTo>
                <a:cubicBezTo>
                  <a:pt x="3870083" y="2166849"/>
                  <a:pt x="3824716" y="2177593"/>
                  <a:pt x="3782135" y="2187940"/>
                </a:cubicBezTo>
                <a:cubicBezTo>
                  <a:pt x="3795268" y="2281857"/>
                  <a:pt x="3808400" y="2373385"/>
                  <a:pt x="3821533" y="2467700"/>
                </a:cubicBezTo>
                <a:cubicBezTo>
                  <a:pt x="3764227" y="2470884"/>
                  <a:pt x="3712096" y="2473669"/>
                  <a:pt x="3659964" y="2476455"/>
                </a:cubicBezTo>
                <a:cubicBezTo>
                  <a:pt x="3659964" y="2530576"/>
                  <a:pt x="3659964" y="2581912"/>
                  <a:pt x="3659964" y="2634442"/>
                </a:cubicBezTo>
                <a:cubicBezTo>
                  <a:pt x="3673494" y="2635238"/>
                  <a:pt x="3686229" y="2636432"/>
                  <a:pt x="3698565" y="2637228"/>
                </a:cubicBezTo>
                <a:cubicBezTo>
                  <a:pt x="3732789" y="2639615"/>
                  <a:pt x="3767411" y="2641605"/>
                  <a:pt x="3801635" y="2643595"/>
                </a:cubicBezTo>
                <a:cubicBezTo>
                  <a:pt x="3812778" y="2643993"/>
                  <a:pt x="3819941" y="2647177"/>
                  <a:pt x="3811584" y="2659911"/>
                </a:cubicBezTo>
                <a:cubicBezTo>
                  <a:pt x="3760248" y="2656727"/>
                  <a:pt x="3709708" y="2653146"/>
                  <a:pt x="3656780" y="2649564"/>
                </a:cubicBezTo>
                <a:cubicBezTo>
                  <a:pt x="3655984" y="2665084"/>
                  <a:pt x="3655188" y="2678615"/>
                  <a:pt x="3653995" y="2694533"/>
                </a:cubicBezTo>
                <a:cubicBezTo>
                  <a:pt x="3706524" y="2705675"/>
                  <a:pt x="3756666" y="2716022"/>
                  <a:pt x="3808002" y="2726767"/>
                </a:cubicBezTo>
                <a:cubicBezTo>
                  <a:pt x="3801635" y="2745073"/>
                  <a:pt x="3813971" y="2752634"/>
                  <a:pt x="3828696" y="2761389"/>
                </a:cubicBezTo>
                <a:cubicBezTo>
                  <a:pt x="3874062" y="2788450"/>
                  <a:pt x="3913857" y="2822275"/>
                  <a:pt x="3946887" y="2863662"/>
                </a:cubicBezTo>
                <a:cubicBezTo>
                  <a:pt x="4063089" y="3008915"/>
                  <a:pt x="4086966" y="3174463"/>
                  <a:pt x="4050753" y="3351949"/>
                </a:cubicBezTo>
                <a:cubicBezTo>
                  <a:pt x="4032049" y="3443478"/>
                  <a:pt x="3993846" y="3527048"/>
                  <a:pt x="3941316" y="3603853"/>
                </a:cubicBezTo>
                <a:cubicBezTo>
                  <a:pt x="3934949" y="3612608"/>
                  <a:pt x="3929377" y="3620965"/>
                  <a:pt x="3947683" y="3623751"/>
                </a:cubicBezTo>
                <a:cubicBezTo>
                  <a:pt x="3973152" y="3580772"/>
                  <a:pt x="3998621" y="3537793"/>
                  <a:pt x="4024886" y="3494018"/>
                </a:cubicBezTo>
                <a:cubicBezTo>
                  <a:pt x="4047967" y="3506753"/>
                  <a:pt x="4069854" y="3518691"/>
                  <a:pt x="4094130" y="3531824"/>
                </a:cubicBezTo>
                <a:cubicBezTo>
                  <a:pt x="4065477" y="3579976"/>
                  <a:pt x="4037620" y="3626934"/>
                  <a:pt x="4009366" y="3674688"/>
                </a:cubicBezTo>
                <a:cubicBezTo>
                  <a:pt x="4015733" y="3679066"/>
                  <a:pt x="4021304" y="3682647"/>
                  <a:pt x="4028069" y="3687025"/>
                </a:cubicBezTo>
                <a:cubicBezTo>
                  <a:pt x="4055926" y="3640465"/>
                  <a:pt x="4082987" y="3595496"/>
                  <a:pt x="4110446" y="3549732"/>
                </a:cubicBezTo>
                <a:cubicBezTo>
                  <a:pt x="4133129" y="3562068"/>
                  <a:pt x="4154618" y="3574007"/>
                  <a:pt x="4177700" y="3586741"/>
                </a:cubicBezTo>
                <a:cubicBezTo>
                  <a:pt x="4148251" y="3636485"/>
                  <a:pt x="4119599" y="3684637"/>
                  <a:pt x="4089752" y="3734381"/>
                </a:cubicBezTo>
                <a:cubicBezTo>
                  <a:pt x="4095722" y="3738361"/>
                  <a:pt x="4101691" y="3742738"/>
                  <a:pt x="4109650" y="3748309"/>
                </a:cubicBezTo>
                <a:cubicBezTo>
                  <a:pt x="4138700" y="3699760"/>
                  <a:pt x="4166955" y="3653199"/>
                  <a:pt x="4195608" y="3605445"/>
                </a:cubicBezTo>
                <a:cubicBezTo>
                  <a:pt x="4217097" y="3617383"/>
                  <a:pt x="4238188" y="3628924"/>
                  <a:pt x="4261270" y="3641658"/>
                </a:cubicBezTo>
                <a:cubicBezTo>
                  <a:pt x="4230229" y="3693392"/>
                  <a:pt x="4199985" y="3743534"/>
                  <a:pt x="4169343" y="3794472"/>
                </a:cubicBezTo>
                <a:cubicBezTo>
                  <a:pt x="4176505" y="3799645"/>
                  <a:pt x="4182475" y="3804421"/>
                  <a:pt x="4190434" y="3810390"/>
                </a:cubicBezTo>
                <a:cubicBezTo>
                  <a:pt x="4221077" y="3760248"/>
                  <a:pt x="4250525" y="3711698"/>
                  <a:pt x="4280769" y="3661954"/>
                </a:cubicBezTo>
                <a:cubicBezTo>
                  <a:pt x="4301860" y="3673893"/>
                  <a:pt x="4322554" y="3685035"/>
                  <a:pt x="4344442" y="3697372"/>
                </a:cubicBezTo>
                <a:cubicBezTo>
                  <a:pt x="4311411" y="3751095"/>
                  <a:pt x="4279973" y="3803227"/>
                  <a:pt x="4247739" y="3856155"/>
                </a:cubicBezTo>
                <a:cubicBezTo>
                  <a:pt x="4254902" y="3862124"/>
                  <a:pt x="4262065" y="3867695"/>
                  <a:pt x="4270422" y="3874460"/>
                </a:cubicBezTo>
                <a:cubicBezTo>
                  <a:pt x="4275198" y="3868491"/>
                  <a:pt x="4278780" y="3863318"/>
                  <a:pt x="4283157" y="3858542"/>
                </a:cubicBezTo>
                <a:cubicBezTo>
                  <a:pt x="4314197" y="3822727"/>
                  <a:pt x="4344043" y="3786513"/>
                  <a:pt x="4376278" y="3752289"/>
                </a:cubicBezTo>
                <a:cubicBezTo>
                  <a:pt x="4387818" y="3739953"/>
                  <a:pt x="4403338" y="3731198"/>
                  <a:pt x="4418461" y="3723239"/>
                </a:cubicBezTo>
                <a:cubicBezTo>
                  <a:pt x="4431991" y="3716075"/>
                  <a:pt x="4442736" y="3722443"/>
                  <a:pt x="4443531" y="3737963"/>
                </a:cubicBezTo>
                <a:cubicBezTo>
                  <a:pt x="4444327" y="3752289"/>
                  <a:pt x="4444725" y="3767809"/>
                  <a:pt x="4439950" y="3780942"/>
                </a:cubicBezTo>
                <a:cubicBezTo>
                  <a:pt x="4422838" y="3829094"/>
                  <a:pt x="4404532" y="3876450"/>
                  <a:pt x="4384635" y="3923408"/>
                </a:cubicBezTo>
                <a:cubicBezTo>
                  <a:pt x="4372696" y="3951265"/>
                  <a:pt x="4371104" y="3955643"/>
                  <a:pt x="4394186" y="3976336"/>
                </a:cubicBezTo>
                <a:cubicBezTo>
                  <a:pt x="4438358" y="4015335"/>
                  <a:pt x="4483326" y="4053539"/>
                  <a:pt x="4527897" y="4092140"/>
                </a:cubicBezTo>
                <a:cubicBezTo>
                  <a:pt x="4532275" y="4096120"/>
                  <a:pt x="4537448" y="4098905"/>
                  <a:pt x="4546203" y="4104079"/>
                </a:cubicBezTo>
                <a:cubicBezTo>
                  <a:pt x="4546203" y="4106864"/>
                  <a:pt x="4546203" y="4109252"/>
                  <a:pt x="4546203" y="4112038"/>
                </a:cubicBezTo>
                <a:cubicBezTo>
                  <a:pt x="4541826" y="4115221"/>
                  <a:pt x="4537448" y="4118803"/>
                  <a:pt x="4531479" y="4123181"/>
                </a:cubicBezTo>
                <a:cubicBezTo>
                  <a:pt x="4465021" y="4086966"/>
                  <a:pt x="4398165" y="4050753"/>
                  <a:pt x="4330513" y="4014142"/>
                </a:cubicBezTo>
                <a:cubicBezTo>
                  <a:pt x="4325738" y="4019713"/>
                  <a:pt x="4321360" y="4024488"/>
                  <a:pt x="4317381" y="4029662"/>
                </a:cubicBezTo>
                <a:cubicBezTo>
                  <a:pt x="4281963" y="4072242"/>
                  <a:pt x="4244954" y="4112833"/>
                  <a:pt x="4198393" y="4143078"/>
                </a:cubicBezTo>
                <a:cubicBezTo>
                  <a:pt x="4180883" y="4154220"/>
                  <a:pt x="4160190" y="4172128"/>
                  <a:pt x="4140690" y="4156608"/>
                </a:cubicBezTo>
                <a:cubicBezTo>
                  <a:pt x="4121986" y="4141486"/>
                  <a:pt x="4133925" y="4117211"/>
                  <a:pt x="4142282" y="4099303"/>
                </a:cubicBezTo>
                <a:cubicBezTo>
                  <a:pt x="4160190" y="4060304"/>
                  <a:pt x="4181281" y="4022498"/>
                  <a:pt x="4201577" y="3984693"/>
                </a:cubicBezTo>
                <a:cubicBezTo>
                  <a:pt x="4207546" y="3973152"/>
                  <a:pt x="4215107" y="3962408"/>
                  <a:pt x="4222668" y="3950867"/>
                </a:cubicBezTo>
                <a:cubicBezTo>
                  <a:pt x="4213117" y="3945296"/>
                  <a:pt x="4205556" y="3940520"/>
                  <a:pt x="4197597" y="3935745"/>
                </a:cubicBezTo>
                <a:cubicBezTo>
                  <a:pt x="4159792" y="3983897"/>
                  <a:pt x="4122384" y="4031253"/>
                  <a:pt x="4084579" y="4079406"/>
                </a:cubicBezTo>
                <a:cubicBezTo>
                  <a:pt x="4064283" y="4062294"/>
                  <a:pt x="4046375" y="4047172"/>
                  <a:pt x="4028865" y="4032447"/>
                </a:cubicBezTo>
                <a:cubicBezTo>
                  <a:pt x="4064681" y="3986683"/>
                  <a:pt x="4098905" y="3942908"/>
                  <a:pt x="4134323" y="3897940"/>
                </a:cubicBezTo>
                <a:cubicBezTo>
                  <a:pt x="4125568" y="3892368"/>
                  <a:pt x="4119200" y="3888389"/>
                  <a:pt x="4112037" y="3884011"/>
                </a:cubicBezTo>
                <a:cubicBezTo>
                  <a:pt x="4075426" y="3930174"/>
                  <a:pt x="4039610" y="3975142"/>
                  <a:pt x="4002999" y="4021703"/>
                </a:cubicBezTo>
                <a:cubicBezTo>
                  <a:pt x="3983101" y="4004591"/>
                  <a:pt x="3964795" y="3989070"/>
                  <a:pt x="3946091" y="3973152"/>
                </a:cubicBezTo>
                <a:cubicBezTo>
                  <a:pt x="3980713" y="3929776"/>
                  <a:pt x="4013743" y="3887593"/>
                  <a:pt x="4047967" y="3844216"/>
                </a:cubicBezTo>
                <a:cubicBezTo>
                  <a:pt x="4039610" y="3839043"/>
                  <a:pt x="4033243" y="3835063"/>
                  <a:pt x="4027274" y="3831482"/>
                </a:cubicBezTo>
                <a:cubicBezTo>
                  <a:pt x="3991458" y="3876450"/>
                  <a:pt x="3956836" y="3919429"/>
                  <a:pt x="3921816" y="3963204"/>
                </a:cubicBezTo>
                <a:cubicBezTo>
                  <a:pt x="3900327" y="3944898"/>
                  <a:pt x="3882021" y="3928980"/>
                  <a:pt x="3863715" y="3913062"/>
                </a:cubicBezTo>
                <a:cubicBezTo>
                  <a:pt x="3897143" y="3870481"/>
                  <a:pt x="3929377" y="3830288"/>
                  <a:pt x="3962010" y="3788901"/>
                </a:cubicBezTo>
                <a:cubicBezTo>
                  <a:pt x="3954051" y="3784125"/>
                  <a:pt x="3948877" y="3780544"/>
                  <a:pt x="3943306" y="3776962"/>
                </a:cubicBezTo>
                <a:cubicBezTo>
                  <a:pt x="3909082" y="3819543"/>
                  <a:pt x="3875654" y="3861328"/>
                  <a:pt x="3841430" y="3903909"/>
                </a:cubicBezTo>
                <a:cubicBezTo>
                  <a:pt x="3819941" y="3885205"/>
                  <a:pt x="3800839" y="3868491"/>
                  <a:pt x="3781737" y="3852175"/>
                </a:cubicBezTo>
                <a:cubicBezTo>
                  <a:pt x="3813971" y="3811584"/>
                  <a:pt x="3845012" y="3772983"/>
                  <a:pt x="3876450" y="3733585"/>
                </a:cubicBezTo>
                <a:cubicBezTo>
                  <a:pt x="3868491" y="3728810"/>
                  <a:pt x="3863715" y="3726024"/>
                  <a:pt x="3858940" y="3723239"/>
                </a:cubicBezTo>
                <a:cubicBezTo>
                  <a:pt x="3825910" y="3763830"/>
                  <a:pt x="3793676" y="3803227"/>
                  <a:pt x="3761044" y="3843818"/>
                </a:cubicBezTo>
                <a:cubicBezTo>
                  <a:pt x="3750299" y="3834267"/>
                  <a:pt x="3741544" y="3826308"/>
                  <a:pt x="3731993" y="3819145"/>
                </a:cubicBezTo>
                <a:cubicBezTo>
                  <a:pt x="3728412" y="3816359"/>
                  <a:pt x="3721646" y="3813574"/>
                  <a:pt x="3718463" y="3815166"/>
                </a:cubicBezTo>
                <a:cubicBezTo>
                  <a:pt x="3694984" y="3826308"/>
                  <a:pt x="3671903" y="3838247"/>
                  <a:pt x="3647229" y="3850981"/>
                </a:cubicBezTo>
                <a:cubicBezTo>
                  <a:pt x="3687423" y="3889185"/>
                  <a:pt x="3726024" y="3925796"/>
                  <a:pt x="3770197" y="3967979"/>
                </a:cubicBezTo>
                <a:cubicBezTo>
                  <a:pt x="3750299" y="3982703"/>
                  <a:pt x="3732789" y="3996234"/>
                  <a:pt x="3714086" y="4010560"/>
                </a:cubicBezTo>
                <a:cubicBezTo>
                  <a:pt x="3723636" y="4019315"/>
                  <a:pt x="3728014" y="4023692"/>
                  <a:pt x="3734381" y="4029662"/>
                </a:cubicBezTo>
                <a:cubicBezTo>
                  <a:pt x="3750697" y="4012948"/>
                  <a:pt x="3766615" y="3997029"/>
                  <a:pt x="3783329" y="3980316"/>
                </a:cubicBezTo>
                <a:cubicBezTo>
                  <a:pt x="3789696" y="3987479"/>
                  <a:pt x="3795666" y="3993846"/>
                  <a:pt x="3802431" y="4001009"/>
                </a:cubicBezTo>
                <a:cubicBezTo>
                  <a:pt x="3794472" y="4009764"/>
                  <a:pt x="3786513" y="4018519"/>
                  <a:pt x="3774574" y="4031651"/>
                </a:cubicBezTo>
                <a:cubicBezTo>
                  <a:pt x="3785717" y="4038417"/>
                  <a:pt x="3795666" y="4044784"/>
                  <a:pt x="3806410" y="4051549"/>
                </a:cubicBezTo>
                <a:cubicBezTo>
                  <a:pt x="3793278" y="4065079"/>
                  <a:pt x="3784523" y="4074630"/>
                  <a:pt x="3770197" y="4089355"/>
                </a:cubicBezTo>
                <a:cubicBezTo>
                  <a:pt x="3793278" y="4109252"/>
                  <a:pt x="3815961" y="4128354"/>
                  <a:pt x="3840236" y="4149445"/>
                </a:cubicBezTo>
                <a:cubicBezTo>
                  <a:pt x="3826706" y="4161384"/>
                  <a:pt x="3815961" y="4170139"/>
                  <a:pt x="3804819" y="4180087"/>
                </a:cubicBezTo>
                <a:cubicBezTo>
                  <a:pt x="3831879" y="4208740"/>
                  <a:pt x="3857348" y="4236199"/>
                  <a:pt x="3884011" y="4264851"/>
                </a:cubicBezTo>
                <a:cubicBezTo>
                  <a:pt x="3860930" y="4285943"/>
                  <a:pt x="3839042" y="4305840"/>
                  <a:pt x="3816359" y="4326136"/>
                </a:cubicBezTo>
                <a:cubicBezTo>
                  <a:pt x="3790492" y="4296290"/>
                  <a:pt x="3765819" y="4268035"/>
                  <a:pt x="3741146" y="4239382"/>
                </a:cubicBezTo>
                <a:cubicBezTo>
                  <a:pt x="3728412" y="4249331"/>
                  <a:pt x="3717667" y="4258086"/>
                  <a:pt x="3706127" y="4267637"/>
                </a:cubicBezTo>
                <a:cubicBezTo>
                  <a:pt x="3686229" y="4244158"/>
                  <a:pt x="3667127" y="4221872"/>
                  <a:pt x="3648025" y="4199189"/>
                </a:cubicBezTo>
                <a:cubicBezTo>
                  <a:pt x="3637679" y="4206751"/>
                  <a:pt x="3628924" y="4213516"/>
                  <a:pt x="3619373" y="4220679"/>
                </a:cubicBezTo>
                <a:cubicBezTo>
                  <a:pt x="3610618" y="4211128"/>
                  <a:pt x="3603057" y="4202373"/>
                  <a:pt x="3595098" y="4193220"/>
                </a:cubicBezTo>
                <a:cubicBezTo>
                  <a:pt x="3584751" y="4200781"/>
                  <a:pt x="3575996" y="4207148"/>
                  <a:pt x="3566445" y="4214311"/>
                </a:cubicBezTo>
                <a:cubicBezTo>
                  <a:pt x="3494018" y="4121589"/>
                  <a:pt x="3423183" y="4030060"/>
                  <a:pt x="3351551" y="3937735"/>
                </a:cubicBezTo>
                <a:cubicBezTo>
                  <a:pt x="3332450" y="3952061"/>
                  <a:pt x="3315338" y="3965193"/>
                  <a:pt x="3297828" y="3978326"/>
                </a:cubicBezTo>
                <a:cubicBezTo>
                  <a:pt x="3304195" y="3987877"/>
                  <a:pt x="3309368" y="3995836"/>
                  <a:pt x="3314940" y="4004591"/>
                </a:cubicBezTo>
                <a:cubicBezTo>
                  <a:pt x="3302205" y="4014142"/>
                  <a:pt x="3290665" y="4022896"/>
                  <a:pt x="3278726" y="4031651"/>
                </a:cubicBezTo>
                <a:cubicBezTo>
                  <a:pt x="3288675" y="4046773"/>
                  <a:pt x="3297430" y="4060702"/>
                  <a:pt x="3307379" y="4075824"/>
                </a:cubicBezTo>
                <a:cubicBezTo>
                  <a:pt x="3264798" y="4102089"/>
                  <a:pt x="3224207" y="4127558"/>
                  <a:pt x="3182422" y="4153425"/>
                </a:cubicBezTo>
                <a:cubicBezTo>
                  <a:pt x="3172871" y="4136710"/>
                  <a:pt x="3164514" y="4122384"/>
                  <a:pt x="3155759" y="4107660"/>
                </a:cubicBezTo>
                <a:cubicBezTo>
                  <a:pt x="3140637" y="4115619"/>
                  <a:pt x="3126708" y="4122782"/>
                  <a:pt x="3111188" y="4131140"/>
                </a:cubicBezTo>
                <a:cubicBezTo>
                  <a:pt x="3088505" y="4088558"/>
                  <a:pt x="3066220" y="4046773"/>
                  <a:pt x="3043537" y="4004193"/>
                </a:cubicBezTo>
                <a:cubicBezTo>
                  <a:pt x="3023241" y="4014539"/>
                  <a:pt x="3005333" y="4024090"/>
                  <a:pt x="2986629" y="4033641"/>
                </a:cubicBezTo>
                <a:cubicBezTo>
                  <a:pt x="3056669" y="4180087"/>
                  <a:pt x="3126311" y="4324942"/>
                  <a:pt x="3196350" y="4470990"/>
                </a:cubicBezTo>
                <a:cubicBezTo>
                  <a:pt x="3184014" y="4476960"/>
                  <a:pt x="3173269" y="4482133"/>
                  <a:pt x="3162524" y="4486908"/>
                </a:cubicBezTo>
                <a:cubicBezTo>
                  <a:pt x="3159738" y="4488102"/>
                  <a:pt x="3155361" y="4487307"/>
                  <a:pt x="3151779" y="4487307"/>
                </a:cubicBezTo>
                <a:cubicBezTo>
                  <a:pt x="3145014" y="4486908"/>
                  <a:pt x="3137453" y="4484123"/>
                  <a:pt x="3131882" y="4486113"/>
                </a:cubicBezTo>
                <a:cubicBezTo>
                  <a:pt x="3049108" y="4515959"/>
                  <a:pt x="2966732" y="4546601"/>
                  <a:pt x="2883958" y="4577244"/>
                </a:cubicBezTo>
                <a:cubicBezTo>
                  <a:pt x="2879182" y="4579233"/>
                  <a:pt x="2870427" y="4580825"/>
                  <a:pt x="2870029" y="4583213"/>
                </a:cubicBezTo>
                <a:cubicBezTo>
                  <a:pt x="2867244" y="4609876"/>
                  <a:pt x="2844561" y="4596743"/>
                  <a:pt x="2831428" y="4607488"/>
                </a:cubicBezTo>
                <a:cubicBezTo>
                  <a:pt x="2799990" y="4490888"/>
                  <a:pt x="2769745" y="4378666"/>
                  <a:pt x="2739103" y="4264851"/>
                </a:cubicBezTo>
                <a:cubicBezTo>
                  <a:pt x="2730746" y="4267239"/>
                  <a:pt x="2723981" y="4269229"/>
                  <a:pt x="2715624" y="4271616"/>
                </a:cubicBezTo>
                <a:cubicBezTo>
                  <a:pt x="2719604" y="4288729"/>
                  <a:pt x="2723185" y="4304647"/>
                  <a:pt x="2727563" y="4323748"/>
                </a:cubicBezTo>
                <a:cubicBezTo>
                  <a:pt x="2664288" y="4336085"/>
                  <a:pt x="2602606" y="4348421"/>
                  <a:pt x="2539729" y="4360758"/>
                </a:cubicBezTo>
                <a:cubicBezTo>
                  <a:pt x="2536148" y="4340462"/>
                  <a:pt x="2533362" y="4325340"/>
                  <a:pt x="2530576" y="4308228"/>
                </a:cubicBezTo>
                <a:cubicBezTo>
                  <a:pt x="2508291" y="4310616"/>
                  <a:pt x="2487598" y="4312606"/>
                  <a:pt x="2465710" y="4314993"/>
                </a:cubicBezTo>
                <a:cubicBezTo>
                  <a:pt x="2464118" y="4305044"/>
                  <a:pt x="2462925" y="4297483"/>
                  <a:pt x="2462129" y="4289524"/>
                </a:cubicBezTo>
                <a:cubicBezTo>
                  <a:pt x="2452578" y="4199189"/>
                  <a:pt x="2443027" y="4108854"/>
                  <a:pt x="2433476" y="4018519"/>
                </a:cubicBezTo>
                <a:cubicBezTo>
                  <a:pt x="2431486" y="4002203"/>
                  <a:pt x="2431088" y="4001805"/>
                  <a:pt x="2413181" y="4009366"/>
                </a:cubicBezTo>
                <a:cubicBezTo>
                  <a:pt x="2443027" y="4331309"/>
                  <a:pt x="2473271" y="4653650"/>
                  <a:pt x="2503118" y="4975594"/>
                </a:cubicBezTo>
                <a:cubicBezTo>
                  <a:pt x="2491179" y="4977981"/>
                  <a:pt x="2483220" y="4979175"/>
                  <a:pt x="2474465" y="4980767"/>
                </a:cubicBezTo>
                <a:cubicBezTo>
                  <a:pt x="2476057" y="5004644"/>
                  <a:pt x="2477649" y="5026929"/>
                  <a:pt x="2479241" y="5049612"/>
                </a:cubicBezTo>
                <a:cubicBezTo>
                  <a:pt x="2468098" y="5051204"/>
                  <a:pt x="2459343" y="5052796"/>
                  <a:pt x="2449792" y="5054388"/>
                </a:cubicBezTo>
                <a:cubicBezTo>
                  <a:pt x="2449792" y="5065531"/>
                  <a:pt x="2449792" y="5075082"/>
                  <a:pt x="2449792" y="5085428"/>
                </a:cubicBezTo>
                <a:cubicBezTo>
                  <a:pt x="2422732" y="5087816"/>
                  <a:pt x="2396467" y="5090204"/>
                  <a:pt x="2370202" y="5092591"/>
                </a:cubicBezTo>
                <a:cubicBezTo>
                  <a:pt x="2334386" y="5092591"/>
                  <a:pt x="2298571" y="5092591"/>
                  <a:pt x="2262755" y="5092591"/>
                </a:cubicBezTo>
                <a:cubicBezTo>
                  <a:pt x="2262755" y="5082245"/>
                  <a:pt x="2262755" y="5071500"/>
                  <a:pt x="2262755" y="5059561"/>
                </a:cubicBezTo>
                <a:cubicBezTo>
                  <a:pt x="2242459" y="5059561"/>
                  <a:pt x="2223357" y="5059561"/>
                  <a:pt x="2203062" y="5059561"/>
                </a:cubicBezTo>
                <a:cubicBezTo>
                  <a:pt x="2203062" y="5071500"/>
                  <a:pt x="2203062" y="5082245"/>
                  <a:pt x="2203062" y="5092591"/>
                </a:cubicBezTo>
                <a:cubicBezTo>
                  <a:pt x="2195103" y="5092591"/>
                  <a:pt x="2187144" y="5092591"/>
                  <a:pt x="2179185" y="5092591"/>
                </a:cubicBezTo>
                <a:cubicBezTo>
                  <a:pt x="2169236" y="5091795"/>
                  <a:pt x="2159685" y="5090204"/>
                  <a:pt x="2149736" y="5089408"/>
                </a:cubicBezTo>
                <a:cubicBezTo>
                  <a:pt x="2105166" y="5085826"/>
                  <a:pt x="2060197" y="5083041"/>
                  <a:pt x="2016422" y="5079857"/>
                </a:cubicBezTo>
                <a:cubicBezTo>
                  <a:pt x="2011647" y="5065133"/>
                  <a:pt x="2027167" y="5044837"/>
                  <a:pt x="2000504" y="5042847"/>
                </a:cubicBezTo>
                <a:cubicBezTo>
                  <a:pt x="2002892" y="5019368"/>
                  <a:pt x="2004882" y="4997481"/>
                  <a:pt x="2007270" y="4974399"/>
                </a:cubicBezTo>
                <a:cubicBezTo>
                  <a:pt x="1995729" y="4972012"/>
                  <a:pt x="1985780" y="4970022"/>
                  <a:pt x="1974637" y="4967634"/>
                </a:cubicBezTo>
                <a:cubicBezTo>
                  <a:pt x="2004086" y="4729659"/>
                  <a:pt x="2033136" y="4492878"/>
                  <a:pt x="2062187" y="4255300"/>
                </a:cubicBezTo>
                <a:cubicBezTo>
                  <a:pt x="2032341" y="4250923"/>
                  <a:pt x="2006076" y="4247341"/>
                  <a:pt x="1978219" y="4243362"/>
                </a:cubicBezTo>
                <a:cubicBezTo>
                  <a:pt x="1956332" y="4368717"/>
                  <a:pt x="1934842" y="4491684"/>
                  <a:pt x="1913353" y="4615845"/>
                </a:cubicBezTo>
                <a:cubicBezTo>
                  <a:pt x="1901414" y="4614253"/>
                  <a:pt x="1891864" y="4613059"/>
                  <a:pt x="1880721" y="4611467"/>
                </a:cubicBezTo>
                <a:cubicBezTo>
                  <a:pt x="1877139" y="4627783"/>
                  <a:pt x="1873956" y="4643304"/>
                  <a:pt x="1870374" y="4659620"/>
                </a:cubicBezTo>
                <a:cubicBezTo>
                  <a:pt x="1858834" y="4658028"/>
                  <a:pt x="1848885" y="4656834"/>
                  <a:pt x="1838538" y="4655242"/>
                </a:cubicBezTo>
                <a:cubicBezTo>
                  <a:pt x="1835752" y="4662803"/>
                  <a:pt x="1832967" y="4669171"/>
                  <a:pt x="1829783" y="4677925"/>
                </a:cubicBezTo>
                <a:cubicBezTo>
                  <a:pt x="1766111" y="4661609"/>
                  <a:pt x="1703632" y="4645293"/>
                  <a:pt x="1640756" y="4629375"/>
                </a:cubicBezTo>
                <a:cubicBezTo>
                  <a:pt x="1643144" y="4619427"/>
                  <a:pt x="1644337" y="4613059"/>
                  <a:pt x="1645929" y="4605498"/>
                </a:cubicBezTo>
                <a:cubicBezTo>
                  <a:pt x="1619664" y="4596743"/>
                  <a:pt x="1594196" y="4588386"/>
                  <a:pt x="1568329" y="4580029"/>
                </a:cubicBezTo>
                <a:cubicBezTo>
                  <a:pt x="1565145" y="4587988"/>
                  <a:pt x="1562359" y="4593957"/>
                  <a:pt x="1558380" y="4602713"/>
                </a:cubicBezTo>
                <a:cubicBezTo>
                  <a:pt x="1497493" y="4578437"/>
                  <a:pt x="1437005" y="4554162"/>
                  <a:pt x="1375720" y="4529887"/>
                </a:cubicBezTo>
                <a:cubicBezTo>
                  <a:pt x="1379699" y="4520336"/>
                  <a:pt x="1381689" y="4514367"/>
                  <a:pt x="1384475" y="4508000"/>
                </a:cubicBezTo>
                <a:cubicBezTo>
                  <a:pt x="1378506" y="4504020"/>
                  <a:pt x="1373730" y="4500837"/>
                  <a:pt x="1368557" y="4497255"/>
                </a:cubicBezTo>
                <a:cubicBezTo>
                  <a:pt x="1375322" y="4482133"/>
                  <a:pt x="1381689" y="4468205"/>
                  <a:pt x="1388454" y="4453082"/>
                </a:cubicBezTo>
                <a:cubicBezTo>
                  <a:pt x="1376516" y="4447113"/>
                  <a:pt x="1366169" y="4441542"/>
                  <a:pt x="1354628" y="4435573"/>
                </a:cubicBezTo>
                <a:cubicBezTo>
                  <a:pt x="1435015" y="4270423"/>
                  <a:pt x="1515401" y="4106068"/>
                  <a:pt x="1595389" y="3941714"/>
                </a:cubicBezTo>
                <a:cubicBezTo>
                  <a:pt x="1591012" y="3936939"/>
                  <a:pt x="1587430" y="3932959"/>
                  <a:pt x="1583849" y="3929378"/>
                </a:cubicBezTo>
                <a:cubicBezTo>
                  <a:pt x="1606930" y="3882021"/>
                  <a:pt x="1630011" y="3836257"/>
                  <a:pt x="1652694" y="3790493"/>
                </a:cubicBezTo>
                <a:cubicBezTo>
                  <a:pt x="1649909" y="3789299"/>
                  <a:pt x="1647123" y="3787707"/>
                  <a:pt x="1644337" y="3786513"/>
                </a:cubicBezTo>
                <a:cubicBezTo>
                  <a:pt x="1620460" y="3832675"/>
                  <a:pt x="1596583" y="3879236"/>
                  <a:pt x="1573104" y="3925398"/>
                </a:cubicBezTo>
                <a:cubicBezTo>
                  <a:pt x="1558778" y="3923010"/>
                  <a:pt x="1559176" y="3917041"/>
                  <a:pt x="1564349" y="3907092"/>
                </a:cubicBezTo>
                <a:cubicBezTo>
                  <a:pt x="1586634" y="3865307"/>
                  <a:pt x="1608522" y="3823125"/>
                  <a:pt x="1631205" y="3779350"/>
                </a:cubicBezTo>
                <a:cubicBezTo>
                  <a:pt x="1615287" y="3770993"/>
                  <a:pt x="1600563" y="3763034"/>
                  <a:pt x="1582655" y="3753483"/>
                </a:cubicBezTo>
                <a:cubicBezTo>
                  <a:pt x="1592206" y="3776564"/>
                  <a:pt x="1587828" y="3784125"/>
                  <a:pt x="1567135" y="3792482"/>
                </a:cubicBezTo>
                <a:cubicBezTo>
                  <a:pt x="1565145" y="3793676"/>
                  <a:pt x="1563155" y="3801237"/>
                  <a:pt x="1564349" y="3802829"/>
                </a:cubicBezTo>
                <a:cubicBezTo>
                  <a:pt x="1567533" y="3806808"/>
                  <a:pt x="1572706" y="3808798"/>
                  <a:pt x="1578277" y="3812380"/>
                </a:cubicBezTo>
                <a:cubicBezTo>
                  <a:pt x="1573104" y="3821533"/>
                  <a:pt x="1568329" y="3829890"/>
                  <a:pt x="1564349" y="3837053"/>
                </a:cubicBezTo>
                <a:cubicBezTo>
                  <a:pt x="1554798" y="3835063"/>
                  <a:pt x="1547635" y="3833869"/>
                  <a:pt x="1540472" y="3832277"/>
                </a:cubicBezTo>
                <a:cubicBezTo>
                  <a:pt x="1540074" y="3834267"/>
                  <a:pt x="1539278" y="3836655"/>
                  <a:pt x="1538880" y="3838645"/>
                </a:cubicBezTo>
                <a:cubicBezTo>
                  <a:pt x="1547635" y="3844216"/>
                  <a:pt x="1555992" y="3850185"/>
                  <a:pt x="1565145" y="3856155"/>
                </a:cubicBezTo>
                <a:cubicBezTo>
                  <a:pt x="1559972" y="3865307"/>
                  <a:pt x="1555196" y="3873664"/>
                  <a:pt x="1550421" y="3882419"/>
                </a:cubicBezTo>
                <a:cubicBezTo>
                  <a:pt x="1542064" y="3878042"/>
                  <a:pt x="1536095" y="3874062"/>
                  <a:pt x="1529329" y="3871277"/>
                </a:cubicBezTo>
                <a:cubicBezTo>
                  <a:pt x="1526544" y="3870083"/>
                  <a:pt x="1522564" y="3872073"/>
                  <a:pt x="1519380" y="3872471"/>
                </a:cubicBezTo>
                <a:cubicBezTo>
                  <a:pt x="1520972" y="3875654"/>
                  <a:pt x="1521370" y="3880032"/>
                  <a:pt x="1523758" y="3881623"/>
                </a:cubicBezTo>
                <a:cubicBezTo>
                  <a:pt x="1533309" y="3887593"/>
                  <a:pt x="1543258" y="3892766"/>
                  <a:pt x="1553604" y="3898736"/>
                </a:cubicBezTo>
                <a:cubicBezTo>
                  <a:pt x="1548033" y="3909082"/>
                  <a:pt x="1543258" y="3917439"/>
                  <a:pt x="1538482" y="3926592"/>
                </a:cubicBezTo>
                <a:cubicBezTo>
                  <a:pt x="1528533" y="3921021"/>
                  <a:pt x="1520574" y="3916245"/>
                  <a:pt x="1512217" y="3912664"/>
                </a:cubicBezTo>
                <a:cubicBezTo>
                  <a:pt x="1507840" y="3911072"/>
                  <a:pt x="1502667" y="3911868"/>
                  <a:pt x="1497493" y="3911868"/>
                </a:cubicBezTo>
                <a:cubicBezTo>
                  <a:pt x="1500279" y="3915449"/>
                  <a:pt x="1502269" y="3920225"/>
                  <a:pt x="1505850" y="3922613"/>
                </a:cubicBezTo>
                <a:cubicBezTo>
                  <a:pt x="1517391" y="3929776"/>
                  <a:pt x="1529329" y="3936143"/>
                  <a:pt x="1541666" y="3943306"/>
                </a:cubicBezTo>
                <a:cubicBezTo>
                  <a:pt x="1536095" y="3953653"/>
                  <a:pt x="1531319" y="3962010"/>
                  <a:pt x="1526544" y="3970765"/>
                </a:cubicBezTo>
                <a:cubicBezTo>
                  <a:pt x="1512217" y="3962806"/>
                  <a:pt x="1499881" y="3955643"/>
                  <a:pt x="1487544" y="3949673"/>
                </a:cubicBezTo>
                <a:cubicBezTo>
                  <a:pt x="1484361" y="3948081"/>
                  <a:pt x="1479585" y="3950071"/>
                  <a:pt x="1475606" y="3950071"/>
                </a:cubicBezTo>
                <a:cubicBezTo>
                  <a:pt x="1477596" y="3953255"/>
                  <a:pt x="1478789" y="3958030"/>
                  <a:pt x="1481973" y="3960020"/>
                </a:cubicBezTo>
                <a:cubicBezTo>
                  <a:pt x="1497493" y="3969173"/>
                  <a:pt x="1513809" y="3977928"/>
                  <a:pt x="1530125" y="3987081"/>
                </a:cubicBezTo>
                <a:cubicBezTo>
                  <a:pt x="1524952" y="3997428"/>
                  <a:pt x="1520176" y="4005784"/>
                  <a:pt x="1515799" y="4014142"/>
                </a:cubicBezTo>
                <a:cubicBezTo>
                  <a:pt x="1457300" y="3987081"/>
                  <a:pt x="1457300" y="3987081"/>
                  <a:pt x="1451729" y="3994244"/>
                </a:cubicBezTo>
                <a:cubicBezTo>
                  <a:pt x="1474412" y="4006580"/>
                  <a:pt x="1496697" y="4018917"/>
                  <a:pt x="1519380" y="4031651"/>
                </a:cubicBezTo>
                <a:cubicBezTo>
                  <a:pt x="1513809" y="4041600"/>
                  <a:pt x="1509830" y="4049957"/>
                  <a:pt x="1504656" y="4059508"/>
                </a:cubicBezTo>
                <a:cubicBezTo>
                  <a:pt x="1484361" y="4048763"/>
                  <a:pt x="1465657" y="4038019"/>
                  <a:pt x="1446157" y="4028468"/>
                </a:cubicBezTo>
                <a:cubicBezTo>
                  <a:pt x="1442178" y="4026478"/>
                  <a:pt x="1436607" y="4027672"/>
                  <a:pt x="1431433" y="4027672"/>
                </a:cubicBezTo>
                <a:cubicBezTo>
                  <a:pt x="1434219" y="4031253"/>
                  <a:pt x="1436607" y="4036427"/>
                  <a:pt x="1440188" y="4038417"/>
                </a:cubicBezTo>
                <a:cubicBezTo>
                  <a:pt x="1462473" y="4051151"/>
                  <a:pt x="1485157" y="4063487"/>
                  <a:pt x="1509034" y="4076222"/>
                </a:cubicBezTo>
                <a:cubicBezTo>
                  <a:pt x="1504258" y="4085773"/>
                  <a:pt x="1499881" y="4094528"/>
                  <a:pt x="1495503" y="4103283"/>
                </a:cubicBezTo>
                <a:cubicBezTo>
                  <a:pt x="1457698" y="4089355"/>
                  <a:pt x="1428648" y="4058314"/>
                  <a:pt x="1384475" y="4064681"/>
                </a:cubicBezTo>
                <a:cubicBezTo>
                  <a:pt x="1375720" y="4078212"/>
                  <a:pt x="1366169" y="4094528"/>
                  <a:pt x="1355424" y="4111640"/>
                </a:cubicBezTo>
                <a:cubicBezTo>
                  <a:pt x="1314435" y="4085375"/>
                  <a:pt x="1275436" y="4060304"/>
                  <a:pt x="1235641" y="4034835"/>
                </a:cubicBezTo>
                <a:cubicBezTo>
                  <a:pt x="1183907" y="4108456"/>
                  <a:pt x="1132571" y="4181679"/>
                  <a:pt x="1080838" y="4255698"/>
                </a:cubicBezTo>
                <a:cubicBezTo>
                  <a:pt x="1068103" y="4247341"/>
                  <a:pt x="1057358" y="4239780"/>
                  <a:pt x="1045420" y="4231821"/>
                </a:cubicBezTo>
                <a:cubicBezTo>
                  <a:pt x="1036267" y="4243760"/>
                  <a:pt x="1027512" y="4255300"/>
                  <a:pt x="1017563" y="4268035"/>
                </a:cubicBezTo>
                <a:cubicBezTo>
                  <a:pt x="1006420" y="4260076"/>
                  <a:pt x="995676" y="4252515"/>
                  <a:pt x="984533" y="4244556"/>
                </a:cubicBezTo>
                <a:cubicBezTo>
                  <a:pt x="978166" y="4251321"/>
                  <a:pt x="972595" y="4257688"/>
                  <a:pt x="964636" y="4266045"/>
                </a:cubicBezTo>
                <a:cubicBezTo>
                  <a:pt x="904943" y="4215505"/>
                  <a:pt x="846046" y="4165363"/>
                  <a:pt x="786353" y="4114425"/>
                </a:cubicBezTo>
                <a:cubicBezTo>
                  <a:pt x="793516" y="4105273"/>
                  <a:pt x="798690" y="4098905"/>
                  <a:pt x="804261" y="4092140"/>
                </a:cubicBezTo>
                <a:cubicBezTo>
                  <a:pt x="796302" y="4083783"/>
                  <a:pt x="788741" y="4075824"/>
                  <a:pt x="781180" y="4067467"/>
                </a:cubicBezTo>
                <a:cubicBezTo>
                  <a:pt x="792322" y="4055927"/>
                  <a:pt x="802271" y="4045580"/>
                  <a:pt x="812220" y="4034835"/>
                </a:cubicBezTo>
                <a:cubicBezTo>
                  <a:pt x="801873" y="4024090"/>
                  <a:pt x="793516" y="4014937"/>
                  <a:pt x="783965" y="4004988"/>
                </a:cubicBezTo>
                <a:cubicBezTo>
                  <a:pt x="870719" y="3919827"/>
                  <a:pt x="957074" y="3835461"/>
                  <a:pt x="1043430" y="3750697"/>
                </a:cubicBezTo>
                <a:cubicBezTo>
                  <a:pt x="1033083" y="3739555"/>
                  <a:pt x="1023930" y="3729208"/>
                  <a:pt x="1013584" y="3718065"/>
                </a:cubicBezTo>
                <a:cubicBezTo>
                  <a:pt x="1083225" y="3653199"/>
                  <a:pt x="1152071" y="3589527"/>
                  <a:pt x="1220917" y="3525059"/>
                </a:cubicBezTo>
                <a:cubicBezTo>
                  <a:pt x="1202213" y="3512324"/>
                  <a:pt x="1185897" y="3501181"/>
                  <a:pt x="1167989" y="3489243"/>
                </a:cubicBezTo>
                <a:cubicBezTo>
                  <a:pt x="1165999" y="3490835"/>
                  <a:pt x="1162418" y="3494416"/>
                  <a:pt x="1158040" y="3498396"/>
                </a:cubicBezTo>
                <a:cubicBezTo>
                  <a:pt x="1166795" y="3509140"/>
                  <a:pt x="1175152" y="3519089"/>
                  <a:pt x="1184305" y="3529834"/>
                </a:cubicBezTo>
                <a:cubicBezTo>
                  <a:pt x="1178336" y="3535007"/>
                  <a:pt x="1173560" y="3538987"/>
                  <a:pt x="1167989" y="3543762"/>
                </a:cubicBezTo>
                <a:cubicBezTo>
                  <a:pt x="1158438" y="3533415"/>
                  <a:pt x="1149683" y="3523865"/>
                  <a:pt x="1139734" y="3513120"/>
                </a:cubicBezTo>
                <a:cubicBezTo>
                  <a:pt x="1135357" y="3517497"/>
                  <a:pt x="1131377" y="3521079"/>
                  <a:pt x="1127000" y="3525059"/>
                </a:cubicBezTo>
                <a:cubicBezTo>
                  <a:pt x="1136551" y="3536599"/>
                  <a:pt x="1144908" y="3546548"/>
                  <a:pt x="1154061" y="3557293"/>
                </a:cubicBezTo>
                <a:cubicBezTo>
                  <a:pt x="1147693" y="3562466"/>
                  <a:pt x="1142918" y="3566446"/>
                  <a:pt x="1137745" y="3571221"/>
                </a:cubicBezTo>
                <a:cubicBezTo>
                  <a:pt x="1127000" y="3560078"/>
                  <a:pt x="1117847" y="3550528"/>
                  <a:pt x="1107898" y="3539783"/>
                </a:cubicBezTo>
                <a:cubicBezTo>
                  <a:pt x="1103123" y="3544558"/>
                  <a:pt x="1099541" y="3547742"/>
                  <a:pt x="1095562" y="3551721"/>
                </a:cubicBezTo>
                <a:cubicBezTo>
                  <a:pt x="1105113" y="3562864"/>
                  <a:pt x="1113868" y="3573609"/>
                  <a:pt x="1123418" y="3584751"/>
                </a:cubicBezTo>
                <a:cubicBezTo>
                  <a:pt x="1117449" y="3589527"/>
                  <a:pt x="1112674" y="3593904"/>
                  <a:pt x="1107102" y="3598680"/>
                </a:cubicBezTo>
                <a:cubicBezTo>
                  <a:pt x="1096756" y="3587537"/>
                  <a:pt x="1086807" y="3577190"/>
                  <a:pt x="1075266" y="3564854"/>
                </a:cubicBezTo>
                <a:cubicBezTo>
                  <a:pt x="1070491" y="3569629"/>
                  <a:pt x="1066909" y="3573211"/>
                  <a:pt x="1062930" y="3576792"/>
                </a:cubicBezTo>
                <a:cubicBezTo>
                  <a:pt x="1074072" y="3589925"/>
                  <a:pt x="1083225" y="3600272"/>
                  <a:pt x="1093174" y="3612210"/>
                </a:cubicBezTo>
                <a:cubicBezTo>
                  <a:pt x="1087603" y="3617383"/>
                  <a:pt x="1082429" y="3621761"/>
                  <a:pt x="1076858" y="3626536"/>
                </a:cubicBezTo>
                <a:cubicBezTo>
                  <a:pt x="1066113" y="3614598"/>
                  <a:pt x="1056164" y="3603853"/>
                  <a:pt x="1044624" y="3591118"/>
                </a:cubicBezTo>
                <a:cubicBezTo>
                  <a:pt x="1027114" y="3618179"/>
                  <a:pt x="1059746" y="3623751"/>
                  <a:pt x="1061338" y="3641658"/>
                </a:cubicBezTo>
                <a:cubicBezTo>
                  <a:pt x="1056960" y="3645240"/>
                  <a:pt x="1052185" y="3649220"/>
                  <a:pt x="1046614" y="3653995"/>
                </a:cubicBezTo>
                <a:cubicBezTo>
                  <a:pt x="1035471" y="3642454"/>
                  <a:pt x="1025522" y="3631312"/>
                  <a:pt x="1014379" y="3619373"/>
                </a:cubicBezTo>
                <a:cubicBezTo>
                  <a:pt x="1009206" y="3623751"/>
                  <a:pt x="1005625" y="3626536"/>
                  <a:pt x="1001247" y="3630118"/>
                </a:cubicBezTo>
                <a:cubicBezTo>
                  <a:pt x="1013186" y="3644444"/>
                  <a:pt x="1022737" y="3655985"/>
                  <a:pt x="1032685" y="3667923"/>
                </a:cubicBezTo>
                <a:cubicBezTo>
                  <a:pt x="1026318" y="3673097"/>
                  <a:pt x="1021543" y="3677076"/>
                  <a:pt x="1016767" y="3681056"/>
                </a:cubicBezTo>
                <a:cubicBezTo>
                  <a:pt x="982145" y="3648026"/>
                  <a:pt x="982145" y="3648026"/>
                  <a:pt x="972197" y="3659566"/>
                </a:cubicBezTo>
                <a:cubicBezTo>
                  <a:pt x="981747" y="3671107"/>
                  <a:pt x="991696" y="3682647"/>
                  <a:pt x="1002043" y="3694984"/>
                </a:cubicBezTo>
                <a:cubicBezTo>
                  <a:pt x="996472" y="3700157"/>
                  <a:pt x="991696" y="3704535"/>
                  <a:pt x="986125" y="3709708"/>
                </a:cubicBezTo>
                <a:cubicBezTo>
                  <a:pt x="974584" y="3697372"/>
                  <a:pt x="963840" y="3685831"/>
                  <a:pt x="952697" y="3673495"/>
                </a:cubicBezTo>
                <a:cubicBezTo>
                  <a:pt x="947922" y="3677872"/>
                  <a:pt x="944340" y="3681056"/>
                  <a:pt x="939565" y="3685035"/>
                </a:cubicBezTo>
                <a:cubicBezTo>
                  <a:pt x="950309" y="3697770"/>
                  <a:pt x="960258" y="3709708"/>
                  <a:pt x="971401" y="3722841"/>
                </a:cubicBezTo>
                <a:cubicBezTo>
                  <a:pt x="965033" y="3728810"/>
                  <a:pt x="959064" y="3733585"/>
                  <a:pt x="952299" y="3739953"/>
                </a:cubicBezTo>
                <a:cubicBezTo>
                  <a:pt x="938769" y="3724432"/>
                  <a:pt x="926034" y="3710106"/>
                  <a:pt x="912504" y="3694984"/>
                </a:cubicBezTo>
                <a:cubicBezTo>
                  <a:pt x="898973" y="3706127"/>
                  <a:pt x="886239" y="3716473"/>
                  <a:pt x="871117" y="3729208"/>
                </a:cubicBezTo>
                <a:cubicBezTo>
                  <a:pt x="831720" y="3677474"/>
                  <a:pt x="793516" y="3626934"/>
                  <a:pt x="754915" y="3575996"/>
                </a:cubicBezTo>
                <a:cubicBezTo>
                  <a:pt x="771231" y="3564456"/>
                  <a:pt x="784363" y="3554905"/>
                  <a:pt x="798690" y="3544956"/>
                </a:cubicBezTo>
                <a:cubicBezTo>
                  <a:pt x="786751" y="3525854"/>
                  <a:pt x="775210" y="3508344"/>
                  <a:pt x="763272" y="3489243"/>
                </a:cubicBezTo>
                <a:cubicBezTo>
                  <a:pt x="828934" y="3447856"/>
                  <a:pt x="893402" y="3407663"/>
                  <a:pt x="957472" y="3367470"/>
                </a:cubicBezTo>
                <a:cubicBezTo>
                  <a:pt x="932003" y="3322501"/>
                  <a:pt x="907728" y="3279522"/>
                  <a:pt x="882259" y="3233758"/>
                </a:cubicBezTo>
                <a:cubicBezTo>
                  <a:pt x="872709" y="3254053"/>
                  <a:pt x="861566" y="3265992"/>
                  <a:pt x="844852" y="3259227"/>
                </a:cubicBezTo>
                <a:cubicBezTo>
                  <a:pt x="832913" y="3268777"/>
                  <a:pt x="822965" y="3276339"/>
                  <a:pt x="810628" y="3286287"/>
                </a:cubicBezTo>
                <a:cubicBezTo>
                  <a:pt x="788741" y="3238135"/>
                  <a:pt x="768445" y="3193565"/>
                  <a:pt x="748150" y="3148596"/>
                </a:cubicBezTo>
                <a:cubicBezTo>
                  <a:pt x="731038" y="3155361"/>
                  <a:pt x="715518" y="3161330"/>
                  <a:pt x="698804" y="3167698"/>
                </a:cubicBezTo>
                <a:cubicBezTo>
                  <a:pt x="692834" y="3152973"/>
                  <a:pt x="687263" y="3139841"/>
                  <a:pt x="681294" y="3125515"/>
                </a:cubicBezTo>
                <a:cubicBezTo>
                  <a:pt x="667763" y="3129892"/>
                  <a:pt x="655427" y="3133872"/>
                  <a:pt x="640703" y="3139045"/>
                </a:cubicBezTo>
                <a:cubicBezTo>
                  <a:pt x="625978" y="3091689"/>
                  <a:pt x="611652" y="3045924"/>
                  <a:pt x="596928" y="2999364"/>
                </a:cubicBezTo>
                <a:cubicBezTo>
                  <a:pt x="612050" y="2994986"/>
                  <a:pt x="624387" y="2991007"/>
                  <a:pt x="637917" y="2987027"/>
                </a:cubicBezTo>
                <a:cubicBezTo>
                  <a:pt x="634335" y="2970313"/>
                  <a:pt x="630754" y="2955191"/>
                  <a:pt x="626774" y="2938079"/>
                </a:cubicBezTo>
                <a:cubicBezTo>
                  <a:pt x="673335" y="2926937"/>
                  <a:pt x="718701" y="2915794"/>
                  <a:pt x="765262" y="2904651"/>
                </a:cubicBezTo>
                <a:cubicBezTo>
                  <a:pt x="744966" y="2811929"/>
                  <a:pt x="729844" y="2720400"/>
                  <a:pt x="726262" y="2625289"/>
                </a:cubicBezTo>
                <a:cubicBezTo>
                  <a:pt x="780384" y="2622504"/>
                  <a:pt x="831720" y="2619718"/>
                  <a:pt x="883851" y="2616932"/>
                </a:cubicBezTo>
                <a:cubicBezTo>
                  <a:pt x="883851" y="2563607"/>
                  <a:pt x="883851" y="2512271"/>
                  <a:pt x="883851" y="2459343"/>
                </a:cubicBezTo>
                <a:cubicBezTo>
                  <a:pt x="872311" y="2458547"/>
                  <a:pt x="861168" y="2457353"/>
                  <a:pt x="850025" y="2456558"/>
                </a:cubicBezTo>
                <a:cubicBezTo>
                  <a:pt x="814608" y="2454170"/>
                  <a:pt x="778792" y="2452180"/>
                  <a:pt x="742976" y="2450190"/>
                </a:cubicBezTo>
                <a:cubicBezTo>
                  <a:pt x="732232" y="2449792"/>
                  <a:pt x="723875" y="2447405"/>
                  <a:pt x="731834" y="2433476"/>
                </a:cubicBezTo>
                <a:cubicBezTo>
                  <a:pt x="783169" y="2437058"/>
                  <a:pt x="834505" y="2440639"/>
                  <a:pt x="887035" y="2444221"/>
                </a:cubicBezTo>
                <a:cubicBezTo>
                  <a:pt x="888229" y="2428303"/>
                  <a:pt x="889025" y="2415170"/>
                  <a:pt x="889821" y="2399252"/>
                </a:cubicBezTo>
                <a:cubicBezTo>
                  <a:pt x="838087" y="2388110"/>
                  <a:pt x="787149" y="2377763"/>
                  <a:pt x="734619" y="2366620"/>
                </a:cubicBezTo>
                <a:cubicBezTo>
                  <a:pt x="743772" y="2349111"/>
                  <a:pt x="730640" y="2342743"/>
                  <a:pt x="718303" y="2333590"/>
                </a:cubicBezTo>
                <a:cubicBezTo>
                  <a:pt x="685273" y="2309315"/>
                  <a:pt x="650253" y="2286234"/>
                  <a:pt x="622397" y="2256786"/>
                </a:cubicBezTo>
                <a:cubicBezTo>
                  <a:pt x="495848" y="2123870"/>
                  <a:pt x="460828" y="1962699"/>
                  <a:pt x="485103" y="1785610"/>
                </a:cubicBezTo>
                <a:cubicBezTo>
                  <a:pt x="499828" y="1678163"/>
                  <a:pt x="541215" y="1580267"/>
                  <a:pt x="602101" y="1490728"/>
                </a:cubicBezTo>
                <a:cubicBezTo>
                  <a:pt x="607673" y="1482769"/>
                  <a:pt x="616030" y="1474412"/>
                  <a:pt x="596530" y="1469637"/>
                </a:cubicBezTo>
                <a:cubicBezTo>
                  <a:pt x="571061" y="1512218"/>
                  <a:pt x="545194" y="1555594"/>
                  <a:pt x="518929" y="1599767"/>
                </a:cubicBezTo>
                <a:cubicBezTo>
                  <a:pt x="495848" y="1587430"/>
                  <a:pt x="473563" y="1575492"/>
                  <a:pt x="449288" y="1562359"/>
                </a:cubicBezTo>
                <a:cubicBezTo>
                  <a:pt x="478338" y="1513809"/>
                  <a:pt x="505797" y="1467249"/>
                  <a:pt x="534052" y="1419893"/>
                </a:cubicBezTo>
                <a:cubicBezTo>
                  <a:pt x="528082" y="1415515"/>
                  <a:pt x="522909" y="1411934"/>
                  <a:pt x="515746" y="1406760"/>
                </a:cubicBezTo>
                <a:cubicBezTo>
                  <a:pt x="487889" y="1452923"/>
                  <a:pt x="460828" y="1498289"/>
                  <a:pt x="432972" y="1544452"/>
                </a:cubicBezTo>
                <a:cubicBezTo>
                  <a:pt x="410288" y="1532115"/>
                  <a:pt x="388401" y="1520177"/>
                  <a:pt x="365320" y="1507442"/>
                </a:cubicBezTo>
                <a:cubicBezTo>
                  <a:pt x="395564" y="1457300"/>
                  <a:pt x="424217" y="1408750"/>
                  <a:pt x="453665" y="1359802"/>
                </a:cubicBezTo>
                <a:cubicBezTo>
                  <a:pt x="447298" y="1355424"/>
                  <a:pt x="441727" y="1351047"/>
                  <a:pt x="433768" y="1345476"/>
                </a:cubicBezTo>
                <a:cubicBezTo>
                  <a:pt x="404717" y="1393628"/>
                  <a:pt x="376463" y="1440586"/>
                  <a:pt x="347412" y="1488340"/>
                </a:cubicBezTo>
                <a:cubicBezTo>
                  <a:pt x="325525" y="1476402"/>
                  <a:pt x="304035" y="1464463"/>
                  <a:pt x="281750" y="1452127"/>
                </a:cubicBezTo>
                <a:cubicBezTo>
                  <a:pt x="313188" y="1399995"/>
                  <a:pt x="343035" y="1350251"/>
                  <a:pt x="373677" y="1299313"/>
                </a:cubicBezTo>
                <a:cubicBezTo>
                  <a:pt x="366912" y="1294538"/>
                  <a:pt x="360544" y="1289364"/>
                  <a:pt x="352585" y="1283395"/>
                </a:cubicBezTo>
                <a:cubicBezTo>
                  <a:pt x="321545" y="1334333"/>
                  <a:pt x="292097" y="1382883"/>
                  <a:pt x="262250" y="1431831"/>
                </a:cubicBezTo>
                <a:cubicBezTo>
                  <a:pt x="240761" y="1419893"/>
                  <a:pt x="220863" y="1408750"/>
                  <a:pt x="198578" y="1396413"/>
                </a:cubicBezTo>
                <a:cubicBezTo>
                  <a:pt x="231210" y="1342690"/>
                  <a:pt x="263046" y="1290558"/>
                  <a:pt x="294882" y="1237631"/>
                </a:cubicBezTo>
                <a:cubicBezTo>
                  <a:pt x="286923" y="1231263"/>
                  <a:pt x="279760" y="1225692"/>
                  <a:pt x="272597" y="1220121"/>
                </a:cubicBezTo>
                <a:cubicBezTo>
                  <a:pt x="246332" y="1251161"/>
                  <a:pt x="222853" y="1282201"/>
                  <a:pt x="196190" y="1310854"/>
                </a:cubicBezTo>
                <a:cubicBezTo>
                  <a:pt x="177089" y="1331149"/>
                  <a:pt x="155201" y="1350251"/>
                  <a:pt x="132120" y="1366567"/>
                </a:cubicBezTo>
                <a:cubicBezTo>
                  <a:pt x="111029" y="1381291"/>
                  <a:pt x="97100" y="1371740"/>
                  <a:pt x="97100" y="1345476"/>
                </a:cubicBezTo>
                <a:cubicBezTo>
                  <a:pt x="97100" y="1340700"/>
                  <a:pt x="97896" y="1335925"/>
                  <a:pt x="98692" y="1331547"/>
                </a:cubicBezTo>
                <a:cubicBezTo>
                  <a:pt x="108243" y="1273048"/>
                  <a:pt x="132120" y="1220121"/>
                  <a:pt x="158385" y="1167989"/>
                </a:cubicBezTo>
                <a:cubicBezTo>
                  <a:pt x="170721" y="1142918"/>
                  <a:pt x="170721" y="1137347"/>
                  <a:pt x="149630" y="1118245"/>
                </a:cubicBezTo>
                <a:cubicBezTo>
                  <a:pt x="121375" y="1092776"/>
                  <a:pt x="92325" y="1068899"/>
                  <a:pt x="63672" y="1044226"/>
                </a:cubicBezTo>
                <a:cubicBezTo>
                  <a:pt x="42581" y="1026318"/>
                  <a:pt x="21091" y="1008808"/>
                  <a:pt x="0" y="990900"/>
                </a:cubicBezTo>
                <a:cubicBezTo>
                  <a:pt x="0" y="988115"/>
                  <a:pt x="0" y="985727"/>
                  <a:pt x="0" y="982941"/>
                </a:cubicBezTo>
                <a:cubicBezTo>
                  <a:pt x="4377" y="979360"/>
                  <a:pt x="8755" y="975778"/>
                  <a:pt x="14724" y="971401"/>
                </a:cubicBezTo>
                <a:cubicBezTo>
                  <a:pt x="80784" y="1007216"/>
                  <a:pt x="147640" y="1043828"/>
                  <a:pt x="215292" y="1080440"/>
                </a:cubicBezTo>
                <a:cubicBezTo>
                  <a:pt x="220067" y="1074868"/>
                  <a:pt x="223649" y="1069297"/>
                  <a:pt x="228424" y="1064919"/>
                </a:cubicBezTo>
                <a:cubicBezTo>
                  <a:pt x="266628" y="1027512"/>
                  <a:pt x="304433" y="989707"/>
                  <a:pt x="344228" y="953891"/>
                </a:cubicBezTo>
                <a:cubicBezTo>
                  <a:pt x="355371" y="943544"/>
                  <a:pt x="371687" y="938371"/>
                  <a:pt x="386809" y="933993"/>
                </a:cubicBezTo>
                <a:cubicBezTo>
                  <a:pt x="403125" y="929616"/>
                  <a:pt x="413074" y="937973"/>
                  <a:pt x="411880" y="955085"/>
                </a:cubicBezTo>
                <a:cubicBezTo>
                  <a:pt x="410686" y="968615"/>
                  <a:pt x="408697" y="983339"/>
                  <a:pt x="402727" y="995278"/>
                </a:cubicBezTo>
                <a:cubicBezTo>
                  <a:pt x="380840" y="1039053"/>
                  <a:pt x="356963" y="1082031"/>
                  <a:pt x="333882" y="1125010"/>
                </a:cubicBezTo>
                <a:cubicBezTo>
                  <a:pt x="330300" y="1130979"/>
                  <a:pt x="326719" y="1136949"/>
                  <a:pt x="322739" y="1143714"/>
                </a:cubicBezTo>
                <a:cubicBezTo>
                  <a:pt x="332290" y="1149285"/>
                  <a:pt x="340249" y="1154061"/>
                  <a:pt x="347810" y="1158438"/>
                </a:cubicBezTo>
                <a:cubicBezTo>
                  <a:pt x="386013" y="1109888"/>
                  <a:pt x="423023" y="1062930"/>
                  <a:pt x="460828" y="1014777"/>
                </a:cubicBezTo>
                <a:cubicBezTo>
                  <a:pt x="480726" y="1031889"/>
                  <a:pt x="498634" y="1046614"/>
                  <a:pt x="516144" y="1061736"/>
                </a:cubicBezTo>
                <a:cubicBezTo>
                  <a:pt x="480726" y="1107102"/>
                  <a:pt x="446104" y="1151275"/>
                  <a:pt x="410686" y="1196642"/>
                </a:cubicBezTo>
                <a:cubicBezTo>
                  <a:pt x="420237" y="1202213"/>
                  <a:pt x="426604" y="1206192"/>
                  <a:pt x="433370" y="1210172"/>
                </a:cubicBezTo>
                <a:cubicBezTo>
                  <a:pt x="469981" y="1164010"/>
                  <a:pt x="505797" y="1118643"/>
                  <a:pt x="542408" y="1072481"/>
                </a:cubicBezTo>
                <a:cubicBezTo>
                  <a:pt x="562704" y="1089990"/>
                  <a:pt x="581010" y="1105511"/>
                  <a:pt x="599316" y="1121031"/>
                </a:cubicBezTo>
                <a:cubicBezTo>
                  <a:pt x="565092" y="1164805"/>
                  <a:pt x="531664" y="1206590"/>
                  <a:pt x="497838" y="1249967"/>
                </a:cubicBezTo>
                <a:cubicBezTo>
                  <a:pt x="505797" y="1255141"/>
                  <a:pt x="511766" y="1259120"/>
                  <a:pt x="518133" y="1263100"/>
                </a:cubicBezTo>
                <a:cubicBezTo>
                  <a:pt x="553551" y="1218927"/>
                  <a:pt x="588173" y="1175550"/>
                  <a:pt x="623591" y="1130979"/>
                </a:cubicBezTo>
                <a:cubicBezTo>
                  <a:pt x="644284" y="1148887"/>
                  <a:pt x="662988" y="1165203"/>
                  <a:pt x="681692" y="1181121"/>
                </a:cubicBezTo>
                <a:cubicBezTo>
                  <a:pt x="647866" y="1223702"/>
                  <a:pt x="616030" y="1263895"/>
                  <a:pt x="583398" y="1305283"/>
                </a:cubicBezTo>
                <a:cubicBezTo>
                  <a:pt x="591755" y="1310456"/>
                  <a:pt x="597326" y="1313639"/>
                  <a:pt x="602499" y="1316823"/>
                </a:cubicBezTo>
                <a:cubicBezTo>
                  <a:pt x="636723" y="1274242"/>
                  <a:pt x="670151" y="1232457"/>
                  <a:pt x="704375" y="1190274"/>
                </a:cubicBezTo>
                <a:cubicBezTo>
                  <a:pt x="725864" y="1208978"/>
                  <a:pt x="744966" y="1225294"/>
                  <a:pt x="764068" y="1242008"/>
                </a:cubicBezTo>
                <a:cubicBezTo>
                  <a:pt x="732232" y="1281803"/>
                  <a:pt x="701589" y="1320405"/>
                  <a:pt x="669355" y="1360598"/>
                </a:cubicBezTo>
                <a:cubicBezTo>
                  <a:pt x="676916" y="1364975"/>
                  <a:pt x="682090" y="1367761"/>
                  <a:pt x="686865" y="1370547"/>
                </a:cubicBezTo>
                <a:cubicBezTo>
                  <a:pt x="719895" y="1329955"/>
                  <a:pt x="751731" y="1290558"/>
                  <a:pt x="784363" y="1250365"/>
                </a:cubicBezTo>
                <a:cubicBezTo>
                  <a:pt x="795904" y="1260314"/>
                  <a:pt x="804659" y="1268671"/>
                  <a:pt x="814210" y="1275436"/>
                </a:cubicBezTo>
                <a:cubicBezTo>
                  <a:pt x="817791" y="1278222"/>
                  <a:pt x="825352" y="1279416"/>
                  <a:pt x="829332" y="1277426"/>
                </a:cubicBezTo>
                <a:cubicBezTo>
                  <a:pt x="852015" y="1267079"/>
                  <a:pt x="874300" y="1255141"/>
                  <a:pt x="898178" y="1243202"/>
                </a:cubicBezTo>
                <a:cubicBezTo>
                  <a:pt x="858382" y="1205397"/>
                  <a:pt x="819383" y="1167989"/>
                  <a:pt x="777598" y="1127796"/>
                </a:cubicBezTo>
                <a:cubicBezTo>
                  <a:pt x="795904" y="1111878"/>
                  <a:pt x="812220" y="1097552"/>
                  <a:pt x="829730" y="1082031"/>
                </a:cubicBezTo>
                <a:cubicBezTo>
                  <a:pt x="821771" y="1074868"/>
                  <a:pt x="816995" y="1070093"/>
                  <a:pt x="809434" y="1062930"/>
                </a:cubicBezTo>
                <a:cubicBezTo>
                  <a:pt x="792720" y="1080042"/>
                  <a:pt x="777200" y="1096358"/>
                  <a:pt x="762078" y="1111878"/>
                </a:cubicBezTo>
                <a:cubicBezTo>
                  <a:pt x="754915" y="1105909"/>
                  <a:pt x="747752" y="1100337"/>
                  <a:pt x="740589" y="1094368"/>
                </a:cubicBezTo>
                <a:cubicBezTo>
                  <a:pt x="750935" y="1083623"/>
                  <a:pt x="758894" y="1074868"/>
                  <a:pt x="768843" y="1064124"/>
                </a:cubicBezTo>
                <a:cubicBezTo>
                  <a:pt x="758098" y="1055767"/>
                  <a:pt x="749343" y="1049001"/>
                  <a:pt x="734619" y="1037859"/>
                </a:cubicBezTo>
                <a:cubicBezTo>
                  <a:pt x="750139" y="1027910"/>
                  <a:pt x="761680" y="1020349"/>
                  <a:pt x="778394" y="1009604"/>
                </a:cubicBezTo>
                <a:cubicBezTo>
                  <a:pt x="750537" y="985329"/>
                  <a:pt x="728650" y="966227"/>
                  <a:pt x="703181" y="943544"/>
                </a:cubicBezTo>
                <a:cubicBezTo>
                  <a:pt x="717507" y="932401"/>
                  <a:pt x="728650" y="923249"/>
                  <a:pt x="740589" y="914096"/>
                </a:cubicBezTo>
                <a:cubicBezTo>
                  <a:pt x="712732" y="884647"/>
                  <a:pt x="687263" y="857189"/>
                  <a:pt x="660998" y="828934"/>
                </a:cubicBezTo>
                <a:cubicBezTo>
                  <a:pt x="684477" y="807445"/>
                  <a:pt x="705967" y="787945"/>
                  <a:pt x="728650" y="767649"/>
                </a:cubicBezTo>
                <a:cubicBezTo>
                  <a:pt x="754119" y="797098"/>
                  <a:pt x="778792" y="825750"/>
                  <a:pt x="804261" y="854801"/>
                </a:cubicBezTo>
                <a:cubicBezTo>
                  <a:pt x="816597" y="844852"/>
                  <a:pt x="827740" y="835699"/>
                  <a:pt x="839281" y="826148"/>
                </a:cubicBezTo>
                <a:cubicBezTo>
                  <a:pt x="859178" y="849627"/>
                  <a:pt x="877882" y="871913"/>
                  <a:pt x="896984" y="894994"/>
                </a:cubicBezTo>
                <a:cubicBezTo>
                  <a:pt x="907330" y="887433"/>
                  <a:pt x="916483" y="880270"/>
                  <a:pt x="926034" y="873107"/>
                </a:cubicBezTo>
                <a:cubicBezTo>
                  <a:pt x="934789" y="883453"/>
                  <a:pt x="941952" y="891810"/>
                  <a:pt x="949911" y="900963"/>
                </a:cubicBezTo>
                <a:cubicBezTo>
                  <a:pt x="959860" y="893800"/>
                  <a:pt x="968615" y="887035"/>
                  <a:pt x="978962" y="879872"/>
                </a:cubicBezTo>
                <a:cubicBezTo>
                  <a:pt x="1050593" y="972197"/>
                  <a:pt x="1121429" y="1063726"/>
                  <a:pt x="1193458" y="1156051"/>
                </a:cubicBezTo>
                <a:cubicBezTo>
                  <a:pt x="1212162" y="1142122"/>
                  <a:pt x="1229274" y="1128990"/>
                  <a:pt x="1247181" y="1115857"/>
                </a:cubicBezTo>
                <a:cubicBezTo>
                  <a:pt x="1241212" y="1106704"/>
                  <a:pt x="1236039" y="1098348"/>
                  <a:pt x="1230070" y="1089195"/>
                </a:cubicBezTo>
                <a:cubicBezTo>
                  <a:pt x="1242406" y="1080042"/>
                  <a:pt x="1253947" y="1071685"/>
                  <a:pt x="1266283" y="1062532"/>
                </a:cubicBezTo>
                <a:cubicBezTo>
                  <a:pt x="1256732" y="1047410"/>
                  <a:pt x="1247977" y="1033879"/>
                  <a:pt x="1237631" y="1017961"/>
                </a:cubicBezTo>
                <a:cubicBezTo>
                  <a:pt x="1279814" y="992094"/>
                  <a:pt x="1320405" y="966625"/>
                  <a:pt x="1362587" y="940758"/>
                </a:cubicBezTo>
                <a:cubicBezTo>
                  <a:pt x="1372138" y="957074"/>
                  <a:pt x="1380495" y="971003"/>
                  <a:pt x="1389250" y="986125"/>
                </a:cubicBezTo>
                <a:cubicBezTo>
                  <a:pt x="1403974" y="978166"/>
                  <a:pt x="1418301" y="970605"/>
                  <a:pt x="1433821" y="962646"/>
                </a:cubicBezTo>
                <a:cubicBezTo>
                  <a:pt x="1456902" y="1005227"/>
                  <a:pt x="1478789" y="1046614"/>
                  <a:pt x="1501473" y="1089195"/>
                </a:cubicBezTo>
                <a:cubicBezTo>
                  <a:pt x="1520972" y="1078848"/>
                  <a:pt x="1539278" y="1069695"/>
                  <a:pt x="1558380" y="1059746"/>
                </a:cubicBezTo>
                <a:cubicBezTo>
                  <a:pt x="1488340" y="913698"/>
                  <a:pt x="1419097" y="768843"/>
                  <a:pt x="1348659" y="622397"/>
                </a:cubicBezTo>
                <a:cubicBezTo>
                  <a:pt x="1361394" y="616428"/>
                  <a:pt x="1372536" y="610856"/>
                  <a:pt x="1384077" y="605683"/>
                </a:cubicBezTo>
                <a:cubicBezTo>
                  <a:pt x="1386465" y="604887"/>
                  <a:pt x="1392036" y="604489"/>
                  <a:pt x="1392832" y="605683"/>
                </a:cubicBezTo>
                <a:cubicBezTo>
                  <a:pt x="1399597" y="617621"/>
                  <a:pt x="1407556" y="609662"/>
                  <a:pt x="1414719" y="606877"/>
                </a:cubicBezTo>
                <a:cubicBezTo>
                  <a:pt x="1496697" y="576632"/>
                  <a:pt x="1578675" y="546388"/>
                  <a:pt x="1660653" y="516144"/>
                </a:cubicBezTo>
                <a:cubicBezTo>
                  <a:pt x="1665827" y="514154"/>
                  <a:pt x="1674980" y="512960"/>
                  <a:pt x="1674980" y="510572"/>
                </a:cubicBezTo>
                <a:cubicBezTo>
                  <a:pt x="1677367" y="483512"/>
                  <a:pt x="1700051" y="495450"/>
                  <a:pt x="1713979" y="485899"/>
                </a:cubicBezTo>
                <a:cubicBezTo>
                  <a:pt x="1745417" y="601703"/>
                  <a:pt x="1776059" y="714722"/>
                  <a:pt x="1806702" y="828536"/>
                </a:cubicBezTo>
                <a:cubicBezTo>
                  <a:pt x="1816253" y="825352"/>
                  <a:pt x="1822620" y="823363"/>
                  <a:pt x="1829783" y="820975"/>
                </a:cubicBezTo>
                <a:cubicBezTo>
                  <a:pt x="1825803" y="803465"/>
                  <a:pt x="1822222" y="787547"/>
                  <a:pt x="1818242" y="769241"/>
                </a:cubicBezTo>
                <a:cubicBezTo>
                  <a:pt x="1881915" y="756905"/>
                  <a:pt x="1943199" y="744568"/>
                  <a:pt x="2005678" y="732232"/>
                </a:cubicBezTo>
                <a:cubicBezTo>
                  <a:pt x="2009259" y="752129"/>
                  <a:pt x="2012045" y="767649"/>
                  <a:pt x="2014831" y="784761"/>
                </a:cubicBezTo>
                <a:cubicBezTo>
                  <a:pt x="2036718" y="782374"/>
                  <a:pt x="2057411" y="779986"/>
                  <a:pt x="2080095" y="777598"/>
                </a:cubicBezTo>
                <a:cubicBezTo>
                  <a:pt x="2091237" y="881862"/>
                  <a:pt x="2102380" y="984533"/>
                  <a:pt x="2113125" y="1086807"/>
                </a:cubicBezTo>
                <a:cubicBezTo>
                  <a:pt x="2130635" y="1091582"/>
                  <a:pt x="2131829" y="1082827"/>
                  <a:pt x="2130635" y="1070093"/>
                </a:cubicBezTo>
                <a:cubicBezTo>
                  <a:pt x="2119492" y="951901"/>
                  <a:pt x="2108747" y="833709"/>
                  <a:pt x="2097605" y="715518"/>
                </a:cubicBezTo>
                <a:cubicBezTo>
                  <a:pt x="2079697" y="522909"/>
                  <a:pt x="2061789" y="329902"/>
                  <a:pt x="2043881" y="137293"/>
                </a:cubicBezTo>
                <a:cubicBezTo>
                  <a:pt x="2043483" y="130528"/>
                  <a:pt x="2043881" y="123365"/>
                  <a:pt x="2043881" y="116600"/>
                </a:cubicBezTo>
                <a:cubicBezTo>
                  <a:pt x="2053830" y="115008"/>
                  <a:pt x="2062187" y="113416"/>
                  <a:pt x="2070942" y="111824"/>
                </a:cubicBezTo>
                <a:cubicBezTo>
                  <a:pt x="2069350" y="87947"/>
                  <a:pt x="2067758" y="66060"/>
                  <a:pt x="2066166" y="42979"/>
                </a:cubicBezTo>
                <a:cubicBezTo>
                  <a:pt x="2077309" y="41387"/>
                  <a:pt x="2086064" y="39795"/>
                  <a:pt x="2095615" y="38203"/>
                </a:cubicBezTo>
                <a:cubicBezTo>
                  <a:pt x="2095615" y="27459"/>
                  <a:pt x="2095615" y="17510"/>
                  <a:pt x="2095615" y="7163"/>
                </a:cubicBezTo>
                <a:cubicBezTo>
                  <a:pt x="2122676" y="4775"/>
                  <a:pt x="2148940" y="2388"/>
                  <a:pt x="2175205" y="0"/>
                </a:cubicBezTo>
                <a:close/>
              </a:path>
            </a:pathLst>
          </a:custGeom>
          <a:solidFill>
            <a:schemeClr val="accent1"/>
          </a:solidFill>
          <a:ln w="39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4CFEB52-2320-4F1C-B307-962BF0438AAB}"/>
              </a:ext>
            </a:extLst>
          </p:cNvPr>
          <p:cNvGrpSpPr/>
          <p:nvPr/>
        </p:nvGrpSpPr>
        <p:grpSpPr>
          <a:xfrm>
            <a:off x="1975496" y="1997837"/>
            <a:ext cx="2697460" cy="2696074"/>
            <a:chOff x="4574848" y="1897856"/>
            <a:chExt cx="3028217" cy="3026664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0116E20-8F11-4309-8D12-7F4741BC1EAF}"/>
                </a:ext>
              </a:extLst>
            </p:cNvPr>
            <p:cNvSpPr/>
            <p:nvPr/>
          </p:nvSpPr>
          <p:spPr>
            <a:xfrm>
              <a:off x="4575624" y="1897856"/>
              <a:ext cx="3026664" cy="3026664"/>
            </a:xfrm>
            <a:custGeom>
              <a:avLst/>
              <a:gdLst>
                <a:gd name="connsiteX0" fmla="*/ 3057049 w 3057525"/>
                <a:gd name="connsiteY0" fmla="*/ 1532096 h 3057525"/>
                <a:gd name="connsiteX1" fmla="*/ 1532096 w 3057525"/>
                <a:gd name="connsiteY1" fmla="*/ 3057049 h 3057525"/>
                <a:gd name="connsiteX2" fmla="*/ 7144 w 3057525"/>
                <a:gd name="connsiteY2" fmla="*/ 1532096 h 3057525"/>
                <a:gd name="connsiteX3" fmla="*/ 1532096 w 3057525"/>
                <a:gd name="connsiteY3" fmla="*/ 7144 h 3057525"/>
                <a:gd name="connsiteX4" fmla="*/ 3057049 w 3057525"/>
                <a:gd name="connsiteY4" fmla="*/ 1532096 h 305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7525" h="3057525">
                  <a:moveTo>
                    <a:pt x="3057049" y="1532096"/>
                  </a:moveTo>
                  <a:cubicBezTo>
                    <a:pt x="3057049" y="2374304"/>
                    <a:pt x="2374304" y="3057049"/>
                    <a:pt x="1532096" y="3057049"/>
                  </a:cubicBezTo>
                  <a:cubicBezTo>
                    <a:pt x="689888" y="3057049"/>
                    <a:pt x="7144" y="2374304"/>
                    <a:pt x="7144" y="1532096"/>
                  </a:cubicBezTo>
                  <a:cubicBezTo>
                    <a:pt x="7144" y="689888"/>
                    <a:pt x="689888" y="7144"/>
                    <a:pt x="1532096" y="7144"/>
                  </a:cubicBezTo>
                  <a:cubicBezTo>
                    <a:pt x="2374304" y="7144"/>
                    <a:pt x="3057049" y="689888"/>
                    <a:pt x="3057049" y="153209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9F5F6BD-971A-43CF-AC53-18F0950ADA83}"/>
                </a:ext>
              </a:extLst>
            </p:cNvPr>
            <p:cNvSpPr/>
            <p:nvPr/>
          </p:nvSpPr>
          <p:spPr>
            <a:xfrm>
              <a:off x="4574848" y="1907000"/>
              <a:ext cx="3028217" cy="2962327"/>
            </a:xfrm>
            <a:custGeom>
              <a:avLst/>
              <a:gdLst>
                <a:gd name="connsiteX0" fmla="*/ 2863236 w 3028217"/>
                <a:gd name="connsiteY0" fmla="*/ 2049564 h 2962327"/>
                <a:gd name="connsiteX1" fmla="*/ 2844662 w 3028217"/>
                <a:gd name="connsiteY1" fmla="*/ 2065518 h 2962327"/>
                <a:gd name="connsiteX2" fmla="*/ 2847519 w 3028217"/>
                <a:gd name="connsiteY2" fmla="*/ 2116953 h 2962327"/>
                <a:gd name="connsiteX3" fmla="*/ 2887525 w 3028217"/>
                <a:gd name="connsiteY3" fmla="*/ 2084568 h 2962327"/>
                <a:gd name="connsiteX4" fmla="*/ 2890382 w 3028217"/>
                <a:gd name="connsiteY4" fmla="*/ 2078853 h 2962327"/>
                <a:gd name="connsiteX5" fmla="*/ 2890382 w 3028217"/>
                <a:gd name="connsiteY5" fmla="*/ 2057898 h 2962327"/>
                <a:gd name="connsiteX6" fmla="*/ 2863236 w 3028217"/>
                <a:gd name="connsiteY6" fmla="*/ 2049564 h 2962327"/>
                <a:gd name="connsiteX7" fmla="*/ 2453184 w 3028217"/>
                <a:gd name="connsiteY7" fmla="*/ 1703568 h 2962327"/>
                <a:gd name="connsiteX8" fmla="*/ 2444611 w 3028217"/>
                <a:gd name="connsiteY8" fmla="*/ 1714046 h 2962327"/>
                <a:gd name="connsiteX9" fmla="*/ 2467471 w 3028217"/>
                <a:gd name="connsiteY9" fmla="*/ 1740716 h 2962327"/>
                <a:gd name="connsiteX10" fmla="*/ 2482711 w 3028217"/>
                <a:gd name="connsiteY10" fmla="*/ 1728333 h 2962327"/>
                <a:gd name="connsiteX11" fmla="*/ 2453184 w 3028217"/>
                <a:gd name="connsiteY11" fmla="*/ 1703568 h 2962327"/>
                <a:gd name="connsiteX12" fmla="*/ 802501 w 3028217"/>
                <a:gd name="connsiteY12" fmla="*/ 1583553 h 2962327"/>
                <a:gd name="connsiteX13" fmla="*/ 812026 w 3028217"/>
                <a:gd name="connsiteY13" fmla="*/ 1589268 h 2962327"/>
                <a:gd name="connsiteX14" fmla="*/ 802501 w 3028217"/>
                <a:gd name="connsiteY14" fmla="*/ 1599745 h 2962327"/>
                <a:gd name="connsiteX15" fmla="*/ 792024 w 3028217"/>
                <a:gd name="connsiteY15" fmla="*/ 1594030 h 2962327"/>
                <a:gd name="connsiteX16" fmla="*/ 802501 w 3028217"/>
                <a:gd name="connsiteY16" fmla="*/ 1583553 h 2962327"/>
                <a:gd name="connsiteX17" fmla="*/ 573901 w 3028217"/>
                <a:gd name="connsiteY17" fmla="*/ 1577838 h 2962327"/>
                <a:gd name="connsiteX18" fmla="*/ 592951 w 3028217"/>
                <a:gd name="connsiteY18" fmla="*/ 1589268 h 2962327"/>
                <a:gd name="connsiteX19" fmla="*/ 584379 w 3028217"/>
                <a:gd name="connsiteY19" fmla="*/ 1596888 h 2962327"/>
                <a:gd name="connsiteX20" fmla="*/ 565329 w 3028217"/>
                <a:gd name="connsiteY20" fmla="*/ 1587363 h 2962327"/>
                <a:gd name="connsiteX21" fmla="*/ 573901 w 3028217"/>
                <a:gd name="connsiteY21" fmla="*/ 1577838 h 2962327"/>
                <a:gd name="connsiteX22" fmla="*/ 698678 w 3028217"/>
                <a:gd name="connsiteY22" fmla="*/ 1550216 h 2962327"/>
                <a:gd name="connsiteX23" fmla="*/ 763448 w 3028217"/>
                <a:gd name="connsiteY23" fmla="*/ 1592126 h 2962327"/>
                <a:gd name="connsiteX24" fmla="*/ 678676 w 3028217"/>
                <a:gd name="connsiteY24" fmla="*/ 1592126 h 2962327"/>
                <a:gd name="connsiteX25" fmla="*/ 698678 w 3028217"/>
                <a:gd name="connsiteY25" fmla="*/ 1550216 h 2962327"/>
                <a:gd name="connsiteX26" fmla="*/ 492939 w 3028217"/>
                <a:gd name="connsiteY26" fmla="*/ 1460681 h 2962327"/>
                <a:gd name="connsiteX27" fmla="*/ 562471 w 3028217"/>
                <a:gd name="connsiteY27" fmla="*/ 1479731 h 2962327"/>
                <a:gd name="connsiteX28" fmla="*/ 646291 w 3028217"/>
                <a:gd name="connsiteY28" fmla="*/ 1537833 h 2962327"/>
                <a:gd name="connsiteX29" fmla="*/ 577711 w 3028217"/>
                <a:gd name="connsiteY29" fmla="*/ 1525451 h 2962327"/>
                <a:gd name="connsiteX30" fmla="*/ 527229 w 3028217"/>
                <a:gd name="connsiteY30" fmla="*/ 1487351 h 2962327"/>
                <a:gd name="connsiteX31" fmla="*/ 525032 w 3028217"/>
                <a:gd name="connsiteY31" fmla="*/ 1486533 h 2962327"/>
                <a:gd name="connsiteX32" fmla="*/ 527229 w 3028217"/>
                <a:gd name="connsiteY32" fmla="*/ 1488303 h 2962327"/>
                <a:gd name="connsiteX33" fmla="*/ 451029 w 3028217"/>
                <a:gd name="connsiteY33" fmla="*/ 1494971 h 2962327"/>
                <a:gd name="connsiteX34" fmla="*/ 492939 w 3028217"/>
                <a:gd name="connsiteY34" fmla="*/ 1460681 h 2962327"/>
                <a:gd name="connsiteX35" fmla="*/ 592475 w 3028217"/>
                <a:gd name="connsiteY35" fmla="*/ 1413889 h 2962327"/>
                <a:gd name="connsiteX36" fmla="*/ 596761 w 3028217"/>
                <a:gd name="connsiteY36" fmla="*/ 1414961 h 2962327"/>
                <a:gd name="connsiteX37" fmla="*/ 595809 w 3028217"/>
                <a:gd name="connsiteY37" fmla="*/ 1447346 h 2962327"/>
                <a:gd name="connsiteX38" fmla="*/ 588189 w 3028217"/>
                <a:gd name="connsiteY38" fmla="*/ 1414961 h 2962327"/>
                <a:gd name="connsiteX39" fmla="*/ 592475 w 3028217"/>
                <a:gd name="connsiteY39" fmla="*/ 1413889 h 2962327"/>
                <a:gd name="connsiteX40" fmla="*/ 2633206 w 3028217"/>
                <a:gd name="connsiteY40" fmla="*/ 1174931 h 2962327"/>
                <a:gd name="connsiteX41" fmla="*/ 2673211 w 3028217"/>
                <a:gd name="connsiteY41" fmla="*/ 1180646 h 2962327"/>
                <a:gd name="connsiteX42" fmla="*/ 2633206 w 3028217"/>
                <a:gd name="connsiteY42" fmla="*/ 1174931 h 2962327"/>
                <a:gd name="connsiteX43" fmla="*/ 2477948 w 3028217"/>
                <a:gd name="connsiteY43" fmla="*/ 1095873 h 2962327"/>
                <a:gd name="connsiteX44" fmla="*/ 2484616 w 3028217"/>
                <a:gd name="connsiteY44" fmla="*/ 1110160 h 2962327"/>
                <a:gd name="connsiteX45" fmla="*/ 2464613 w 3028217"/>
                <a:gd name="connsiteY45" fmla="*/ 1135878 h 2962327"/>
                <a:gd name="connsiteX46" fmla="*/ 2444611 w 3028217"/>
                <a:gd name="connsiteY46" fmla="*/ 1144450 h 2962327"/>
                <a:gd name="connsiteX47" fmla="*/ 2415083 w 3028217"/>
                <a:gd name="connsiteY47" fmla="*/ 1119685 h 2962327"/>
                <a:gd name="connsiteX48" fmla="*/ 2446516 w 3028217"/>
                <a:gd name="connsiteY48" fmla="*/ 1114923 h 2962327"/>
                <a:gd name="connsiteX49" fmla="*/ 2477948 w 3028217"/>
                <a:gd name="connsiteY49" fmla="*/ 1095873 h 2962327"/>
                <a:gd name="connsiteX50" fmla="*/ 2344599 w 3028217"/>
                <a:gd name="connsiteY50" fmla="*/ 1039676 h 2962327"/>
                <a:gd name="connsiteX51" fmla="*/ 2355076 w 3028217"/>
                <a:gd name="connsiteY51" fmla="*/ 1066346 h 2962327"/>
                <a:gd name="connsiteX52" fmla="*/ 2341741 w 3028217"/>
                <a:gd name="connsiteY52" fmla="*/ 1092063 h 2962327"/>
                <a:gd name="connsiteX53" fmla="*/ 2328406 w 3028217"/>
                <a:gd name="connsiteY53" fmla="*/ 1065393 h 2962327"/>
                <a:gd name="connsiteX54" fmla="*/ 2344599 w 3028217"/>
                <a:gd name="connsiteY54" fmla="*/ 1039676 h 2962327"/>
                <a:gd name="connsiteX55" fmla="*/ 699631 w 3028217"/>
                <a:gd name="connsiteY55" fmla="*/ 966334 h 2962327"/>
                <a:gd name="connsiteX56" fmla="*/ 616764 w 3028217"/>
                <a:gd name="connsiteY56" fmla="*/ 992051 h 2962327"/>
                <a:gd name="connsiteX57" fmla="*/ 699631 w 3028217"/>
                <a:gd name="connsiteY57" fmla="*/ 966334 h 2962327"/>
                <a:gd name="connsiteX58" fmla="*/ 2786559 w 3028217"/>
                <a:gd name="connsiteY58" fmla="*/ 938711 h 2962327"/>
                <a:gd name="connsiteX59" fmla="*/ 2814181 w 3028217"/>
                <a:gd name="connsiteY59" fmla="*/ 938711 h 2962327"/>
                <a:gd name="connsiteX60" fmla="*/ 2814181 w 3028217"/>
                <a:gd name="connsiteY60" fmla="*/ 945378 h 2962327"/>
                <a:gd name="connsiteX61" fmla="*/ 2786559 w 3028217"/>
                <a:gd name="connsiteY61" fmla="*/ 938711 h 2962327"/>
                <a:gd name="connsiteX62" fmla="*/ 737731 w 3028217"/>
                <a:gd name="connsiteY62" fmla="*/ 935019 h 2962327"/>
                <a:gd name="connsiteX63" fmla="*/ 702489 w 3028217"/>
                <a:gd name="connsiteY63" fmla="*/ 951093 h 2962327"/>
                <a:gd name="connsiteX64" fmla="*/ 770116 w 3028217"/>
                <a:gd name="connsiteY64" fmla="*/ 936805 h 2962327"/>
                <a:gd name="connsiteX65" fmla="*/ 737731 w 3028217"/>
                <a:gd name="connsiteY65" fmla="*/ 935019 h 2962327"/>
                <a:gd name="connsiteX66" fmla="*/ 619383 w 3028217"/>
                <a:gd name="connsiteY66" fmla="*/ 880251 h 2962327"/>
                <a:gd name="connsiteX67" fmla="*/ 608191 w 3028217"/>
                <a:gd name="connsiteY67" fmla="*/ 882513 h 2962327"/>
                <a:gd name="connsiteX68" fmla="*/ 541516 w 3028217"/>
                <a:gd name="connsiteY68" fmla="*/ 968238 h 2962327"/>
                <a:gd name="connsiteX69" fmla="*/ 558661 w 3028217"/>
                <a:gd name="connsiteY69" fmla="*/ 975858 h 2962327"/>
                <a:gd name="connsiteX70" fmla="*/ 578664 w 3028217"/>
                <a:gd name="connsiteY70" fmla="*/ 949188 h 2962327"/>
                <a:gd name="connsiteX71" fmla="*/ 623431 w 3028217"/>
                <a:gd name="connsiteY71" fmla="*/ 890133 h 2962327"/>
                <a:gd name="connsiteX72" fmla="*/ 619383 w 3028217"/>
                <a:gd name="connsiteY72" fmla="*/ 880251 h 2962327"/>
                <a:gd name="connsiteX73" fmla="*/ 659626 w 3028217"/>
                <a:gd name="connsiteY73" fmla="*/ 872036 h 2962327"/>
                <a:gd name="connsiteX74" fmla="*/ 647244 w 3028217"/>
                <a:gd name="connsiteY74" fmla="*/ 879656 h 2962327"/>
                <a:gd name="connsiteX75" fmla="*/ 657721 w 3028217"/>
                <a:gd name="connsiteY75" fmla="*/ 950141 h 2962327"/>
                <a:gd name="connsiteX76" fmla="*/ 683439 w 3028217"/>
                <a:gd name="connsiteY76" fmla="*/ 913946 h 2962327"/>
                <a:gd name="connsiteX77" fmla="*/ 711061 w 3028217"/>
                <a:gd name="connsiteY77" fmla="*/ 910136 h 2962327"/>
                <a:gd name="connsiteX78" fmla="*/ 709156 w 3028217"/>
                <a:gd name="connsiteY78" fmla="*/ 891086 h 2962327"/>
                <a:gd name="connsiteX79" fmla="*/ 659626 w 3028217"/>
                <a:gd name="connsiteY79" fmla="*/ 872036 h 2962327"/>
                <a:gd name="connsiteX80" fmla="*/ 620410 w 3028217"/>
                <a:gd name="connsiteY80" fmla="*/ 803828 h 2962327"/>
                <a:gd name="connsiteX81" fmla="*/ 603429 w 3028217"/>
                <a:gd name="connsiteY81" fmla="*/ 807266 h 2962327"/>
                <a:gd name="connsiteX82" fmla="*/ 532944 w 3028217"/>
                <a:gd name="connsiteY82" fmla="*/ 841556 h 2962327"/>
                <a:gd name="connsiteX83" fmla="*/ 541516 w 3028217"/>
                <a:gd name="connsiteY83" fmla="*/ 855843 h 2962327"/>
                <a:gd name="connsiteX84" fmla="*/ 602476 w 3028217"/>
                <a:gd name="connsiteY84" fmla="*/ 859653 h 2962327"/>
                <a:gd name="connsiteX85" fmla="*/ 652959 w 3028217"/>
                <a:gd name="connsiteY85" fmla="*/ 835841 h 2962327"/>
                <a:gd name="connsiteX86" fmla="*/ 620410 w 3028217"/>
                <a:gd name="connsiteY86" fmla="*/ 803828 h 2962327"/>
                <a:gd name="connsiteX87" fmla="*/ 2051228 w 3028217"/>
                <a:gd name="connsiteY87" fmla="*/ 690108 h 2962327"/>
                <a:gd name="connsiteX88" fmla="*/ 2074088 w 3028217"/>
                <a:gd name="connsiteY88" fmla="*/ 722493 h 2962327"/>
                <a:gd name="connsiteX89" fmla="*/ 2021701 w 3028217"/>
                <a:gd name="connsiteY89" fmla="*/ 782500 h 2962327"/>
                <a:gd name="connsiteX90" fmla="*/ 2000746 w 3028217"/>
                <a:gd name="connsiteY90" fmla="*/ 772023 h 2962327"/>
                <a:gd name="connsiteX91" fmla="*/ 2036941 w 3028217"/>
                <a:gd name="connsiteY91" fmla="*/ 698680 h 2962327"/>
                <a:gd name="connsiteX92" fmla="*/ 2051228 w 3028217"/>
                <a:gd name="connsiteY92" fmla="*/ 690108 h 2962327"/>
                <a:gd name="connsiteX93" fmla="*/ 2111236 w 3028217"/>
                <a:gd name="connsiteY93" fmla="*/ 608669 h 2962327"/>
                <a:gd name="connsiteX94" fmla="*/ 2113141 w 3028217"/>
                <a:gd name="connsiteY94" fmla="*/ 623433 h 2962327"/>
                <a:gd name="connsiteX95" fmla="*/ 2111236 w 3028217"/>
                <a:gd name="connsiteY95" fmla="*/ 626290 h 2962327"/>
                <a:gd name="connsiteX96" fmla="*/ 2159814 w 3028217"/>
                <a:gd name="connsiteY96" fmla="*/ 711063 h 2962327"/>
                <a:gd name="connsiteX97" fmla="*/ 2199819 w 3028217"/>
                <a:gd name="connsiteY97" fmla="*/ 758688 h 2962327"/>
                <a:gd name="connsiteX98" fmla="*/ 2176959 w 3028217"/>
                <a:gd name="connsiteY98" fmla="*/ 800598 h 2962327"/>
                <a:gd name="connsiteX99" fmla="*/ 2092186 w 3028217"/>
                <a:gd name="connsiteY99" fmla="*/ 814885 h 2962327"/>
                <a:gd name="connsiteX100" fmla="*/ 2092186 w 3028217"/>
                <a:gd name="connsiteY100" fmla="*/ 777738 h 2962327"/>
                <a:gd name="connsiteX101" fmla="*/ 2111236 w 3028217"/>
                <a:gd name="connsiteY101" fmla="*/ 740590 h 2962327"/>
                <a:gd name="connsiteX102" fmla="*/ 2110284 w 3028217"/>
                <a:gd name="connsiteY102" fmla="*/ 710110 h 2962327"/>
                <a:gd name="connsiteX103" fmla="*/ 2076946 w 3028217"/>
                <a:gd name="connsiteY103" fmla="*/ 669153 h 2962327"/>
                <a:gd name="connsiteX104" fmla="*/ 2097901 w 3028217"/>
                <a:gd name="connsiteY104" fmla="*/ 611050 h 2962327"/>
                <a:gd name="connsiteX105" fmla="*/ 2111236 w 3028217"/>
                <a:gd name="connsiteY105" fmla="*/ 608669 h 2962327"/>
                <a:gd name="connsiteX106" fmla="*/ 927279 w 3028217"/>
                <a:gd name="connsiteY106" fmla="*/ 479605 h 2962327"/>
                <a:gd name="connsiteX107" fmla="*/ 933946 w 3028217"/>
                <a:gd name="connsiteY107" fmla="*/ 486273 h 2962327"/>
                <a:gd name="connsiteX108" fmla="*/ 929184 w 3028217"/>
                <a:gd name="connsiteY108" fmla="*/ 493893 h 2962327"/>
                <a:gd name="connsiteX109" fmla="*/ 919659 w 3028217"/>
                <a:gd name="connsiteY109" fmla="*/ 488178 h 2962327"/>
                <a:gd name="connsiteX110" fmla="*/ 927279 w 3028217"/>
                <a:gd name="connsiteY110" fmla="*/ 479605 h 2962327"/>
                <a:gd name="connsiteX111" fmla="*/ 1938089 w 3028217"/>
                <a:gd name="connsiteY111" fmla="*/ 417931 h 2962327"/>
                <a:gd name="connsiteX112" fmla="*/ 1959789 w 3028217"/>
                <a:gd name="connsiteY112" fmla="*/ 441505 h 2962327"/>
                <a:gd name="connsiteX113" fmla="*/ 1940739 w 3028217"/>
                <a:gd name="connsiteY113" fmla="*/ 466270 h 2962327"/>
                <a:gd name="connsiteX114" fmla="*/ 1842631 w 3028217"/>
                <a:gd name="connsiteY114" fmla="*/ 480558 h 2962327"/>
                <a:gd name="connsiteX115" fmla="*/ 1832154 w 3028217"/>
                <a:gd name="connsiteY115" fmla="*/ 458650 h 2962327"/>
                <a:gd name="connsiteX116" fmla="*/ 1833106 w 3028217"/>
                <a:gd name="connsiteY116" fmla="*/ 431980 h 2962327"/>
                <a:gd name="connsiteX117" fmla="*/ 1845489 w 3028217"/>
                <a:gd name="connsiteY117" fmla="*/ 423408 h 2962327"/>
                <a:gd name="connsiteX118" fmla="*/ 1857871 w 3028217"/>
                <a:gd name="connsiteY118" fmla="*/ 432933 h 2962327"/>
                <a:gd name="connsiteX119" fmla="*/ 1926451 w 3028217"/>
                <a:gd name="connsiteY119" fmla="*/ 418645 h 2962327"/>
                <a:gd name="connsiteX120" fmla="*/ 1938089 w 3028217"/>
                <a:gd name="connsiteY120" fmla="*/ 417931 h 2962327"/>
                <a:gd name="connsiteX121" fmla="*/ 904419 w 3028217"/>
                <a:gd name="connsiteY121" fmla="*/ 389118 h 2962327"/>
                <a:gd name="connsiteX122" fmla="*/ 938709 w 3028217"/>
                <a:gd name="connsiteY122" fmla="*/ 433886 h 2962327"/>
                <a:gd name="connsiteX123" fmla="*/ 942519 w 3028217"/>
                <a:gd name="connsiteY123" fmla="*/ 446268 h 2962327"/>
                <a:gd name="connsiteX124" fmla="*/ 931089 w 3028217"/>
                <a:gd name="connsiteY124" fmla="*/ 449125 h 2962327"/>
                <a:gd name="connsiteX125" fmla="*/ 878701 w 3028217"/>
                <a:gd name="connsiteY125" fmla="*/ 449125 h 2962327"/>
                <a:gd name="connsiteX126" fmla="*/ 856794 w 3028217"/>
                <a:gd name="connsiteY126" fmla="*/ 443411 h 2962327"/>
                <a:gd name="connsiteX127" fmla="*/ 867271 w 3028217"/>
                <a:gd name="connsiteY127" fmla="*/ 412930 h 2962327"/>
                <a:gd name="connsiteX128" fmla="*/ 904419 w 3028217"/>
                <a:gd name="connsiteY128" fmla="*/ 389118 h 2962327"/>
                <a:gd name="connsiteX129" fmla="*/ 1062534 w 3028217"/>
                <a:gd name="connsiteY129" fmla="*/ 340541 h 2962327"/>
                <a:gd name="connsiteX130" fmla="*/ 1083489 w 3028217"/>
                <a:gd name="connsiteY130" fmla="*/ 353876 h 2962327"/>
                <a:gd name="connsiteX131" fmla="*/ 1053961 w 3028217"/>
                <a:gd name="connsiteY131" fmla="*/ 360543 h 2962327"/>
                <a:gd name="connsiteX132" fmla="*/ 1062534 w 3028217"/>
                <a:gd name="connsiteY132" fmla="*/ 340541 h 2962327"/>
                <a:gd name="connsiteX133" fmla="*/ 2471113 w 3028217"/>
                <a:gd name="connsiteY133" fmla="*/ 336025 h 2962327"/>
                <a:gd name="connsiteX134" fmla="*/ 2521763 w 3028217"/>
                <a:gd name="connsiteY134" fmla="*/ 370068 h 2962327"/>
                <a:gd name="connsiteX135" fmla="*/ 2848471 w 3028217"/>
                <a:gd name="connsiteY135" fmla="*/ 785358 h 2962327"/>
                <a:gd name="connsiteX136" fmla="*/ 2920861 w 3028217"/>
                <a:gd name="connsiteY136" fmla="*/ 940616 h 2962327"/>
                <a:gd name="connsiteX137" fmla="*/ 2926576 w 3028217"/>
                <a:gd name="connsiteY137" fmla="*/ 977763 h 2962327"/>
                <a:gd name="connsiteX138" fmla="*/ 2847518 w 3028217"/>
                <a:gd name="connsiteY138" fmla="*/ 938711 h 2962327"/>
                <a:gd name="connsiteX139" fmla="*/ 2864663 w 3028217"/>
                <a:gd name="connsiteY139" fmla="*/ 890133 h 2962327"/>
                <a:gd name="connsiteX140" fmla="*/ 2810371 w 3028217"/>
                <a:gd name="connsiteY140" fmla="*/ 908231 h 2962327"/>
                <a:gd name="connsiteX141" fmla="*/ 2757031 w 3028217"/>
                <a:gd name="connsiteY141" fmla="*/ 904421 h 2962327"/>
                <a:gd name="connsiteX142" fmla="*/ 2728456 w 3028217"/>
                <a:gd name="connsiteY142" fmla="*/ 916803 h 2962327"/>
                <a:gd name="connsiteX143" fmla="*/ 2707501 w 3028217"/>
                <a:gd name="connsiteY143" fmla="*/ 971096 h 2962327"/>
                <a:gd name="connsiteX144" fmla="*/ 2706548 w 3028217"/>
                <a:gd name="connsiteY144" fmla="*/ 1011101 h 2962327"/>
                <a:gd name="connsiteX145" fmla="*/ 2712263 w 3028217"/>
                <a:gd name="connsiteY145" fmla="*/ 1044438 h 2962327"/>
                <a:gd name="connsiteX146" fmla="*/ 2750438 w 3028217"/>
                <a:gd name="connsiteY146" fmla="*/ 1026892 h 2962327"/>
                <a:gd name="connsiteX147" fmla="*/ 2757317 w 3028217"/>
                <a:gd name="connsiteY147" fmla="*/ 1029909 h 2962327"/>
                <a:gd name="connsiteX148" fmla="*/ 2760842 w 3028217"/>
                <a:gd name="connsiteY148" fmla="*/ 1028246 h 2962327"/>
                <a:gd name="connsiteX149" fmla="*/ 2785607 w 3028217"/>
                <a:gd name="connsiteY149" fmla="*/ 1010148 h 2962327"/>
                <a:gd name="connsiteX150" fmla="*/ 2804538 w 3028217"/>
                <a:gd name="connsiteY150" fmla="*/ 1006457 h 2962327"/>
                <a:gd name="connsiteX151" fmla="*/ 2822755 w 3028217"/>
                <a:gd name="connsiteY151" fmla="*/ 1009196 h 2962327"/>
                <a:gd name="connsiteX152" fmla="*/ 2938959 w 3028217"/>
                <a:gd name="connsiteY152" fmla="*/ 1031103 h 2962327"/>
                <a:gd name="connsiteX153" fmla="*/ 2959915 w 3028217"/>
                <a:gd name="connsiteY153" fmla="*/ 1058726 h 2962327"/>
                <a:gd name="connsiteX154" fmla="*/ 3021827 w 3028217"/>
                <a:gd name="connsiteY154" fmla="*/ 1368288 h 2962327"/>
                <a:gd name="connsiteX155" fmla="*/ 3027542 w 3028217"/>
                <a:gd name="connsiteY155" fmla="*/ 1562598 h 2962327"/>
                <a:gd name="connsiteX156" fmla="*/ 3020874 w 3028217"/>
                <a:gd name="connsiteY156" fmla="*/ 1594983 h 2962327"/>
                <a:gd name="connsiteX157" fmla="*/ 2958009 w 3028217"/>
                <a:gd name="connsiteY157" fmla="*/ 1512116 h 2962327"/>
                <a:gd name="connsiteX158" fmla="*/ 2918005 w 3028217"/>
                <a:gd name="connsiteY158" fmla="*/ 1446393 h 2962327"/>
                <a:gd name="connsiteX159" fmla="*/ 2860855 w 3028217"/>
                <a:gd name="connsiteY159" fmla="*/ 1371146 h 2962327"/>
                <a:gd name="connsiteX160" fmla="*/ 2831327 w 3028217"/>
                <a:gd name="connsiteY160" fmla="*/ 1343523 h 2962327"/>
                <a:gd name="connsiteX161" fmla="*/ 2856092 w 3028217"/>
                <a:gd name="connsiteY161" fmla="*/ 1380671 h 2962327"/>
                <a:gd name="connsiteX162" fmla="*/ 2930387 w 3028217"/>
                <a:gd name="connsiteY162" fmla="*/ 1514021 h 2962327"/>
                <a:gd name="connsiteX163" fmla="*/ 2939912 w 3028217"/>
                <a:gd name="connsiteY163" fmla="*/ 1546406 h 2962327"/>
                <a:gd name="connsiteX164" fmla="*/ 2962772 w 3028217"/>
                <a:gd name="connsiteY164" fmla="*/ 1597841 h 2962327"/>
                <a:gd name="connsiteX165" fmla="*/ 2999919 w 3028217"/>
                <a:gd name="connsiteY165" fmla="*/ 1683566 h 2962327"/>
                <a:gd name="connsiteX166" fmla="*/ 3012302 w 3028217"/>
                <a:gd name="connsiteY166" fmla="*/ 1740716 h 2962327"/>
                <a:gd name="connsiteX167" fmla="*/ 2886572 w 3028217"/>
                <a:gd name="connsiteY167" fmla="*/ 2158864 h 2962327"/>
                <a:gd name="connsiteX168" fmla="*/ 2841805 w 3028217"/>
                <a:gd name="connsiteY168" fmla="*/ 2246493 h 2962327"/>
                <a:gd name="connsiteX169" fmla="*/ 2821802 w 3028217"/>
                <a:gd name="connsiteY169" fmla="*/ 2266496 h 2962327"/>
                <a:gd name="connsiteX170" fmla="*/ 2808467 w 3028217"/>
                <a:gd name="connsiteY170" fmla="*/ 2240778 h 2962327"/>
                <a:gd name="connsiteX171" fmla="*/ 2785607 w 3028217"/>
                <a:gd name="connsiteY171" fmla="*/ 2172198 h 2962327"/>
                <a:gd name="connsiteX172" fmla="*/ 2805609 w 3028217"/>
                <a:gd name="connsiteY172" fmla="*/ 2234111 h 2962327"/>
                <a:gd name="connsiteX173" fmla="*/ 2821802 w 3028217"/>
                <a:gd name="connsiteY173" fmla="*/ 2273164 h 2962327"/>
                <a:gd name="connsiteX174" fmla="*/ 2708455 w 3028217"/>
                <a:gd name="connsiteY174" fmla="*/ 2451281 h 2962327"/>
                <a:gd name="connsiteX175" fmla="*/ 2551292 w 3028217"/>
                <a:gd name="connsiteY175" fmla="*/ 2622731 h 2962327"/>
                <a:gd name="connsiteX176" fmla="*/ 2476997 w 3028217"/>
                <a:gd name="connsiteY176" fmla="*/ 2687501 h 2962327"/>
                <a:gd name="connsiteX177" fmla="*/ 2463662 w 3028217"/>
                <a:gd name="connsiteY177" fmla="*/ 2655116 h 2962327"/>
                <a:gd name="connsiteX178" fmla="*/ 2425562 w 3028217"/>
                <a:gd name="connsiteY178" fmla="*/ 2533196 h 2962327"/>
                <a:gd name="connsiteX179" fmla="*/ 2439849 w 3028217"/>
                <a:gd name="connsiteY179" fmla="*/ 2375081 h 2962327"/>
                <a:gd name="connsiteX180" fmla="*/ 2449374 w 3028217"/>
                <a:gd name="connsiteY180" fmla="*/ 2301739 h 2962327"/>
                <a:gd name="connsiteX181" fmla="*/ 2430324 w 3028217"/>
                <a:gd name="connsiteY181" fmla="*/ 2210298 h 2962327"/>
                <a:gd name="connsiteX182" fmla="*/ 2396987 w 3028217"/>
                <a:gd name="connsiteY182" fmla="*/ 2144576 h 2962327"/>
                <a:gd name="connsiteX183" fmla="*/ 2370317 w 3028217"/>
                <a:gd name="connsiteY183" fmla="*/ 2012178 h 2962327"/>
                <a:gd name="connsiteX184" fmla="*/ 2374127 w 3028217"/>
                <a:gd name="connsiteY184" fmla="*/ 1992176 h 2962327"/>
                <a:gd name="connsiteX185" fmla="*/ 2319834 w 3028217"/>
                <a:gd name="connsiteY185" fmla="*/ 1944551 h 2962327"/>
                <a:gd name="connsiteX186" fmla="*/ 2282687 w 3028217"/>
                <a:gd name="connsiteY186" fmla="*/ 1931216 h 2962327"/>
                <a:gd name="connsiteX187" fmla="*/ 2200772 w 3028217"/>
                <a:gd name="connsiteY187" fmla="*/ 1905498 h 2962327"/>
                <a:gd name="connsiteX188" fmla="*/ 2157909 w 3028217"/>
                <a:gd name="connsiteY188" fmla="*/ 1926453 h 2962327"/>
                <a:gd name="connsiteX189" fmla="*/ 2106474 w 3028217"/>
                <a:gd name="connsiteY189" fmla="*/ 1931216 h 2962327"/>
                <a:gd name="connsiteX190" fmla="*/ 2040752 w 3028217"/>
                <a:gd name="connsiteY190" fmla="*/ 1937883 h 2962327"/>
                <a:gd name="connsiteX191" fmla="*/ 1974077 w 3028217"/>
                <a:gd name="connsiteY191" fmla="*/ 1924548 h 2962327"/>
                <a:gd name="connsiteX192" fmla="*/ 1919784 w 3028217"/>
                <a:gd name="connsiteY192" fmla="*/ 1877876 h 2962327"/>
                <a:gd name="connsiteX193" fmla="*/ 1896924 w 3028217"/>
                <a:gd name="connsiteY193" fmla="*/ 1849301 h 2962327"/>
                <a:gd name="connsiteX194" fmla="*/ 1839774 w 3028217"/>
                <a:gd name="connsiteY194" fmla="*/ 1762623 h 2962327"/>
                <a:gd name="connsiteX195" fmla="*/ 1822629 w 3028217"/>
                <a:gd name="connsiteY195" fmla="*/ 1676898 h 2962327"/>
                <a:gd name="connsiteX196" fmla="*/ 1829297 w 3028217"/>
                <a:gd name="connsiteY196" fmla="*/ 1537833 h 2962327"/>
                <a:gd name="connsiteX197" fmla="*/ 1828344 w 3028217"/>
                <a:gd name="connsiteY197" fmla="*/ 1514973 h 2962327"/>
                <a:gd name="connsiteX198" fmla="*/ 1909307 w 3028217"/>
                <a:gd name="connsiteY198" fmla="*/ 1373051 h 2962327"/>
                <a:gd name="connsiteX199" fmla="*/ 1929309 w 3028217"/>
                <a:gd name="connsiteY199" fmla="*/ 1361621 h 2962327"/>
                <a:gd name="connsiteX200" fmla="*/ 1977887 w 3028217"/>
                <a:gd name="connsiteY200" fmla="*/ 1293041 h 2962327"/>
                <a:gd name="connsiteX201" fmla="*/ 2019797 w 3028217"/>
                <a:gd name="connsiteY201" fmla="*/ 1227318 h 2962327"/>
                <a:gd name="connsiteX202" fmla="*/ 2051229 w 3028217"/>
                <a:gd name="connsiteY202" fmla="*/ 1178741 h 2962327"/>
                <a:gd name="connsiteX203" fmla="*/ 2083614 w 3028217"/>
                <a:gd name="connsiteY203" fmla="*/ 1172073 h 2962327"/>
                <a:gd name="connsiteX204" fmla="*/ 2161719 w 3028217"/>
                <a:gd name="connsiteY204" fmla="*/ 1162548 h 2962327"/>
                <a:gd name="connsiteX205" fmla="*/ 2266494 w 3028217"/>
                <a:gd name="connsiteY205" fmla="*/ 1136831 h 2962327"/>
                <a:gd name="connsiteX206" fmla="*/ 2331264 w 3028217"/>
                <a:gd name="connsiteY206" fmla="*/ 1133021 h 2962327"/>
                <a:gd name="connsiteX207" fmla="*/ 2387462 w 3028217"/>
                <a:gd name="connsiteY207" fmla="*/ 1197791 h 2962327"/>
                <a:gd name="connsiteX208" fmla="*/ 2400797 w 3028217"/>
                <a:gd name="connsiteY208" fmla="*/ 1229223 h 2962327"/>
                <a:gd name="connsiteX209" fmla="*/ 2517002 w 3028217"/>
                <a:gd name="connsiteY209" fmla="*/ 1283516 h 2962327"/>
                <a:gd name="connsiteX210" fmla="*/ 2556055 w 3028217"/>
                <a:gd name="connsiteY210" fmla="*/ 1266371 h 2962327"/>
                <a:gd name="connsiteX211" fmla="*/ 2617967 w 3028217"/>
                <a:gd name="connsiteY211" fmla="*/ 1241606 h 2962327"/>
                <a:gd name="connsiteX212" fmla="*/ 2701787 w 3028217"/>
                <a:gd name="connsiteY212" fmla="*/ 1271133 h 2962327"/>
                <a:gd name="connsiteX213" fmla="*/ 2823707 w 3028217"/>
                <a:gd name="connsiteY213" fmla="*/ 1270181 h 2962327"/>
                <a:gd name="connsiteX214" fmla="*/ 2842757 w 3028217"/>
                <a:gd name="connsiteY214" fmla="*/ 1253988 h 2962327"/>
                <a:gd name="connsiteX215" fmla="*/ 2857997 w 3028217"/>
                <a:gd name="connsiteY215" fmla="*/ 1191123 h 2962327"/>
                <a:gd name="connsiteX216" fmla="*/ 2824659 w 3028217"/>
                <a:gd name="connsiteY216" fmla="*/ 1163501 h 2962327"/>
                <a:gd name="connsiteX217" fmla="*/ 2781797 w 3028217"/>
                <a:gd name="connsiteY217" fmla="*/ 1153023 h 2962327"/>
                <a:gd name="connsiteX218" fmla="*/ 2778142 w 3028217"/>
                <a:gd name="connsiteY218" fmla="*/ 1149005 h 2962327"/>
                <a:gd name="connsiteX219" fmla="*/ 2758579 w 3028217"/>
                <a:gd name="connsiteY219" fmla="*/ 1157637 h 2962327"/>
                <a:gd name="connsiteX220" fmla="*/ 2684641 w 3028217"/>
                <a:gd name="connsiteY220" fmla="*/ 1122543 h 2962327"/>
                <a:gd name="connsiteX221" fmla="*/ 2664638 w 3028217"/>
                <a:gd name="connsiteY221" fmla="*/ 1083491 h 2962327"/>
                <a:gd name="connsiteX222" fmla="*/ 2646541 w 3028217"/>
                <a:gd name="connsiteY222" fmla="*/ 1054916 h 2962327"/>
                <a:gd name="connsiteX223" fmla="*/ 2610346 w 3028217"/>
                <a:gd name="connsiteY223" fmla="*/ 1080633 h 2962327"/>
                <a:gd name="connsiteX224" fmla="*/ 2609202 w 3028217"/>
                <a:gd name="connsiteY224" fmla="*/ 1082346 h 2962327"/>
                <a:gd name="connsiteX225" fmla="*/ 2613204 w 3028217"/>
                <a:gd name="connsiteY225" fmla="*/ 1086348 h 2962327"/>
                <a:gd name="connsiteX226" fmla="*/ 2632254 w 3028217"/>
                <a:gd name="connsiteY226" fmla="*/ 1108255 h 2962327"/>
                <a:gd name="connsiteX227" fmla="*/ 2609394 w 3028217"/>
                <a:gd name="connsiteY227" fmla="*/ 1145403 h 2962327"/>
                <a:gd name="connsiteX228" fmla="*/ 2584629 w 3028217"/>
                <a:gd name="connsiteY228" fmla="*/ 1132068 h 2962327"/>
                <a:gd name="connsiteX229" fmla="*/ 2566055 w 3028217"/>
                <a:gd name="connsiteY229" fmla="*/ 1095397 h 2962327"/>
                <a:gd name="connsiteX230" fmla="*/ 2558490 w 3028217"/>
                <a:gd name="connsiteY230" fmla="*/ 1083461 h 2962327"/>
                <a:gd name="connsiteX231" fmla="*/ 2545576 w 3028217"/>
                <a:gd name="connsiteY231" fmla="*/ 1071108 h 2962327"/>
                <a:gd name="connsiteX232" fmla="*/ 2536051 w 3028217"/>
                <a:gd name="connsiteY232" fmla="*/ 1061583 h 2962327"/>
                <a:gd name="connsiteX233" fmla="*/ 2429371 w 3028217"/>
                <a:gd name="connsiteY233" fmla="*/ 952046 h 2962327"/>
                <a:gd name="connsiteX234" fmla="*/ 2417941 w 3028217"/>
                <a:gd name="connsiteY234" fmla="*/ 944426 h 2962327"/>
                <a:gd name="connsiteX235" fmla="*/ 2407463 w 3028217"/>
                <a:gd name="connsiteY235" fmla="*/ 947283 h 2962327"/>
                <a:gd name="connsiteX236" fmla="*/ 2469376 w 3028217"/>
                <a:gd name="connsiteY236" fmla="*/ 1014911 h 2962327"/>
                <a:gd name="connsiteX237" fmla="*/ 2509381 w 3028217"/>
                <a:gd name="connsiteY237" fmla="*/ 1044438 h 2962327"/>
                <a:gd name="connsiteX238" fmla="*/ 2504618 w 3028217"/>
                <a:gd name="connsiteY238" fmla="*/ 1057773 h 2962327"/>
                <a:gd name="connsiteX239" fmla="*/ 2488426 w 3028217"/>
                <a:gd name="connsiteY239" fmla="*/ 1077776 h 2962327"/>
                <a:gd name="connsiteX240" fmla="*/ 2476996 w 3028217"/>
                <a:gd name="connsiteY240" fmla="*/ 1084443 h 2962327"/>
                <a:gd name="connsiteX241" fmla="*/ 2356028 w 3028217"/>
                <a:gd name="connsiteY241" fmla="*/ 985383 h 2962327"/>
                <a:gd name="connsiteX242" fmla="*/ 2317928 w 3028217"/>
                <a:gd name="connsiteY242" fmla="*/ 978716 h 2962327"/>
                <a:gd name="connsiteX243" fmla="*/ 2295068 w 3028217"/>
                <a:gd name="connsiteY243" fmla="*/ 993003 h 2962327"/>
                <a:gd name="connsiteX244" fmla="*/ 2196008 w 3028217"/>
                <a:gd name="connsiteY244" fmla="*/ 1057773 h 2962327"/>
                <a:gd name="connsiteX245" fmla="*/ 2181721 w 3028217"/>
                <a:gd name="connsiteY245" fmla="*/ 1087301 h 2962327"/>
                <a:gd name="connsiteX246" fmla="*/ 2105521 w 3028217"/>
                <a:gd name="connsiteY246" fmla="*/ 1157786 h 2962327"/>
                <a:gd name="connsiteX247" fmla="*/ 2053133 w 3028217"/>
                <a:gd name="connsiteY247" fmla="*/ 1155881 h 2962327"/>
                <a:gd name="connsiteX248" fmla="*/ 2036941 w 3028217"/>
                <a:gd name="connsiteY248" fmla="*/ 1136831 h 2962327"/>
                <a:gd name="connsiteX249" fmla="*/ 2008366 w 3028217"/>
                <a:gd name="connsiteY249" fmla="*/ 1131116 h 2962327"/>
                <a:gd name="connsiteX250" fmla="*/ 2001698 w 3028217"/>
                <a:gd name="connsiteY250" fmla="*/ 1074918 h 2962327"/>
                <a:gd name="connsiteX251" fmla="*/ 2008366 w 3028217"/>
                <a:gd name="connsiteY251" fmla="*/ 1001576 h 2962327"/>
                <a:gd name="connsiteX252" fmla="*/ 2035988 w 3028217"/>
                <a:gd name="connsiteY252" fmla="*/ 977763 h 2962327"/>
                <a:gd name="connsiteX253" fmla="*/ 2107426 w 3028217"/>
                <a:gd name="connsiteY253" fmla="*/ 983478 h 2962327"/>
                <a:gd name="connsiteX254" fmla="*/ 2148383 w 3028217"/>
                <a:gd name="connsiteY254" fmla="*/ 975858 h 2962327"/>
                <a:gd name="connsiteX255" fmla="*/ 2150288 w 3028217"/>
                <a:gd name="connsiteY255" fmla="*/ 913946 h 2962327"/>
                <a:gd name="connsiteX256" fmla="*/ 2112188 w 3028217"/>
                <a:gd name="connsiteY256" fmla="*/ 876798 h 2962327"/>
                <a:gd name="connsiteX257" fmla="*/ 2096948 w 3028217"/>
                <a:gd name="connsiteY257" fmla="*/ 862511 h 2962327"/>
                <a:gd name="connsiteX258" fmla="*/ 2118856 w 3028217"/>
                <a:gd name="connsiteY258" fmla="*/ 849176 h 2962327"/>
                <a:gd name="connsiteX259" fmla="*/ 2206486 w 3028217"/>
                <a:gd name="connsiteY259" fmla="*/ 810123 h 2962327"/>
                <a:gd name="connsiteX260" fmla="*/ 2308403 w 3028217"/>
                <a:gd name="connsiteY260" fmla="*/ 731066 h 2962327"/>
                <a:gd name="connsiteX261" fmla="*/ 2321738 w 3028217"/>
                <a:gd name="connsiteY261" fmla="*/ 708206 h 2962327"/>
                <a:gd name="connsiteX262" fmla="*/ 2311261 w 3028217"/>
                <a:gd name="connsiteY262" fmla="*/ 679631 h 2962327"/>
                <a:gd name="connsiteX263" fmla="*/ 2320786 w 3028217"/>
                <a:gd name="connsiteY263" fmla="*/ 643436 h 2962327"/>
                <a:gd name="connsiteX264" fmla="*/ 2338883 w 3028217"/>
                <a:gd name="connsiteY264" fmla="*/ 638673 h 2962327"/>
                <a:gd name="connsiteX265" fmla="*/ 2343646 w 3028217"/>
                <a:gd name="connsiteY265" fmla="*/ 675821 h 2962327"/>
                <a:gd name="connsiteX266" fmla="*/ 2348408 w 3028217"/>
                <a:gd name="connsiteY266" fmla="*/ 699633 h 2962327"/>
                <a:gd name="connsiteX267" fmla="*/ 2376031 w 3028217"/>
                <a:gd name="connsiteY267" fmla="*/ 706301 h 2962327"/>
                <a:gd name="connsiteX268" fmla="*/ 2385556 w 3028217"/>
                <a:gd name="connsiteY268" fmla="*/ 704396 h 2962327"/>
                <a:gd name="connsiteX269" fmla="*/ 2454136 w 3028217"/>
                <a:gd name="connsiteY269" fmla="*/ 698681 h 2962327"/>
                <a:gd name="connsiteX270" fmla="*/ 2476996 w 3028217"/>
                <a:gd name="connsiteY270" fmla="*/ 692013 h 2962327"/>
                <a:gd name="connsiteX271" fmla="*/ 2517953 w 3028217"/>
                <a:gd name="connsiteY271" fmla="*/ 648198 h 2962327"/>
                <a:gd name="connsiteX272" fmla="*/ 2563673 w 3028217"/>
                <a:gd name="connsiteY272" fmla="*/ 626291 h 2962327"/>
                <a:gd name="connsiteX273" fmla="*/ 2554148 w 3028217"/>
                <a:gd name="connsiteY273" fmla="*/ 585333 h 2962327"/>
                <a:gd name="connsiteX274" fmla="*/ 2572928 w 3028217"/>
                <a:gd name="connsiteY274" fmla="*/ 573708 h 2962327"/>
                <a:gd name="connsiteX275" fmla="*/ 2586098 w 3028217"/>
                <a:gd name="connsiteY275" fmla="*/ 571735 h 2962327"/>
                <a:gd name="connsiteX276" fmla="*/ 2586726 w 3028217"/>
                <a:gd name="connsiteY276" fmla="*/ 571671 h 2962327"/>
                <a:gd name="connsiteX277" fmla="*/ 2624633 w 3028217"/>
                <a:gd name="connsiteY277" fmla="*/ 568188 h 2962327"/>
                <a:gd name="connsiteX278" fmla="*/ 2630348 w 3028217"/>
                <a:gd name="connsiteY278" fmla="*/ 563426 h 2962327"/>
                <a:gd name="connsiteX279" fmla="*/ 2633206 w 3028217"/>
                <a:gd name="connsiteY279" fmla="*/ 563426 h 2962327"/>
                <a:gd name="connsiteX280" fmla="*/ 2626538 w 3028217"/>
                <a:gd name="connsiteY280" fmla="*/ 563426 h 2962327"/>
                <a:gd name="connsiteX281" fmla="*/ 2593082 w 3028217"/>
                <a:gd name="connsiteY281" fmla="*/ 570689 h 2962327"/>
                <a:gd name="connsiteX282" fmla="*/ 2586098 w 3028217"/>
                <a:gd name="connsiteY282" fmla="*/ 571735 h 2962327"/>
                <a:gd name="connsiteX283" fmla="*/ 2574151 w 3028217"/>
                <a:gd name="connsiteY283" fmla="*/ 572951 h 2962327"/>
                <a:gd name="connsiteX284" fmla="*/ 2572928 w 3028217"/>
                <a:gd name="connsiteY284" fmla="*/ 573708 h 2962327"/>
                <a:gd name="connsiteX285" fmla="*/ 2558911 w 3028217"/>
                <a:gd name="connsiteY285" fmla="*/ 575808 h 2962327"/>
                <a:gd name="connsiteX286" fmla="*/ 2506523 w 3028217"/>
                <a:gd name="connsiteY286" fmla="*/ 541518 h 2962327"/>
                <a:gd name="connsiteX287" fmla="*/ 2512238 w 3028217"/>
                <a:gd name="connsiteY287" fmla="*/ 480558 h 2962327"/>
                <a:gd name="connsiteX288" fmla="*/ 2533193 w 3028217"/>
                <a:gd name="connsiteY288" fmla="*/ 458651 h 2962327"/>
                <a:gd name="connsiteX289" fmla="*/ 2534146 w 3028217"/>
                <a:gd name="connsiteY289" fmla="*/ 440553 h 2962327"/>
                <a:gd name="connsiteX290" fmla="*/ 2513191 w 3028217"/>
                <a:gd name="connsiteY290" fmla="*/ 445316 h 2962327"/>
                <a:gd name="connsiteX291" fmla="*/ 2464613 w 3028217"/>
                <a:gd name="connsiteY291" fmla="*/ 509133 h 2962327"/>
                <a:gd name="connsiteX292" fmla="*/ 2467471 w 3028217"/>
                <a:gd name="connsiteY292" fmla="*/ 551996 h 2962327"/>
                <a:gd name="connsiteX293" fmla="*/ 2468423 w 3028217"/>
                <a:gd name="connsiteY293" fmla="*/ 597716 h 2962327"/>
                <a:gd name="connsiteX294" fmla="*/ 2453183 w 3028217"/>
                <a:gd name="connsiteY294" fmla="*/ 638673 h 2962327"/>
                <a:gd name="connsiteX295" fmla="*/ 2423656 w 3028217"/>
                <a:gd name="connsiteY295" fmla="*/ 676773 h 2962327"/>
                <a:gd name="connsiteX296" fmla="*/ 2389366 w 3028217"/>
                <a:gd name="connsiteY296" fmla="*/ 683441 h 2962327"/>
                <a:gd name="connsiteX297" fmla="*/ 2383651 w 3028217"/>
                <a:gd name="connsiteY297" fmla="*/ 659628 h 2962327"/>
                <a:gd name="connsiteX298" fmla="*/ 2367458 w 3028217"/>
                <a:gd name="connsiteY298" fmla="*/ 627243 h 2962327"/>
                <a:gd name="connsiteX299" fmla="*/ 2308403 w 3028217"/>
                <a:gd name="connsiteY299" fmla="*/ 612003 h 2962327"/>
                <a:gd name="connsiteX300" fmla="*/ 2270303 w 3028217"/>
                <a:gd name="connsiteY300" fmla="*/ 571046 h 2962327"/>
                <a:gd name="connsiteX301" fmla="*/ 2260778 w 3028217"/>
                <a:gd name="connsiteY301" fmla="*/ 543423 h 2962327"/>
                <a:gd name="connsiteX302" fmla="*/ 2259826 w 3028217"/>
                <a:gd name="connsiteY302" fmla="*/ 522468 h 2962327"/>
                <a:gd name="connsiteX303" fmla="*/ 2390318 w 3028217"/>
                <a:gd name="connsiteY303" fmla="*/ 385308 h 2962327"/>
                <a:gd name="connsiteX304" fmla="*/ 2416988 w 3028217"/>
                <a:gd name="connsiteY304" fmla="*/ 357686 h 2962327"/>
                <a:gd name="connsiteX305" fmla="*/ 2417941 w 3028217"/>
                <a:gd name="connsiteY305" fmla="*/ 351971 h 2962327"/>
                <a:gd name="connsiteX306" fmla="*/ 2424608 w 3028217"/>
                <a:gd name="connsiteY306" fmla="*/ 353876 h 2962327"/>
                <a:gd name="connsiteX307" fmla="*/ 2452245 w 3028217"/>
                <a:gd name="connsiteY307" fmla="*/ 336582 h 2962327"/>
                <a:gd name="connsiteX308" fmla="*/ 2471113 w 3028217"/>
                <a:gd name="connsiteY308" fmla="*/ 336025 h 2962327"/>
                <a:gd name="connsiteX309" fmla="*/ 761544 w 3028217"/>
                <a:gd name="connsiteY309" fmla="*/ 194808 h 2962327"/>
                <a:gd name="connsiteX310" fmla="*/ 773926 w 3028217"/>
                <a:gd name="connsiteY310" fmla="*/ 216716 h 2962327"/>
                <a:gd name="connsiteX311" fmla="*/ 773926 w 3028217"/>
                <a:gd name="connsiteY311" fmla="*/ 278628 h 2962327"/>
                <a:gd name="connsiteX312" fmla="*/ 687249 w 3028217"/>
                <a:gd name="connsiteY312" fmla="*/ 293868 h 2962327"/>
                <a:gd name="connsiteX313" fmla="*/ 671056 w 3028217"/>
                <a:gd name="connsiteY313" fmla="*/ 292916 h 2962327"/>
                <a:gd name="connsiteX314" fmla="*/ 640576 w 3028217"/>
                <a:gd name="connsiteY314" fmla="*/ 298631 h 2962327"/>
                <a:gd name="connsiteX315" fmla="*/ 603429 w 3028217"/>
                <a:gd name="connsiteY315" fmla="*/ 291011 h 2962327"/>
                <a:gd name="connsiteX316" fmla="*/ 715824 w 3028217"/>
                <a:gd name="connsiteY316" fmla="*/ 211953 h 2962327"/>
                <a:gd name="connsiteX317" fmla="*/ 727254 w 3028217"/>
                <a:gd name="connsiteY317" fmla="*/ 215763 h 2962327"/>
                <a:gd name="connsiteX318" fmla="*/ 761544 w 3028217"/>
                <a:gd name="connsiteY318" fmla="*/ 194808 h 2962327"/>
                <a:gd name="connsiteX319" fmla="*/ 873343 w 3028217"/>
                <a:gd name="connsiteY319" fmla="*/ 184331 h 2962327"/>
                <a:gd name="connsiteX320" fmla="*/ 891083 w 3028217"/>
                <a:gd name="connsiteY320" fmla="*/ 191951 h 2962327"/>
                <a:gd name="connsiteX321" fmla="*/ 888226 w 3028217"/>
                <a:gd name="connsiteY321" fmla="*/ 217668 h 2962327"/>
                <a:gd name="connsiteX322" fmla="*/ 879241 w 3028217"/>
                <a:gd name="connsiteY322" fmla="*/ 234820 h 2962327"/>
                <a:gd name="connsiteX323" fmla="*/ 895370 w 3028217"/>
                <a:gd name="connsiteY323" fmla="*/ 235036 h 2962327"/>
                <a:gd name="connsiteX324" fmla="*/ 899656 w 3028217"/>
                <a:gd name="connsiteY324" fmla="*/ 266246 h 2962327"/>
                <a:gd name="connsiteX325" fmla="*/ 892988 w 3028217"/>
                <a:gd name="connsiteY325" fmla="*/ 303393 h 2962327"/>
                <a:gd name="connsiteX326" fmla="*/ 905371 w 3028217"/>
                <a:gd name="connsiteY326" fmla="*/ 303393 h 2962327"/>
                <a:gd name="connsiteX327" fmla="*/ 915848 w 3028217"/>
                <a:gd name="connsiteY327" fmla="*/ 337683 h 2962327"/>
                <a:gd name="connsiteX328" fmla="*/ 946328 w 3028217"/>
                <a:gd name="connsiteY328" fmla="*/ 324348 h 2962327"/>
                <a:gd name="connsiteX329" fmla="*/ 973409 w 3028217"/>
                <a:gd name="connsiteY329" fmla="*/ 303804 h 2962327"/>
                <a:gd name="connsiteX330" fmla="*/ 975260 w 3028217"/>
                <a:gd name="connsiteY330" fmla="*/ 292796 h 2962327"/>
                <a:gd name="connsiteX331" fmla="*/ 965378 w 3028217"/>
                <a:gd name="connsiteY331" fmla="*/ 281485 h 2962327"/>
                <a:gd name="connsiteX332" fmla="*/ 962521 w 3028217"/>
                <a:gd name="connsiteY332" fmla="*/ 233860 h 2962327"/>
                <a:gd name="connsiteX333" fmla="*/ 1013956 w 3028217"/>
                <a:gd name="connsiteY333" fmla="*/ 203380 h 2962327"/>
                <a:gd name="connsiteX334" fmla="*/ 1028243 w 3028217"/>
                <a:gd name="connsiteY334" fmla="*/ 200165 h 2962327"/>
                <a:gd name="connsiteX335" fmla="*/ 1042531 w 3028217"/>
                <a:gd name="connsiteY335" fmla="*/ 206238 h 2962327"/>
                <a:gd name="connsiteX336" fmla="*/ 1016813 w 3028217"/>
                <a:gd name="connsiteY336" fmla="*/ 234813 h 2962327"/>
                <a:gd name="connsiteX337" fmla="*/ 1075868 w 3028217"/>
                <a:gd name="connsiteY337" fmla="*/ 204333 h 2962327"/>
                <a:gd name="connsiteX338" fmla="*/ 1095871 w 3028217"/>
                <a:gd name="connsiteY338" fmla="*/ 204333 h 2962327"/>
                <a:gd name="connsiteX339" fmla="*/ 1099681 w 3028217"/>
                <a:gd name="connsiteY339" fmla="*/ 232908 h 2962327"/>
                <a:gd name="connsiteX340" fmla="*/ 1133971 w 3028217"/>
                <a:gd name="connsiteY340" fmla="*/ 231003 h 2962327"/>
                <a:gd name="connsiteX341" fmla="*/ 1151116 w 3028217"/>
                <a:gd name="connsiteY341" fmla="*/ 238623 h 2962327"/>
                <a:gd name="connsiteX342" fmla="*/ 1205408 w 3028217"/>
                <a:gd name="connsiteY342" fmla="*/ 287200 h 2962327"/>
                <a:gd name="connsiteX343" fmla="*/ 1198741 w 3028217"/>
                <a:gd name="connsiteY343" fmla="*/ 334825 h 2962327"/>
                <a:gd name="connsiteX344" fmla="*/ 1248271 w 3028217"/>
                <a:gd name="connsiteY344" fmla="*/ 377688 h 2962327"/>
                <a:gd name="connsiteX345" fmla="*/ 1246366 w 3028217"/>
                <a:gd name="connsiteY345" fmla="*/ 402453 h 2962327"/>
                <a:gd name="connsiteX346" fmla="*/ 1187311 w 3028217"/>
                <a:gd name="connsiteY346" fmla="*/ 402453 h 2962327"/>
                <a:gd name="connsiteX347" fmla="*/ 1171118 w 3028217"/>
                <a:gd name="connsiteY347" fmla="*/ 396738 h 2962327"/>
                <a:gd name="connsiteX348" fmla="*/ 1171118 w 3028217"/>
                <a:gd name="connsiteY348" fmla="*/ 431028 h 2962327"/>
                <a:gd name="connsiteX349" fmla="*/ 1151116 w 3028217"/>
                <a:gd name="connsiteY349" fmla="*/ 479605 h 2962327"/>
                <a:gd name="connsiteX350" fmla="*/ 1136828 w 3028217"/>
                <a:gd name="connsiteY350" fmla="*/ 476748 h 2962327"/>
                <a:gd name="connsiteX351" fmla="*/ 1136828 w 3028217"/>
                <a:gd name="connsiteY351" fmla="*/ 487225 h 2962327"/>
                <a:gd name="connsiteX352" fmla="*/ 1118731 w 3028217"/>
                <a:gd name="connsiteY352" fmla="*/ 497703 h 2962327"/>
                <a:gd name="connsiteX353" fmla="*/ 1066343 w 3028217"/>
                <a:gd name="connsiteY353" fmla="*/ 455793 h 2962327"/>
                <a:gd name="connsiteX354" fmla="*/ 1016813 w 3028217"/>
                <a:gd name="connsiteY354" fmla="*/ 433885 h 2962327"/>
                <a:gd name="connsiteX355" fmla="*/ 996811 w 3028217"/>
                <a:gd name="connsiteY355" fmla="*/ 428170 h 2962327"/>
                <a:gd name="connsiteX356" fmla="*/ 1013003 w 3028217"/>
                <a:gd name="connsiteY356" fmla="*/ 411978 h 2962327"/>
                <a:gd name="connsiteX357" fmla="*/ 1109206 w 3028217"/>
                <a:gd name="connsiteY357" fmla="*/ 369115 h 2962327"/>
                <a:gd name="connsiteX358" fmla="*/ 1089203 w 3028217"/>
                <a:gd name="connsiteY358" fmla="*/ 307203 h 2962327"/>
                <a:gd name="connsiteX359" fmla="*/ 1077773 w 3028217"/>
                <a:gd name="connsiteY359" fmla="*/ 291010 h 2962327"/>
                <a:gd name="connsiteX360" fmla="*/ 1016813 w 3028217"/>
                <a:gd name="connsiteY360" fmla="*/ 292915 h 2962327"/>
                <a:gd name="connsiteX361" fmla="*/ 1007169 w 3028217"/>
                <a:gd name="connsiteY361" fmla="*/ 296011 h 2962327"/>
                <a:gd name="connsiteX362" fmla="*/ 1007866 w 3028217"/>
                <a:gd name="connsiteY362" fmla="*/ 302667 h 2962327"/>
                <a:gd name="connsiteX363" fmla="*/ 1009193 w 3028217"/>
                <a:gd name="connsiteY363" fmla="*/ 303393 h 2962327"/>
                <a:gd name="connsiteX364" fmla="*/ 962521 w 3028217"/>
                <a:gd name="connsiteY364" fmla="*/ 370068 h 2962327"/>
                <a:gd name="connsiteX365" fmla="*/ 905371 w 3028217"/>
                <a:gd name="connsiteY365" fmla="*/ 371973 h 2962327"/>
                <a:gd name="connsiteX366" fmla="*/ 868223 w 3028217"/>
                <a:gd name="connsiteY366" fmla="*/ 410073 h 2962327"/>
                <a:gd name="connsiteX367" fmla="*/ 836791 w 3028217"/>
                <a:gd name="connsiteY367" fmla="*/ 426266 h 2962327"/>
                <a:gd name="connsiteX368" fmla="*/ 816788 w 3028217"/>
                <a:gd name="connsiteY368" fmla="*/ 424361 h 2962327"/>
                <a:gd name="connsiteX369" fmla="*/ 677723 w 3028217"/>
                <a:gd name="connsiteY369" fmla="*/ 507228 h 2962327"/>
                <a:gd name="connsiteX370" fmla="*/ 668198 w 3028217"/>
                <a:gd name="connsiteY370" fmla="*/ 553901 h 2962327"/>
                <a:gd name="connsiteX371" fmla="*/ 662483 w 3028217"/>
                <a:gd name="connsiteY371" fmla="*/ 586286 h 2962327"/>
                <a:gd name="connsiteX372" fmla="*/ 716776 w 3028217"/>
                <a:gd name="connsiteY372" fmla="*/ 612956 h 2962327"/>
                <a:gd name="connsiteX373" fmla="*/ 771068 w 3028217"/>
                <a:gd name="connsiteY373" fmla="*/ 645341 h 2962327"/>
                <a:gd name="connsiteX374" fmla="*/ 782498 w 3028217"/>
                <a:gd name="connsiteY374" fmla="*/ 667248 h 2962327"/>
                <a:gd name="connsiteX375" fmla="*/ 772973 w 3028217"/>
                <a:gd name="connsiteY375" fmla="*/ 726303 h 2962327"/>
                <a:gd name="connsiteX376" fmla="*/ 805358 w 3028217"/>
                <a:gd name="connsiteY376" fmla="*/ 736781 h 2962327"/>
                <a:gd name="connsiteX377" fmla="*/ 828218 w 3028217"/>
                <a:gd name="connsiteY377" fmla="*/ 689156 h 2962327"/>
                <a:gd name="connsiteX378" fmla="*/ 858698 w 3028217"/>
                <a:gd name="connsiteY378" fmla="*/ 652961 h 2962327"/>
                <a:gd name="connsiteX379" fmla="*/ 901561 w 3028217"/>
                <a:gd name="connsiteY379" fmla="*/ 573903 h 2962327"/>
                <a:gd name="connsiteX380" fmla="*/ 904418 w 3028217"/>
                <a:gd name="connsiteY380" fmla="*/ 561521 h 2962327"/>
                <a:gd name="connsiteX381" fmla="*/ 953948 w 3028217"/>
                <a:gd name="connsiteY381" fmla="*/ 491988 h 2962327"/>
                <a:gd name="connsiteX382" fmla="*/ 968236 w 3028217"/>
                <a:gd name="connsiteY382" fmla="*/ 478653 h 2962327"/>
                <a:gd name="connsiteX383" fmla="*/ 1049198 w 3028217"/>
                <a:gd name="connsiteY383" fmla="*/ 512943 h 2962327"/>
                <a:gd name="connsiteX384" fmla="*/ 1063486 w 3028217"/>
                <a:gd name="connsiteY384" fmla="*/ 539613 h 2962327"/>
                <a:gd name="connsiteX385" fmla="*/ 1067296 w 3028217"/>
                <a:gd name="connsiteY385" fmla="*/ 583428 h 2962327"/>
                <a:gd name="connsiteX386" fmla="*/ 1112063 w 3028217"/>
                <a:gd name="connsiteY386" fmla="*/ 568188 h 2962327"/>
                <a:gd name="connsiteX387" fmla="*/ 1146353 w 3028217"/>
                <a:gd name="connsiteY387" fmla="*/ 580571 h 2962327"/>
                <a:gd name="connsiteX388" fmla="*/ 1151116 w 3028217"/>
                <a:gd name="connsiteY388" fmla="*/ 616766 h 2962327"/>
                <a:gd name="connsiteX389" fmla="*/ 1193026 w 3028217"/>
                <a:gd name="connsiteY389" fmla="*/ 684393 h 2962327"/>
                <a:gd name="connsiteX390" fmla="*/ 1182905 w 3028217"/>
                <a:gd name="connsiteY390" fmla="*/ 697847 h 2962327"/>
                <a:gd name="connsiteX391" fmla="*/ 1179024 w 3028217"/>
                <a:gd name="connsiteY391" fmla="*/ 699159 h 2962327"/>
                <a:gd name="connsiteX392" fmla="*/ 1177845 w 3028217"/>
                <a:gd name="connsiteY392" fmla="*/ 699023 h 2962327"/>
                <a:gd name="connsiteX393" fmla="*/ 1166356 w 3028217"/>
                <a:gd name="connsiteY393" fmla="*/ 703443 h 2962327"/>
                <a:gd name="connsiteX394" fmla="*/ 1179024 w 3028217"/>
                <a:gd name="connsiteY394" fmla="*/ 699159 h 2962327"/>
                <a:gd name="connsiteX395" fmla="*/ 1188263 w 3028217"/>
                <a:gd name="connsiteY395" fmla="*/ 700229 h 2962327"/>
                <a:gd name="connsiteX396" fmla="*/ 1207313 w 3028217"/>
                <a:gd name="connsiteY396" fmla="*/ 712016 h 2962327"/>
                <a:gd name="connsiteX397" fmla="*/ 1205051 w 3028217"/>
                <a:gd name="connsiteY397" fmla="*/ 754402 h 2962327"/>
                <a:gd name="connsiteX398" fmla="*/ 1180854 w 3028217"/>
                <a:gd name="connsiteY398" fmla="*/ 787924 h 2962327"/>
                <a:gd name="connsiteX399" fmla="*/ 1187073 w 3028217"/>
                <a:gd name="connsiteY399" fmla="*/ 807504 h 2962327"/>
                <a:gd name="connsiteX400" fmla="*/ 1206361 w 3028217"/>
                <a:gd name="connsiteY400" fmla="*/ 814886 h 2962327"/>
                <a:gd name="connsiteX401" fmla="*/ 1213981 w 3028217"/>
                <a:gd name="connsiteY401" fmla="*/ 828221 h 2962327"/>
                <a:gd name="connsiteX402" fmla="*/ 1172071 w 3028217"/>
                <a:gd name="connsiteY402" fmla="*/ 862511 h 2962327"/>
                <a:gd name="connsiteX403" fmla="*/ 1115874 w 3028217"/>
                <a:gd name="connsiteY403" fmla="*/ 854891 h 2962327"/>
                <a:gd name="connsiteX404" fmla="*/ 1148259 w 3028217"/>
                <a:gd name="connsiteY404" fmla="*/ 807266 h 2962327"/>
                <a:gd name="connsiteX405" fmla="*/ 1173024 w 3028217"/>
                <a:gd name="connsiteY405" fmla="*/ 780596 h 2962327"/>
                <a:gd name="connsiteX406" fmla="*/ 1173125 w 3028217"/>
                <a:gd name="connsiteY406" fmla="*/ 780684 h 2962327"/>
                <a:gd name="connsiteX407" fmla="*/ 1174333 w 3028217"/>
                <a:gd name="connsiteY407" fmla="*/ 770475 h 2962327"/>
                <a:gd name="connsiteX408" fmla="*/ 1163498 w 3028217"/>
                <a:gd name="connsiteY408" fmla="*/ 767261 h 2962327"/>
                <a:gd name="connsiteX409" fmla="*/ 1124446 w 3028217"/>
                <a:gd name="connsiteY409" fmla="*/ 787263 h 2962327"/>
                <a:gd name="connsiteX410" fmla="*/ 1043483 w 3028217"/>
                <a:gd name="connsiteY410" fmla="*/ 789168 h 2962327"/>
                <a:gd name="connsiteX411" fmla="*/ 993953 w 3028217"/>
                <a:gd name="connsiteY411" fmla="*/ 794883 h 2962327"/>
                <a:gd name="connsiteX412" fmla="*/ 959663 w 3028217"/>
                <a:gd name="connsiteY412" fmla="*/ 814886 h 2962327"/>
                <a:gd name="connsiteX413" fmla="*/ 929183 w 3028217"/>
                <a:gd name="connsiteY413" fmla="*/ 839651 h 2962327"/>
                <a:gd name="connsiteX414" fmla="*/ 925100 w 3028217"/>
                <a:gd name="connsiteY414" fmla="*/ 843462 h 2962327"/>
                <a:gd name="connsiteX415" fmla="*/ 915848 w 3028217"/>
                <a:gd name="connsiteY415" fmla="*/ 851081 h 2962327"/>
                <a:gd name="connsiteX416" fmla="*/ 912991 w 3028217"/>
                <a:gd name="connsiteY416" fmla="*/ 851081 h 2962327"/>
                <a:gd name="connsiteX417" fmla="*/ 914896 w 3028217"/>
                <a:gd name="connsiteY417" fmla="*/ 852986 h 2962327"/>
                <a:gd name="connsiteX418" fmla="*/ 925100 w 3028217"/>
                <a:gd name="connsiteY418" fmla="*/ 843462 h 2962327"/>
                <a:gd name="connsiteX419" fmla="*/ 932041 w 3028217"/>
                <a:gd name="connsiteY419" fmla="*/ 837746 h 2962327"/>
                <a:gd name="connsiteX420" fmla="*/ 972998 w 3028217"/>
                <a:gd name="connsiteY420" fmla="*/ 820601 h 2962327"/>
                <a:gd name="connsiteX421" fmla="*/ 992048 w 3028217"/>
                <a:gd name="connsiteY421" fmla="*/ 814886 h 2962327"/>
                <a:gd name="connsiteX422" fmla="*/ 1023481 w 3028217"/>
                <a:gd name="connsiteY422" fmla="*/ 819648 h 2962327"/>
                <a:gd name="connsiteX423" fmla="*/ 1005383 w 3028217"/>
                <a:gd name="connsiteY423" fmla="*/ 842508 h 2962327"/>
                <a:gd name="connsiteX424" fmla="*/ 1006336 w 3028217"/>
                <a:gd name="connsiteY424" fmla="*/ 854891 h 2962327"/>
                <a:gd name="connsiteX425" fmla="*/ 1005383 w 3028217"/>
                <a:gd name="connsiteY425" fmla="*/ 889181 h 2962327"/>
                <a:gd name="connsiteX426" fmla="*/ 984428 w 3028217"/>
                <a:gd name="connsiteY426" fmla="*/ 910136 h 2962327"/>
                <a:gd name="connsiteX427" fmla="*/ 952043 w 3028217"/>
                <a:gd name="connsiteY427" fmla="*/ 916803 h 2962327"/>
                <a:gd name="connsiteX428" fmla="*/ 899656 w 3028217"/>
                <a:gd name="connsiteY428" fmla="*/ 938711 h 2962327"/>
                <a:gd name="connsiteX429" fmla="*/ 855841 w 3028217"/>
                <a:gd name="connsiteY429" fmla="*/ 985383 h 2962327"/>
                <a:gd name="connsiteX430" fmla="*/ 831076 w 3028217"/>
                <a:gd name="connsiteY430" fmla="*/ 1003481 h 2962327"/>
                <a:gd name="connsiteX431" fmla="*/ 738683 w 3028217"/>
                <a:gd name="connsiteY431" fmla="*/ 1081586 h 2962327"/>
                <a:gd name="connsiteX432" fmla="*/ 711061 w 3028217"/>
                <a:gd name="connsiteY432" fmla="*/ 1115876 h 2962327"/>
                <a:gd name="connsiteX433" fmla="*/ 666293 w 3028217"/>
                <a:gd name="connsiteY433" fmla="*/ 1175883 h 2962327"/>
                <a:gd name="connsiteX434" fmla="*/ 585331 w 3028217"/>
                <a:gd name="connsiteY434" fmla="*/ 1230176 h 2962327"/>
                <a:gd name="connsiteX435" fmla="*/ 559613 w 3028217"/>
                <a:gd name="connsiteY435" fmla="*/ 1297803 h 2962327"/>
                <a:gd name="connsiteX436" fmla="*/ 557708 w 3028217"/>
                <a:gd name="connsiteY436" fmla="*/ 1386386 h 2962327"/>
                <a:gd name="connsiteX437" fmla="*/ 542468 w 3028217"/>
                <a:gd name="connsiteY437" fmla="*/ 1407341 h 2962327"/>
                <a:gd name="connsiteX438" fmla="*/ 528181 w 3028217"/>
                <a:gd name="connsiteY438" fmla="*/ 1387338 h 2962327"/>
                <a:gd name="connsiteX439" fmla="*/ 519608 w 3028217"/>
                <a:gd name="connsiteY439" fmla="*/ 1320663 h 2962327"/>
                <a:gd name="connsiteX440" fmla="*/ 488176 w 3028217"/>
                <a:gd name="connsiteY440" fmla="*/ 1283516 h 2962327"/>
                <a:gd name="connsiteX441" fmla="*/ 429121 w 3028217"/>
                <a:gd name="connsiteY441" fmla="*/ 1267323 h 2962327"/>
                <a:gd name="connsiteX442" fmla="*/ 409118 w 3028217"/>
                <a:gd name="connsiteY442" fmla="*/ 1268276 h 2962327"/>
                <a:gd name="connsiteX443" fmla="*/ 336728 w 3028217"/>
                <a:gd name="connsiteY443" fmla="*/ 1284468 h 2962327"/>
                <a:gd name="connsiteX444" fmla="*/ 215761 w 3028217"/>
                <a:gd name="connsiteY444" fmla="*/ 1373051 h 2962327"/>
                <a:gd name="connsiteX445" fmla="*/ 189091 w 3028217"/>
                <a:gd name="connsiteY445" fmla="*/ 1441631 h 2962327"/>
                <a:gd name="connsiteX446" fmla="*/ 196711 w 3028217"/>
                <a:gd name="connsiteY446" fmla="*/ 1544501 h 2962327"/>
                <a:gd name="connsiteX447" fmla="*/ 244336 w 3028217"/>
                <a:gd name="connsiteY447" fmla="*/ 1573076 h 2962327"/>
                <a:gd name="connsiteX448" fmla="*/ 320536 w 3028217"/>
                <a:gd name="connsiteY448" fmla="*/ 1514973 h 2962327"/>
                <a:gd name="connsiteX449" fmla="*/ 387211 w 3028217"/>
                <a:gd name="connsiteY449" fmla="*/ 1494971 h 2962327"/>
                <a:gd name="connsiteX450" fmla="*/ 389116 w 3028217"/>
                <a:gd name="connsiteY450" fmla="*/ 1515926 h 2962327"/>
                <a:gd name="connsiteX451" fmla="*/ 340538 w 3028217"/>
                <a:gd name="connsiteY451" fmla="*/ 1624511 h 2962327"/>
                <a:gd name="connsiteX452" fmla="*/ 354826 w 3028217"/>
                <a:gd name="connsiteY452" fmla="*/ 1644513 h 2962327"/>
                <a:gd name="connsiteX453" fmla="*/ 410071 w 3028217"/>
                <a:gd name="connsiteY453" fmla="*/ 1645466 h 2962327"/>
                <a:gd name="connsiteX454" fmla="*/ 439598 w 3028217"/>
                <a:gd name="connsiteY454" fmla="*/ 1687376 h 2962327"/>
                <a:gd name="connsiteX455" fmla="*/ 426263 w 3028217"/>
                <a:gd name="connsiteY455" fmla="*/ 1743573 h 2962327"/>
                <a:gd name="connsiteX456" fmla="*/ 450076 w 3028217"/>
                <a:gd name="connsiteY456" fmla="*/ 1813106 h 2962327"/>
                <a:gd name="connsiteX457" fmla="*/ 499606 w 3028217"/>
                <a:gd name="connsiteY457" fmla="*/ 1812153 h 2962327"/>
                <a:gd name="connsiteX458" fmla="*/ 536753 w 3028217"/>
                <a:gd name="connsiteY458" fmla="*/ 1818821 h 2962327"/>
                <a:gd name="connsiteX459" fmla="*/ 577711 w 3028217"/>
                <a:gd name="connsiteY459" fmla="*/ 1813106 h 2962327"/>
                <a:gd name="connsiteX460" fmla="*/ 661531 w 3028217"/>
                <a:gd name="connsiteY460" fmla="*/ 1754051 h 2962327"/>
                <a:gd name="connsiteX461" fmla="*/ 672008 w 3028217"/>
                <a:gd name="connsiteY461" fmla="*/ 1763576 h 2962327"/>
                <a:gd name="connsiteX462" fmla="*/ 695821 w 3028217"/>
                <a:gd name="connsiteY462" fmla="*/ 1768338 h 2962327"/>
                <a:gd name="connsiteX463" fmla="*/ 741541 w 3028217"/>
                <a:gd name="connsiteY463" fmla="*/ 1772148 h 2962327"/>
                <a:gd name="connsiteX464" fmla="*/ 832028 w 3028217"/>
                <a:gd name="connsiteY464" fmla="*/ 1788341 h 2962327"/>
                <a:gd name="connsiteX465" fmla="*/ 865366 w 3028217"/>
                <a:gd name="connsiteY465" fmla="*/ 1796913 h 2962327"/>
                <a:gd name="connsiteX466" fmla="*/ 910133 w 3028217"/>
                <a:gd name="connsiteY466" fmla="*/ 1838823 h 2962327"/>
                <a:gd name="connsiteX467" fmla="*/ 1047293 w 3028217"/>
                <a:gd name="connsiteY467" fmla="*/ 1918833 h 2962327"/>
                <a:gd name="connsiteX468" fmla="*/ 1116826 w 3028217"/>
                <a:gd name="connsiteY468" fmla="*/ 2036943 h 2962327"/>
                <a:gd name="connsiteX469" fmla="*/ 1106348 w 3028217"/>
                <a:gd name="connsiteY469" fmla="*/ 2056946 h 2962327"/>
                <a:gd name="connsiteX470" fmla="*/ 1104443 w 3028217"/>
                <a:gd name="connsiteY470" fmla="*/ 2099808 h 2962327"/>
                <a:gd name="connsiteX471" fmla="*/ 1124446 w 3028217"/>
                <a:gd name="connsiteY471" fmla="*/ 2102666 h 2962327"/>
                <a:gd name="connsiteX472" fmla="*/ 1193026 w 3028217"/>
                <a:gd name="connsiteY472" fmla="*/ 2077901 h 2962327"/>
                <a:gd name="connsiteX473" fmla="*/ 1280656 w 3028217"/>
                <a:gd name="connsiteY473" fmla="*/ 2123621 h 2962327"/>
                <a:gd name="connsiteX474" fmla="*/ 1387336 w 3028217"/>
                <a:gd name="connsiteY474" fmla="*/ 2172198 h 2962327"/>
                <a:gd name="connsiteX475" fmla="*/ 1434008 w 3028217"/>
                <a:gd name="connsiteY475" fmla="*/ 2199821 h 2962327"/>
                <a:gd name="connsiteX476" fmla="*/ 1430198 w 3028217"/>
                <a:gd name="connsiteY476" fmla="*/ 2282688 h 2962327"/>
                <a:gd name="connsiteX477" fmla="*/ 1370191 w 3028217"/>
                <a:gd name="connsiteY477" fmla="*/ 2373176 h 2962327"/>
                <a:gd name="connsiteX478" fmla="*/ 1358761 w 3028217"/>
                <a:gd name="connsiteY478" fmla="*/ 2423658 h 2962327"/>
                <a:gd name="connsiteX479" fmla="*/ 1327328 w 3028217"/>
                <a:gd name="connsiteY479" fmla="*/ 2600823 h 2962327"/>
                <a:gd name="connsiteX480" fmla="*/ 1293991 w 3028217"/>
                <a:gd name="connsiteY480" fmla="*/ 2626541 h 2962327"/>
                <a:gd name="connsiteX481" fmla="*/ 1218743 w 3028217"/>
                <a:gd name="connsiteY481" fmla="*/ 2661783 h 2962327"/>
                <a:gd name="connsiteX482" fmla="*/ 1193026 w 3028217"/>
                <a:gd name="connsiteY482" fmla="*/ 2710361 h 2962327"/>
                <a:gd name="connsiteX483" fmla="*/ 1164451 w 3028217"/>
                <a:gd name="connsiteY483" fmla="*/ 2832281 h 2962327"/>
                <a:gd name="connsiteX484" fmla="*/ 1122541 w 3028217"/>
                <a:gd name="connsiteY484" fmla="*/ 2910386 h 2962327"/>
                <a:gd name="connsiteX485" fmla="*/ 1095871 w 3028217"/>
                <a:gd name="connsiteY485" fmla="*/ 2929436 h 2962327"/>
                <a:gd name="connsiteX486" fmla="*/ 1061581 w 3028217"/>
                <a:gd name="connsiteY486" fmla="*/ 2922768 h 2962327"/>
                <a:gd name="connsiteX487" fmla="*/ 1047293 w 3028217"/>
                <a:gd name="connsiteY487" fmla="*/ 2929436 h 2962327"/>
                <a:gd name="connsiteX488" fmla="*/ 1061581 w 3028217"/>
                <a:gd name="connsiteY488" fmla="*/ 2956106 h 2962327"/>
                <a:gd name="connsiteX489" fmla="*/ 1040626 w 3028217"/>
                <a:gd name="connsiteY489" fmla="*/ 2959916 h 2962327"/>
                <a:gd name="connsiteX490" fmla="*/ 783451 w 3028217"/>
                <a:gd name="connsiteY490" fmla="*/ 2850378 h 2962327"/>
                <a:gd name="connsiteX491" fmla="*/ 752971 w 3028217"/>
                <a:gd name="connsiteY491" fmla="*/ 2805611 h 2962327"/>
                <a:gd name="connsiteX492" fmla="*/ 737731 w 3028217"/>
                <a:gd name="connsiteY492" fmla="*/ 2765606 h 2962327"/>
                <a:gd name="connsiteX493" fmla="*/ 721538 w 3028217"/>
                <a:gd name="connsiteY493" fmla="*/ 2564628 h 2962327"/>
                <a:gd name="connsiteX494" fmla="*/ 670103 w 3028217"/>
                <a:gd name="connsiteY494" fmla="*/ 2492238 h 2962327"/>
                <a:gd name="connsiteX495" fmla="*/ 539611 w 3028217"/>
                <a:gd name="connsiteY495" fmla="*/ 2337933 h 2962327"/>
                <a:gd name="connsiteX496" fmla="*/ 473888 w 3028217"/>
                <a:gd name="connsiteY496" fmla="*/ 2221728 h 2962327"/>
                <a:gd name="connsiteX497" fmla="*/ 468173 w 3028217"/>
                <a:gd name="connsiteY497" fmla="*/ 2148386 h 2962327"/>
                <a:gd name="connsiteX498" fmla="*/ 471983 w 3028217"/>
                <a:gd name="connsiteY498" fmla="*/ 2122668 h 2962327"/>
                <a:gd name="connsiteX499" fmla="*/ 493891 w 3028217"/>
                <a:gd name="connsiteY499" fmla="*/ 2021703 h 2962327"/>
                <a:gd name="connsiteX500" fmla="*/ 538658 w 3028217"/>
                <a:gd name="connsiteY500" fmla="*/ 1907403 h 2962327"/>
                <a:gd name="connsiteX501" fmla="*/ 524371 w 3028217"/>
                <a:gd name="connsiteY501" fmla="*/ 1854063 h 2962327"/>
                <a:gd name="connsiteX502" fmla="*/ 499606 w 3028217"/>
                <a:gd name="connsiteY502" fmla="*/ 1853111 h 2962327"/>
                <a:gd name="connsiteX503" fmla="*/ 459601 w 3028217"/>
                <a:gd name="connsiteY503" fmla="*/ 1860731 h 2962327"/>
                <a:gd name="connsiteX504" fmla="*/ 408166 w 3028217"/>
                <a:gd name="connsiteY504" fmla="*/ 1827393 h 2962327"/>
                <a:gd name="connsiteX505" fmla="*/ 354826 w 3028217"/>
                <a:gd name="connsiteY505" fmla="*/ 1742621 h 2962327"/>
                <a:gd name="connsiteX506" fmla="*/ 322441 w 3028217"/>
                <a:gd name="connsiteY506" fmla="*/ 1715951 h 2962327"/>
                <a:gd name="connsiteX507" fmla="*/ 234811 w 3028217"/>
                <a:gd name="connsiteY507" fmla="*/ 1658801 h 2962327"/>
                <a:gd name="connsiteX508" fmla="*/ 206236 w 3028217"/>
                <a:gd name="connsiteY508" fmla="*/ 1644513 h 2962327"/>
                <a:gd name="connsiteX509" fmla="*/ 116701 w 3028217"/>
                <a:gd name="connsiteY509" fmla="*/ 1622606 h 2962327"/>
                <a:gd name="connsiteX510" fmla="*/ 28118 w 3028217"/>
                <a:gd name="connsiteY510" fmla="*/ 1557836 h 2962327"/>
                <a:gd name="connsiteX511" fmla="*/ 12878 w 3028217"/>
                <a:gd name="connsiteY511" fmla="*/ 1499733 h 2962327"/>
                <a:gd name="connsiteX512" fmla="*/ 10021 w 3028217"/>
                <a:gd name="connsiteY512" fmla="*/ 1446393 h 2962327"/>
                <a:gd name="connsiteX513" fmla="*/ 5258 w 3028217"/>
                <a:gd name="connsiteY513" fmla="*/ 1410198 h 2962327"/>
                <a:gd name="connsiteX514" fmla="*/ 45263 w 3028217"/>
                <a:gd name="connsiteY514" fmla="*/ 1105398 h 2962327"/>
                <a:gd name="connsiteX515" fmla="*/ 304343 w 3028217"/>
                <a:gd name="connsiteY515" fmla="*/ 581523 h 2962327"/>
                <a:gd name="connsiteX516" fmla="*/ 548183 w 3028217"/>
                <a:gd name="connsiteY516" fmla="*/ 329111 h 2962327"/>
                <a:gd name="connsiteX517" fmla="*/ 617716 w 3028217"/>
                <a:gd name="connsiteY517" fmla="*/ 317681 h 2962327"/>
                <a:gd name="connsiteX518" fmla="*/ 631051 w 3028217"/>
                <a:gd name="connsiteY518" fmla="*/ 309108 h 2962327"/>
                <a:gd name="connsiteX519" fmla="*/ 692011 w 3028217"/>
                <a:gd name="connsiteY519" fmla="*/ 299583 h 2962327"/>
                <a:gd name="connsiteX520" fmla="*/ 756781 w 3028217"/>
                <a:gd name="connsiteY520" fmla="*/ 316728 h 2962327"/>
                <a:gd name="connsiteX521" fmla="*/ 780593 w 3028217"/>
                <a:gd name="connsiteY521" fmla="*/ 315776 h 2962327"/>
                <a:gd name="connsiteX522" fmla="*/ 797738 w 3028217"/>
                <a:gd name="connsiteY522" fmla="*/ 314823 h 2962327"/>
                <a:gd name="connsiteX523" fmla="*/ 831076 w 3028217"/>
                <a:gd name="connsiteY523" fmla="*/ 316728 h 2962327"/>
                <a:gd name="connsiteX524" fmla="*/ 841553 w 3028217"/>
                <a:gd name="connsiteY524" fmla="*/ 277676 h 2962327"/>
                <a:gd name="connsiteX525" fmla="*/ 852031 w 3028217"/>
                <a:gd name="connsiteY525" fmla="*/ 259578 h 2962327"/>
                <a:gd name="connsiteX526" fmla="*/ 867152 w 3028217"/>
                <a:gd name="connsiteY526" fmla="*/ 248624 h 2962327"/>
                <a:gd name="connsiteX527" fmla="*/ 876026 w 3028217"/>
                <a:gd name="connsiteY527" fmla="*/ 238011 h 2962327"/>
                <a:gd name="connsiteX528" fmla="*/ 858921 w 3028217"/>
                <a:gd name="connsiteY528" fmla="*/ 241392 h 2962327"/>
                <a:gd name="connsiteX529" fmla="*/ 821551 w 3028217"/>
                <a:gd name="connsiteY529" fmla="*/ 210048 h 2962327"/>
                <a:gd name="connsiteX530" fmla="*/ 857746 w 3028217"/>
                <a:gd name="connsiteY530" fmla="*/ 190998 h 2962327"/>
                <a:gd name="connsiteX531" fmla="*/ 873343 w 3028217"/>
                <a:gd name="connsiteY531" fmla="*/ 184331 h 2962327"/>
                <a:gd name="connsiteX532" fmla="*/ 798215 w 3028217"/>
                <a:gd name="connsiteY532" fmla="*/ 181949 h 2962327"/>
                <a:gd name="connsiteX533" fmla="*/ 805359 w 3028217"/>
                <a:gd name="connsiteY533" fmla="*/ 187188 h 2962327"/>
                <a:gd name="connsiteX534" fmla="*/ 795834 w 3028217"/>
                <a:gd name="connsiteY534" fmla="*/ 196713 h 2962327"/>
                <a:gd name="connsiteX535" fmla="*/ 788214 w 3028217"/>
                <a:gd name="connsiteY535" fmla="*/ 182426 h 2962327"/>
                <a:gd name="connsiteX536" fmla="*/ 798215 w 3028217"/>
                <a:gd name="connsiteY536" fmla="*/ 181949 h 2962327"/>
                <a:gd name="connsiteX537" fmla="*/ 938708 w 3028217"/>
                <a:gd name="connsiteY537" fmla="*/ 121466 h 2962327"/>
                <a:gd name="connsiteX538" fmla="*/ 952043 w 3028217"/>
                <a:gd name="connsiteY538" fmla="*/ 141468 h 2962327"/>
                <a:gd name="connsiteX539" fmla="*/ 951037 w 3028217"/>
                <a:gd name="connsiteY539" fmla="*/ 142501 h 2962327"/>
                <a:gd name="connsiteX540" fmla="*/ 953949 w 3028217"/>
                <a:gd name="connsiteY540" fmla="*/ 140516 h 2962327"/>
                <a:gd name="connsiteX541" fmla="*/ 952996 w 3028217"/>
                <a:gd name="connsiteY541" fmla="*/ 148136 h 2962327"/>
                <a:gd name="connsiteX542" fmla="*/ 952996 w 3028217"/>
                <a:gd name="connsiteY542" fmla="*/ 169091 h 2962327"/>
                <a:gd name="connsiteX543" fmla="*/ 944424 w 3028217"/>
                <a:gd name="connsiteY543" fmla="*/ 159804 h 2962327"/>
                <a:gd name="connsiteX544" fmla="*/ 933131 w 3028217"/>
                <a:gd name="connsiteY544" fmla="*/ 154863 h 2962327"/>
                <a:gd name="connsiteX545" fmla="*/ 931088 w 3028217"/>
                <a:gd name="connsiteY545" fmla="*/ 155756 h 2962327"/>
                <a:gd name="connsiteX546" fmla="*/ 930136 w 3028217"/>
                <a:gd name="connsiteY546" fmla="*/ 155756 h 2962327"/>
                <a:gd name="connsiteX547" fmla="*/ 918706 w 3028217"/>
                <a:gd name="connsiteY547" fmla="*/ 144326 h 2962327"/>
                <a:gd name="connsiteX548" fmla="*/ 931088 w 3028217"/>
                <a:gd name="connsiteY548" fmla="*/ 122418 h 2962327"/>
                <a:gd name="connsiteX549" fmla="*/ 938708 w 3028217"/>
                <a:gd name="connsiteY549" fmla="*/ 121466 h 2962327"/>
                <a:gd name="connsiteX550" fmla="*/ 925373 w 3028217"/>
                <a:gd name="connsiteY550" fmla="*/ 107178 h 2962327"/>
                <a:gd name="connsiteX551" fmla="*/ 938708 w 3028217"/>
                <a:gd name="connsiteY551" fmla="*/ 121465 h 2962327"/>
                <a:gd name="connsiteX552" fmla="*/ 935851 w 3028217"/>
                <a:gd name="connsiteY552" fmla="*/ 121465 h 2962327"/>
                <a:gd name="connsiteX553" fmla="*/ 932993 w 3028217"/>
                <a:gd name="connsiteY553" fmla="*/ 121465 h 2962327"/>
                <a:gd name="connsiteX554" fmla="*/ 901561 w 3028217"/>
                <a:gd name="connsiteY554" fmla="*/ 123370 h 2962327"/>
                <a:gd name="connsiteX555" fmla="*/ 925373 w 3028217"/>
                <a:gd name="connsiteY555" fmla="*/ 107178 h 2962327"/>
                <a:gd name="connsiteX556" fmla="*/ 1021576 w 3028217"/>
                <a:gd name="connsiteY556" fmla="*/ 71936 h 2962327"/>
                <a:gd name="connsiteX557" fmla="*/ 1031101 w 3028217"/>
                <a:gd name="connsiteY557" fmla="*/ 97653 h 2962327"/>
                <a:gd name="connsiteX558" fmla="*/ 1000621 w 3028217"/>
                <a:gd name="connsiteY558" fmla="*/ 92891 h 2962327"/>
                <a:gd name="connsiteX559" fmla="*/ 1007288 w 3028217"/>
                <a:gd name="connsiteY559" fmla="*/ 79556 h 2962327"/>
                <a:gd name="connsiteX560" fmla="*/ 1021576 w 3028217"/>
                <a:gd name="connsiteY560" fmla="*/ 71936 h 2962327"/>
                <a:gd name="connsiteX561" fmla="*/ 1113849 w 3028217"/>
                <a:gd name="connsiteY561" fmla="*/ 40265 h 2962327"/>
                <a:gd name="connsiteX562" fmla="*/ 1159689 w 3028217"/>
                <a:gd name="connsiteY562" fmla="*/ 51933 h 2962327"/>
                <a:gd name="connsiteX563" fmla="*/ 1151116 w 3028217"/>
                <a:gd name="connsiteY563" fmla="*/ 84318 h 2962327"/>
                <a:gd name="connsiteX564" fmla="*/ 1111111 w 3028217"/>
                <a:gd name="connsiteY564" fmla="*/ 92891 h 2962327"/>
                <a:gd name="connsiteX565" fmla="*/ 1070153 w 3028217"/>
                <a:gd name="connsiteY565" fmla="*/ 58601 h 2962327"/>
                <a:gd name="connsiteX566" fmla="*/ 1113849 w 3028217"/>
                <a:gd name="connsiteY566" fmla="*/ 40265 h 2962327"/>
                <a:gd name="connsiteX567" fmla="*/ 1400760 w 3028217"/>
                <a:gd name="connsiteY567" fmla="*/ 96 h 2962327"/>
                <a:gd name="connsiteX568" fmla="*/ 1476871 w 3028217"/>
                <a:gd name="connsiteY568" fmla="*/ 5260 h 2962327"/>
                <a:gd name="connsiteX569" fmla="*/ 1611174 w 3028217"/>
                <a:gd name="connsiteY569" fmla="*/ 9070 h 2962327"/>
                <a:gd name="connsiteX570" fmla="*/ 1619746 w 3028217"/>
                <a:gd name="connsiteY570" fmla="*/ 17643 h 2962327"/>
                <a:gd name="connsiteX571" fmla="*/ 1646416 w 3028217"/>
                <a:gd name="connsiteY571" fmla="*/ 28120 h 2962327"/>
                <a:gd name="connsiteX572" fmla="*/ 1667371 w 3028217"/>
                <a:gd name="connsiteY572" fmla="*/ 31930 h 2962327"/>
                <a:gd name="connsiteX573" fmla="*/ 1742261 w 3028217"/>
                <a:gd name="connsiteY573" fmla="*/ 11690 h 2962327"/>
                <a:gd name="connsiteX574" fmla="*/ 1820723 w 3028217"/>
                <a:gd name="connsiteY574" fmla="*/ 30025 h 2962327"/>
                <a:gd name="connsiteX575" fmla="*/ 1901686 w 3028217"/>
                <a:gd name="connsiteY575" fmla="*/ 45265 h 2962327"/>
                <a:gd name="connsiteX576" fmla="*/ 1894066 w 3028217"/>
                <a:gd name="connsiteY576" fmla="*/ 69078 h 2962327"/>
                <a:gd name="connsiteX577" fmla="*/ 1955978 w 3028217"/>
                <a:gd name="connsiteY577" fmla="*/ 55743 h 2962327"/>
                <a:gd name="connsiteX578" fmla="*/ 1954073 w 3028217"/>
                <a:gd name="connsiteY578" fmla="*/ 71935 h 2962327"/>
                <a:gd name="connsiteX579" fmla="*/ 1935976 w 3028217"/>
                <a:gd name="connsiteY579" fmla="*/ 103368 h 2962327"/>
                <a:gd name="connsiteX580" fmla="*/ 1949311 w 3028217"/>
                <a:gd name="connsiteY580" fmla="*/ 161470 h 2962327"/>
                <a:gd name="connsiteX581" fmla="*/ 1894066 w 3028217"/>
                <a:gd name="connsiteY581" fmla="*/ 171948 h 2962327"/>
                <a:gd name="connsiteX582" fmla="*/ 1913116 w 3028217"/>
                <a:gd name="connsiteY582" fmla="*/ 183378 h 2962327"/>
                <a:gd name="connsiteX583" fmla="*/ 1907401 w 3028217"/>
                <a:gd name="connsiteY583" fmla="*/ 196713 h 2962327"/>
                <a:gd name="connsiteX584" fmla="*/ 1873111 w 3028217"/>
                <a:gd name="connsiteY584" fmla="*/ 245290 h 2962327"/>
                <a:gd name="connsiteX585" fmla="*/ 1866443 w 3028217"/>
                <a:gd name="connsiteY585" fmla="*/ 267198 h 2962327"/>
                <a:gd name="connsiteX586" fmla="*/ 1851203 w 3028217"/>
                <a:gd name="connsiteY586" fmla="*/ 270055 h 2962327"/>
                <a:gd name="connsiteX587" fmla="*/ 1866443 w 3028217"/>
                <a:gd name="connsiteY587" fmla="*/ 313870 h 2962327"/>
                <a:gd name="connsiteX588" fmla="*/ 1843583 w 3028217"/>
                <a:gd name="connsiteY588" fmla="*/ 319585 h 2962327"/>
                <a:gd name="connsiteX589" fmla="*/ 1819771 w 3028217"/>
                <a:gd name="connsiteY589" fmla="*/ 300535 h 2962327"/>
                <a:gd name="connsiteX590" fmla="*/ 1788338 w 3028217"/>
                <a:gd name="connsiteY590" fmla="*/ 313870 h 2962327"/>
                <a:gd name="connsiteX591" fmla="*/ 1800721 w 3028217"/>
                <a:gd name="connsiteY591" fmla="*/ 315775 h 2962327"/>
                <a:gd name="connsiteX592" fmla="*/ 1823581 w 3028217"/>
                <a:gd name="connsiteY592" fmla="*/ 314823 h 2962327"/>
                <a:gd name="connsiteX593" fmla="*/ 1833106 w 3028217"/>
                <a:gd name="connsiteY593" fmla="*/ 317680 h 2962327"/>
                <a:gd name="connsiteX594" fmla="*/ 1838821 w 3028217"/>
                <a:gd name="connsiteY594" fmla="*/ 334825 h 2962327"/>
                <a:gd name="connsiteX595" fmla="*/ 1715948 w 3028217"/>
                <a:gd name="connsiteY595" fmla="*/ 370068 h 2962327"/>
                <a:gd name="connsiteX596" fmla="*/ 1691183 w 3028217"/>
                <a:gd name="connsiteY596" fmla="*/ 379593 h 2962327"/>
                <a:gd name="connsiteX597" fmla="*/ 1586408 w 3028217"/>
                <a:gd name="connsiteY597" fmla="*/ 430075 h 2962327"/>
                <a:gd name="connsiteX598" fmla="*/ 1542593 w 3028217"/>
                <a:gd name="connsiteY598" fmla="*/ 468175 h 2962327"/>
                <a:gd name="connsiteX599" fmla="*/ 1480681 w 3028217"/>
                <a:gd name="connsiteY599" fmla="*/ 555805 h 2962327"/>
                <a:gd name="connsiteX600" fmla="*/ 1462583 w 3028217"/>
                <a:gd name="connsiteY600" fmla="*/ 562473 h 2962327"/>
                <a:gd name="connsiteX601" fmla="*/ 1385431 w 3028217"/>
                <a:gd name="connsiteY601" fmla="*/ 462460 h 2962327"/>
                <a:gd name="connsiteX602" fmla="*/ 1379716 w 3028217"/>
                <a:gd name="connsiteY602" fmla="*/ 398643 h 2962327"/>
                <a:gd name="connsiteX603" fmla="*/ 1441628 w 3028217"/>
                <a:gd name="connsiteY603" fmla="*/ 335778 h 2962327"/>
                <a:gd name="connsiteX604" fmla="*/ 1449248 w 3028217"/>
                <a:gd name="connsiteY604" fmla="*/ 321490 h 2962327"/>
                <a:gd name="connsiteX605" fmla="*/ 1461631 w 3028217"/>
                <a:gd name="connsiteY605" fmla="*/ 300535 h 2962327"/>
                <a:gd name="connsiteX606" fmla="*/ 1412101 w 3028217"/>
                <a:gd name="connsiteY606" fmla="*/ 280533 h 2962327"/>
                <a:gd name="connsiteX607" fmla="*/ 1434961 w 3028217"/>
                <a:gd name="connsiteY607" fmla="*/ 215763 h 2962327"/>
                <a:gd name="connsiteX608" fmla="*/ 1371143 w 3028217"/>
                <a:gd name="connsiteY608" fmla="*/ 160518 h 2962327"/>
                <a:gd name="connsiteX609" fmla="*/ 1331138 w 3028217"/>
                <a:gd name="connsiteY609" fmla="*/ 162423 h 2962327"/>
                <a:gd name="connsiteX610" fmla="*/ 1303516 w 3028217"/>
                <a:gd name="connsiteY610" fmla="*/ 150040 h 2962327"/>
                <a:gd name="connsiteX611" fmla="*/ 1313993 w 3028217"/>
                <a:gd name="connsiteY611" fmla="*/ 130038 h 2962327"/>
                <a:gd name="connsiteX612" fmla="*/ 1313041 w 3028217"/>
                <a:gd name="connsiteY612" fmla="*/ 121465 h 2962327"/>
                <a:gd name="connsiteX613" fmla="*/ 1323518 w 3028217"/>
                <a:gd name="connsiteY613" fmla="*/ 96700 h 2962327"/>
                <a:gd name="connsiteX614" fmla="*/ 1387336 w 3028217"/>
                <a:gd name="connsiteY614" fmla="*/ 88128 h 2962327"/>
                <a:gd name="connsiteX615" fmla="*/ 1394003 w 3028217"/>
                <a:gd name="connsiteY615" fmla="*/ 68125 h 2962327"/>
                <a:gd name="connsiteX616" fmla="*/ 1445438 w 3028217"/>
                <a:gd name="connsiteY616" fmla="*/ 41455 h 2962327"/>
                <a:gd name="connsiteX617" fmla="*/ 1471104 w 3028217"/>
                <a:gd name="connsiteY617" fmla="*/ 35589 h 2962327"/>
                <a:gd name="connsiteX618" fmla="*/ 1469608 w 3028217"/>
                <a:gd name="connsiteY618" fmla="*/ 35026 h 2962327"/>
                <a:gd name="connsiteX619" fmla="*/ 1456869 w 3028217"/>
                <a:gd name="connsiteY619" fmla="*/ 34788 h 2962327"/>
                <a:gd name="connsiteX620" fmla="*/ 1365429 w 3028217"/>
                <a:gd name="connsiteY620" fmla="*/ 60505 h 2962327"/>
                <a:gd name="connsiteX621" fmla="*/ 1208266 w 3028217"/>
                <a:gd name="connsiteY621" fmla="*/ 122418 h 2962327"/>
                <a:gd name="connsiteX622" fmla="*/ 1175881 w 3028217"/>
                <a:gd name="connsiteY622" fmla="*/ 122418 h 2962327"/>
                <a:gd name="connsiteX623" fmla="*/ 1187311 w 3028217"/>
                <a:gd name="connsiteY623" fmla="*/ 142420 h 2962327"/>
                <a:gd name="connsiteX624" fmla="*/ 1180644 w 3028217"/>
                <a:gd name="connsiteY624" fmla="*/ 149088 h 2962327"/>
                <a:gd name="connsiteX625" fmla="*/ 1158647 w 3028217"/>
                <a:gd name="connsiteY625" fmla="*/ 153642 h 2962327"/>
                <a:gd name="connsiteX626" fmla="*/ 1143520 w 3028217"/>
                <a:gd name="connsiteY626" fmla="*/ 152466 h 2962327"/>
                <a:gd name="connsiteX627" fmla="*/ 1148259 w 3028217"/>
                <a:gd name="connsiteY627" fmla="*/ 153731 h 2962327"/>
                <a:gd name="connsiteX628" fmla="*/ 1152069 w 3028217"/>
                <a:gd name="connsiteY628" fmla="*/ 175758 h 2962327"/>
                <a:gd name="connsiteX629" fmla="*/ 1029196 w 3028217"/>
                <a:gd name="connsiteY629" fmla="*/ 182425 h 2962327"/>
                <a:gd name="connsiteX630" fmla="*/ 1006336 w 3028217"/>
                <a:gd name="connsiteY630" fmla="*/ 148135 h 2962327"/>
                <a:gd name="connsiteX631" fmla="*/ 995859 w 3028217"/>
                <a:gd name="connsiteY631" fmla="*/ 134800 h 2962327"/>
                <a:gd name="connsiteX632" fmla="*/ 987286 w 3028217"/>
                <a:gd name="connsiteY632" fmla="*/ 114798 h 2962327"/>
                <a:gd name="connsiteX633" fmla="*/ 1049199 w 3028217"/>
                <a:gd name="connsiteY633" fmla="*/ 134800 h 2962327"/>
                <a:gd name="connsiteX634" fmla="*/ 1064439 w 3028217"/>
                <a:gd name="connsiteY634" fmla="*/ 149088 h 2962327"/>
                <a:gd name="connsiteX635" fmla="*/ 1095871 w 3028217"/>
                <a:gd name="connsiteY635" fmla="*/ 149326 h 2962327"/>
                <a:gd name="connsiteX636" fmla="*/ 1106484 w 3028217"/>
                <a:gd name="connsiteY636" fmla="*/ 148924 h 2962327"/>
                <a:gd name="connsiteX637" fmla="*/ 1093014 w 3028217"/>
                <a:gd name="connsiteY637" fmla="*/ 149088 h 2962327"/>
                <a:gd name="connsiteX638" fmla="*/ 1062534 w 3028217"/>
                <a:gd name="connsiteY638" fmla="*/ 131943 h 2962327"/>
                <a:gd name="connsiteX639" fmla="*/ 1133971 w 3028217"/>
                <a:gd name="connsiteY639" fmla="*/ 110988 h 2962327"/>
                <a:gd name="connsiteX640" fmla="*/ 1158736 w 3028217"/>
                <a:gd name="connsiteY640" fmla="*/ 88128 h 2962327"/>
                <a:gd name="connsiteX641" fmla="*/ 1173024 w 3028217"/>
                <a:gd name="connsiteY641" fmla="*/ 73840 h 2962327"/>
                <a:gd name="connsiteX642" fmla="*/ 1214934 w 3028217"/>
                <a:gd name="connsiteY642" fmla="*/ 54790 h 2962327"/>
                <a:gd name="connsiteX643" fmla="*/ 1275894 w 3028217"/>
                <a:gd name="connsiteY643" fmla="*/ 44313 h 2962327"/>
                <a:gd name="connsiteX644" fmla="*/ 1211124 w 3028217"/>
                <a:gd name="connsiteY644" fmla="*/ 51933 h 2962327"/>
                <a:gd name="connsiteX645" fmla="*/ 1174929 w 3028217"/>
                <a:gd name="connsiteY645" fmla="*/ 39550 h 2962327"/>
                <a:gd name="connsiteX646" fmla="*/ 1174929 w 3028217"/>
                <a:gd name="connsiteY646" fmla="*/ 26215 h 2962327"/>
                <a:gd name="connsiteX647" fmla="*/ 1400760 w 3028217"/>
                <a:gd name="connsiteY647" fmla="*/ 96 h 29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</a:cxnLst>
              <a:rect l="l" t="t" r="r" b="b"/>
              <a:pathLst>
                <a:path w="3028217" h="2962327">
                  <a:moveTo>
                    <a:pt x="2863236" y="2049564"/>
                  </a:moveTo>
                  <a:cubicBezTo>
                    <a:pt x="2854902" y="2049564"/>
                    <a:pt x="2847996" y="2053612"/>
                    <a:pt x="2844662" y="2065518"/>
                  </a:cubicBezTo>
                  <a:cubicBezTo>
                    <a:pt x="2840852" y="2080758"/>
                    <a:pt x="2821802" y="2104571"/>
                    <a:pt x="2847519" y="2116953"/>
                  </a:cubicBezTo>
                  <a:cubicBezTo>
                    <a:pt x="2878000" y="2131241"/>
                    <a:pt x="2877047" y="2098856"/>
                    <a:pt x="2887525" y="2084568"/>
                  </a:cubicBezTo>
                  <a:cubicBezTo>
                    <a:pt x="2888477" y="2083616"/>
                    <a:pt x="2889430" y="2080758"/>
                    <a:pt x="2890382" y="2078853"/>
                  </a:cubicBezTo>
                  <a:cubicBezTo>
                    <a:pt x="2895144" y="2071233"/>
                    <a:pt x="2896097" y="2064566"/>
                    <a:pt x="2890382" y="2057898"/>
                  </a:cubicBezTo>
                  <a:cubicBezTo>
                    <a:pt x="2881334" y="2053612"/>
                    <a:pt x="2871571" y="2049564"/>
                    <a:pt x="2863236" y="2049564"/>
                  </a:cubicBezTo>
                  <a:close/>
                  <a:moveTo>
                    <a:pt x="2453184" y="1703568"/>
                  </a:moveTo>
                  <a:cubicBezTo>
                    <a:pt x="2446516" y="1700711"/>
                    <a:pt x="2442706" y="1708331"/>
                    <a:pt x="2444611" y="1714046"/>
                  </a:cubicBezTo>
                  <a:cubicBezTo>
                    <a:pt x="2448421" y="1725476"/>
                    <a:pt x="2452231" y="1738811"/>
                    <a:pt x="2467471" y="1740716"/>
                  </a:cubicBezTo>
                  <a:cubicBezTo>
                    <a:pt x="2475091" y="1741668"/>
                    <a:pt x="2480806" y="1736906"/>
                    <a:pt x="2482711" y="1728333"/>
                  </a:cubicBezTo>
                  <a:cubicBezTo>
                    <a:pt x="2473186" y="1720713"/>
                    <a:pt x="2463661" y="1710236"/>
                    <a:pt x="2453184" y="1703568"/>
                  </a:cubicBezTo>
                  <a:close/>
                  <a:moveTo>
                    <a:pt x="802501" y="1583553"/>
                  </a:moveTo>
                  <a:cubicBezTo>
                    <a:pt x="805359" y="1585458"/>
                    <a:pt x="811074" y="1586410"/>
                    <a:pt x="812026" y="1589268"/>
                  </a:cubicBezTo>
                  <a:cubicBezTo>
                    <a:pt x="814884" y="1596888"/>
                    <a:pt x="807264" y="1597840"/>
                    <a:pt x="802501" y="1599745"/>
                  </a:cubicBezTo>
                  <a:cubicBezTo>
                    <a:pt x="797739" y="1601650"/>
                    <a:pt x="792976" y="1598793"/>
                    <a:pt x="792024" y="1594030"/>
                  </a:cubicBezTo>
                  <a:cubicBezTo>
                    <a:pt x="788214" y="1586410"/>
                    <a:pt x="794881" y="1585458"/>
                    <a:pt x="802501" y="1583553"/>
                  </a:cubicBezTo>
                  <a:close/>
                  <a:moveTo>
                    <a:pt x="573901" y="1577838"/>
                  </a:moveTo>
                  <a:cubicBezTo>
                    <a:pt x="581521" y="1579743"/>
                    <a:pt x="588189" y="1582600"/>
                    <a:pt x="592951" y="1589268"/>
                  </a:cubicBezTo>
                  <a:cubicBezTo>
                    <a:pt x="592951" y="1594982"/>
                    <a:pt x="589141" y="1596888"/>
                    <a:pt x="584379" y="1596888"/>
                  </a:cubicBezTo>
                  <a:cubicBezTo>
                    <a:pt x="575806" y="1597840"/>
                    <a:pt x="568186" y="1595935"/>
                    <a:pt x="565329" y="1587363"/>
                  </a:cubicBezTo>
                  <a:cubicBezTo>
                    <a:pt x="562471" y="1580695"/>
                    <a:pt x="568186" y="1576885"/>
                    <a:pt x="573901" y="1577838"/>
                  </a:cubicBezTo>
                  <a:close/>
                  <a:moveTo>
                    <a:pt x="698678" y="1550216"/>
                  </a:moveTo>
                  <a:cubicBezTo>
                    <a:pt x="729158" y="1545453"/>
                    <a:pt x="746303" y="1560693"/>
                    <a:pt x="763448" y="1592126"/>
                  </a:cubicBezTo>
                  <a:cubicBezTo>
                    <a:pt x="731063" y="1576886"/>
                    <a:pt x="706298" y="1611176"/>
                    <a:pt x="678676" y="1592126"/>
                  </a:cubicBezTo>
                  <a:cubicBezTo>
                    <a:pt x="675818" y="1573076"/>
                    <a:pt x="667246" y="1551168"/>
                    <a:pt x="698678" y="1550216"/>
                  </a:cubicBezTo>
                  <a:close/>
                  <a:moveTo>
                    <a:pt x="492939" y="1460681"/>
                  </a:moveTo>
                  <a:cubicBezTo>
                    <a:pt x="518656" y="1456871"/>
                    <a:pt x="541516" y="1464491"/>
                    <a:pt x="562471" y="1479731"/>
                  </a:cubicBezTo>
                  <a:cubicBezTo>
                    <a:pt x="590094" y="1499733"/>
                    <a:pt x="618669" y="1515926"/>
                    <a:pt x="646291" y="1537833"/>
                  </a:cubicBezTo>
                  <a:cubicBezTo>
                    <a:pt x="620574" y="1545453"/>
                    <a:pt x="593904" y="1560693"/>
                    <a:pt x="577711" y="1525451"/>
                  </a:cubicBezTo>
                  <a:cubicBezTo>
                    <a:pt x="567234" y="1503543"/>
                    <a:pt x="541516" y="1503543"/>
                    <a:pt x="527229" y="1487351"/>
                  </a:cubicBezTo>
                  <a:lnTo>
                    <a:pt x="525032" y="1486533"/>
                  </a:lnTo>
                  <a:lnTo>
                    <a:pt x="527229" y="1488303"/>
                  </a:lnTo>
                  <a:cubicBezTo>
                    <a:pt x="502464" y="1486398"/>
                    <a:pt x="475794" y="1465443"/>
                    <a:pt x="451029" y="1494971"/>
                  </a:cubicBezTo>
                  <a:cubicBezTo>
                    <a:pt x="453886" y="1467348"/>
                    <a:pt x="471984" y="1461633"/>
                    <a:pt x="492939" y="1460681"/>
                  </a:cubicBezTo>
                  <a:close/>
                  <a:moveTo>
                    <a:pt x="592475" y="1413889"/>
                  </a:moveTo>
                  <a:cubicBezTo>
                    <a:pt x="594380" y="1414008"/>
                    <a:pt x="596285" y="1414485"/>
                    <a:pt x="596761" y="1414961"/>
                  </a:cubicBezTo>
                  <a:cubicBezTo>
                    <a:pt x="605334" y="1423533"/>
                    <a:pt x="603428" y="1433058"/>
                    <a:pt x="595809" y="1447346"/>
                  </a:cubicBezTo>
                  <a:cubicBezTo>
                    <a:pt x="589141" y="1434011"/>
                    <a:pt x="579616" y="1426391"/>
                    <a:pt x="588189" y="1414961"/>
                  </a:cubicBezTo>
                  <a:cubicBezTo>
                    <a:pt x="588665" y="1414009"/>
                    <a:pt x="590570" y="1413770"/>
                    <a:pt x="592475" y="1413889"/>
                  </a:cubicBezTo>
                  <a:close/>
                  <a:moveTo>
                    <a:pt x="2633206" y="1174931"/>
                  </a:moveTo>
                  <a:cubicBezTo>
                    <a:pt x="2646541" y="1176836"/>
                    <a:pt x="2659876" y="1178741"/>
                    <a:pt x="2673211" y="1180646"/>
                  </a:cubicBezTo>
                  <a:cubicBezTo>
                    <a:pt x="2657018" y="1197791"/>
                    <a:pt x="2645588" y="1186361"/>
                    <a:pt x="2633206" y="1174931"/>
                  </a:cubicBezTo>
                  <a:close/>
                  <a:moveTo>
                    <a:pt x="2477948" y="1095873"/>
                  </a:moveTo>
                  <a:cubicBezTo>
                    <a:pt x="2477948" y="1101588"/>
                    <a:pt x="2478901" y="1106350"/>
                    <a:pt x="2484616" y="1110160"/>
                  </a:cubicBezTo>
                  <a:cubicBezTo>
                    <a:pt x="2478901" y="1119685"/>
                    <a:pt x="2464613" y="1121590"/>
                    <a:pt x="2464613" y="1135878"/>
                  </a:cubicBezTo>
                  <a:cubicBezTo>
                    <a:pt x="2464613" y="1153023"/>
                    <a:pt x="2454136" y="1151118"/>
                    <a:pt x="2444611" y="1144450"/>
                  </a:cubicBezTo>
                  <a:cubicBezTo>
                    <a:pt x="2434133" y="1136830"/>
                    <a:pt x="2413178" y="1133020"/>
                    <a:pt x="2415083" y="1119685"/>
                  </a:cubicBezTo>
                  <a:cubicBezTo>
                    <a:pt x="2417941" y="1101588"/>
                    <a:pt x="2436038" y="1116828"/>
                    <a:pt x="2446516" y="1114923"/>
                  </a:cubicBezTo>
                  <a:cubicBezTo>
                    <a:pt x="2458898" y="1112065"/>
                    <a:pt x="2470329" y="1106350"/>
                    <a:pt x="2477948" y="1095873"/>
                  </a:cubicBezTo>
                  <a:close/>
                  <a:moveTo>
                    <a:pt x="2344599" y="1039676"/>
                  </a:moveTo>
                  <a:cubicBezTo>
                    <a:pt x="2358886" y="1039676"/>
                    <a:pt x="2352219" y="1056821"/>
                    <a:pt x="2355076" y="1066346"/>
                  </a:cubicBezTo>
                  <a:cubicBezTo>
                    <a:pt x="2354124" y="1077776"/>
                    <a:pt x="2356981" y="1093016"/>
                    <a:pt x="2341741" y="1092063"/>
                  </a:cubicBezTo>
                  <a:cubicBezTo>
                    <a:pt x="2328406" y="1091111"/>
                    <a:pt x="2329359" y="1075871"/>
                    <a:pt x="2328406" y="1065393"/>
                  </a:cubicBezTo>
                  <a:cubicBezTo>
                    <a:pt x="2327454" y="1053011"/>
                    <a:pt x="2331264" y="1039676"/>
                    <a:pt x="2344599" y="1039676"/>
                  </a:cubicBezTo>
                  <a:close/>
                  <a:moveTo>
                    <a:pt x="699631" y="966334"/>
                  </a:moveTo>
                  <a:cubicBezTo>
                    <a:pt x="671056" y="960619"/>
                    <a:pt x="648196" y="971096"/>
                    <a:pt x="616764" y="992051"/>
                  </a:cubicBezTo>
                  <a:cubicBezTo>
                    <a:pt x="652959" y="990146"/>
                    <a:pt x="677724" y="983478"/>
                    <a:pt x="699631" y="966334"/>
                  </a:cubicBezTo>
                  <a:close/>
                  <a:moveTo>
                    <a:pt x="2786559" y="938711"/>
                  </a:moveTo>
                  <a:cubicBezTo>
                    <a:pt x="2796084" y="944426"/>
                    <a:pt x="2804656" y="939663"/>
                    <a:pt x="2814181" y="938711"/>
                  </a:cubicBezTo>
                  <a:cubicBezTo>
                    <a:pt x="2814181" y="940616"/>
                    <a:pt x="2814181" y="943473"/>
                    <a:pt x="2814181" y="945378"/>
                  </a:cubicBezTo>
                  <a:cubicBezTo>
                    <a:pt x="2803704" y="949188"/>
                    <a:pt x="2791321" y="959666"/>
                    <a:pt x="2786559" y="938711"/>
                  </a:cubicBezTo>
                  <a:close/>
                  <a:moveTo>
                    <a:pt x="737731" y="935019"/>
                  </a:moveTo>
                  <a:cubicBezTo>
                    <a:pt x="726540" y="936091"/>
                    <a:pt x="714872" y="940139"/>
                    <a:pt x="702489" y="951093"/>
                  </a:cubicBezTo>
                  <a:cubicBezTo>
                    <a:pt x="731064" y="951093"/>
                    <a:pt x="753924" y="958713"/>
                    <a:pt x="770116" y="936805"/>
                  </a:cubicBezTo>
                  <a:cubicBezTo>
                    <a:pt x="759639" y="935853"/>
                    <a:pt x="748923" y="933948"/>
                    <a:pt x="737731" y="935019"/>
                  </a:cubicBezTo>
                  <a:close/>
                  <a:moveTo>
                    <a:pt x="619383" y="880251"/>
                  </a:moveTo>
                  <a:cubicBezTo>
                    <a:pt x="616526" y="879417"/>
                    <a:pt x="612477" y="880608"/>
                    <a:pt x="608191" y="882513"/>
                  </a:cubicBezTo>
                  <a:cubicBezTo>
                    <a:pt x="589141" y="887276"/>
                    <a:pt x="539611" y="951093"/>
                    <a:pt x="541516" y="968238"/>
                  </a:cubicBezTo>
                  <a:cubicBezTo>
                    <a:pt x="543421" y="979668"/>
                    <a:pt x="550089" y="980621"/>
                    <a:pt x="558661" y="975858"/>
                  </a:cubicBezTo>
                  <a:cubicBezTo>
                    <a:pt x="569139" y="970143"/>
                    <a:pt x="576759" y="960618"/>
                    <a:pt x="578664" y="949188"/>
                  </a:cubicBezTo>
                  <a:cubicBezTo>
                    <a:pt x="582474" y="920613"/>
                    <a:pt x="601524" y="904421"/>
                    <a:pt x="623431" y="890133"/>
                  </a:cubicBezTo>
                  <a:cubicBezTo>
                    <a:pt x="623907" y="883942"/>
                    <a:pt x="622241" y="881084"/>
                    <a:pt x="619383" y="880251"/>
                  </a:cubicBezTo>
                  <a:close/>
                  <a:moveTo>
                    <a:pt x="659626" y="872036"/>
                  </a:moveTo>
                  <a:cubicBezTo>
                    <a:pt x="653911" y="870131"/>
                    <a:pt x="645339" y="876798"/>
                    <a:pt x="647244" y="879656"/>
                  </a:cubicBezTo>
                  <a:cubicBezTo>
                    <a:pt x="657721" y="901563"/>
                    <a:pt x="632956" y="928233"/>
                    <a:pt x="657721" y="950141"/>
                  </a:cubicBezTo>
                  <a:cubicBezTo>
                    <a:pt x="667246" y="936806"/>
                    <a:pt x="676771" y="926328"/>
                    <a:pt x="683439" y="913946"/>
                  </a:cubicBezTo>
                  <a:cubicBezTo>
                    <a:pt x="691059" y="897753"/>
                    <a:pt x="704394" y="924423"/>
                    <a:pt x="711061" y="910136"/>
                  </a:cubicBezTo>
                  <a:cubicBezTo>
                    <a:pt x="713919" y="903468"/>
                    <a:pt x="713919" y="896801"/>
                    <a:pt x="709156" y="891086"/>
                  </a:cubicBezTo>
                  <a:cubicBezTo>
                    <a:pt x="696774" y="875846"/>
                    <a:pt x="676771" y="876798"/>
                    <a:pt x="659626" y="872036"/>
                  </a:cubicBezTo>
                  <a:close/>
                  <a:moveTo>
                    <a:pt x="620410" y="803828"/>
                  </a:moveTo>
                  <a:cubicBezTo>
                    <a:pt x="614918" y="803575"/>
                    <a:pt x="609144" y="804646"/>
                    <a:pt x="603429" y="807266"/>
                  </a:cubicBezTo>
                  <a:cubicBezTo>
                    <a:pt x="579616" y="817743"/>
                    <a:pt x="555804" y="830126"/>
                    <a:pt x="532944" y="841556"/>
                  </a:cubicBezTo>
                  <a:cubicBezTo>
                    <a:pt x="530086" y="850128"/>
                    <a:pt x="536754" y="852033"/>
                    <a:pt x="541516" y="855843"/>
                  </a:cubicBezTo>
                  <a:cubicBezTo>
                    <a:pt x="561519" y="852986"/>
                    <a:pt x="579616" y="838698"/>
                    <a:pt x="602476" y="859653"/>
                  </a:cubicBezTo>
                  <a:cubicBezTo>
                    <a:pt x="617716" y="874893"/>
                    <a:pt x="654864" y="853938"/>
                    <a:pt x="652959" y="835841"/>
                  </a:cubicBezTo>
                  <a:cubicBezTo>
                    <a:pt x="650815" y="817267"/>
                    <a:pt x="636885" y="804587"/>
                    <a:pt x="620410" y="803828"/>
                  </a:cubicBezTo>
                  <a:close/>
                  <a:moveTo>
                    <a:pt x="2051228" y="690108"/>
                  </a:moveTo>
                  <a:cubicBezTo>
                    <a:pt x="2066468" y="695823"/>
                    <a:pt x="2079803" y="697728"/>
                    <a:pt x="2074088" y="722493"/>
                  </a:cubicBezTo>
                  <a:cubicBezTo>
                    <a:pt x="2066468" y="753925"/>
                    <a:pt x="2053133" y="773928"/>
                    <a:pt x="2021701" y="782500"/>
                  </a:cubicBezTo>
                  <a:cubicBezTo>
                    <a:pt x="2009318" y="785358"/>
                    <a:pt x="1997888" y="785358"/>
                    <a:pt x="2000746" y="772023"/>
                  </a:cubicBezTo>
                  <a:cubicBezTo>
                    <a:pt x="2006461" y="745353"/>
                    <a:pt x="2008366" y="714873"/>
                    <a:pt x="2036941" y="698680"/>
                  </a:cubicBezTo>
                  <a:cubicBezTo>
                    <a:pt x="2040751" y="694870"/>
                    <a:pt x="2045513" y="692965"/>
                    <a:pt x="2051228" y="690108"/>
                  </a:cubicBezTo>
                  <a:close/>
                  <a:moveTo>
                    <a:pt x="2111236" y="608669"/>
                  </a:moveTo>
                  <a:cubicBezTo>
                    <a:pt x="2115046" y="609621"/>
                    <a:pt x="2116951" y="613431"/>
                    <a:pt x="2113141" y="623433"/>
                  </a:cubicBezTo>
                  <a:cubicBezTo>
                    <a:pt x="2113141" y="624385"/>
                    <a:pt x="2112189" y="625338"/>
                    <a:pt x="2111236" y="626290"/>
                  </a:cubicBezTo>
                  <a:cubicBezTo>
                    <a:pt x="2147431" y="643435"/>
                    <a:pt x="2126476" y="692013"/>
                    <a:pt x="2159814" y="711063"/>
                  </a:cubicBezTo>
                  <a:cubicBezTo>
                    <a:pt x="2178864" y="721540"/>
                    <a:pt x="2174101" y="752020"/>
                    <a:pt x="2199819" y="758688"/>
                  </a:cubicBezTo>
                  <a:cubicBezTo>
                    <a:pt x="2206486" y="760593"/>
                    <a:pt x="2189341" y="798693"/>
                    <a:pt x="2176959" y="800598"/>
                  </a:cubicBezTo>
                  <a:cubicBezTo>
                    <a:pt x="2149336" y="805360"/>
                    <a:pt x="2120761" y="810123"/>
                    <a:pt x="2092186" y="814885"/>
                  </a:cubicBezTo>
                  <a:cubicBezTo>
                    <a:pt x="2089329" y="799645"/>
                    <a:pt x="2128381" y="789168"/>
                    <a:pt x="2092186" y="777738"/>
                  </a:cubicBezTo>
                  <a:cubicBezTo>
                    <a:pt x="2098854" y="765355"/>
                    <a:pt x="2098854" y="749163"/>
                    <a:pt x="2111236" y="740590"/>
                  </a:cubicBezTo>
                  <a:cubicBezTo>
                    <a:pt x="2127429" y="729160"/>
                    <a:pt x="2118856" y="712015"/>
                    <a:pt x="2110284" y="710110"/>
                  </a:cubicBezTo>
                  <a:cubicBezTo>
                    <a:pt x="2086471" y="705348"/>
                    <a:pt x="2087424" y="682488"/>
                    <a:pt x="2076946" y="669153"/>
                  </a:cubicBezTo>
                  <a:cubicBezTo>
                    <a:pt x="2062659" y="651055"/>
                    <a:pt x="2076946" y="617718"/>
                    <a:pt x="2097901" y="611050"/>
                  </a:cubicBezTo>
                  <a:cubicBezTo>
                    <a:pt x="2101711" y="609621"/>
                    <a:pt x="2107426" y="607716"/>
                    <a:pt x="2111236" y="608669"/>
                  </a:cubicBezTo>
                  <a:close/>
                  <a:moveTo>
                    <a:pt x="927279" y="479605"/>
                  </a:moveTo>
                  <a:cubicBezTo>
                    <a:pt x="932041" y="477700"/>
                    <a:pt x="935851" y="480558"/>
                    <a:pt x="933946" y="486273"/>
                  </a:cubicBezTo>
                  <a:cubicBezTo>
                    <a:pt x="932041" y="490083"/>
                    <a:pt x="929184" y="492941"/>
                    <a:pt x="929184" y="493893"/>
                  </a:cubicBezTo>
                  <a:cubicBezTo>
                    <a:pt x="919659" y="493893"/>
                    <a:pt x="917754" y="491035"/>
                    <a:pt x="919659" y="488178"/>
                  </a:cubicBezTo>
                  <a:cubicBezTo>
                    <a:pt x="921564" y="484368"/>
                    <a:pt x="924421" y="480558"/>
                    <a:pt x="927279" y="479605"/>
                  </a:cubicBezTo>
                  <a:close/>
                  <a:moveTo>
                    <a:pt x="1938089" y="417931"/>
                  </a:moveTo>
                  <a:cubicBezTo>
                    <a:pt x="1948537" y="420431"/>
                    <a:pt x="1955503" y="431504"/>
                    <a:pt x="1959789" y="441505"/>
                  </a:cubicBezTo>
                  <a:cubicBezTo>
                    <a:pt x="1967409" y="457698"/>
                    <a:pt x="1952169" y="461508"/>
                    <a:pt x="1940739" y="466270"/>
                  </a:cubicBezTo>
                  <a:cubicBezTo>
                    <a:pt x="1909306" y="478653"/>
                    <a:pt x="1880731" y="501513"/>
                    <a:pt x="1842631" y="480558"/>
                  </a:cubicBezTo>
                  <a:cubicBezTo>
                    <a:pt x="1829296" y="472938"/>
                    <a:pt x="1832154" y="467223"/>
                    <a:pt x="1832154" y="458650"/>
                  </a:cubicBezTo>
                  <a:cubicBezTo>
                    <a:pt x="1828344" y="450078"/>
                    <a:pt x="1835964" y="442458"/>
                    <a:pt x="1833106" y="431980"/>
                  </a:cubicBezTo>
                  <a:cubicBezTo>
                    <a:pt x="1828344" y="420550"/>
                    <a:pt x="1835011" y="416740"/>
                    <a:pt x="1845489" y="423408"/>
                  </a:cubicBezTo>
                  <a:cubicBezTo>
                    <a:pt x="1847394" y="430075"/>
                    <a:pt x="1849299" y="439600"/>
                    <a:pt x="1857871" y="432933"/>
                  </a:cubicBezTo>
                  <a:cubicBezTo>
                    <a:pt x="1878826" y="418645"/>
                    <a:pt x="1903591" y="426265"/>
                    <a:pt x="1926451" y="418645"/>
                  </a:cubicBezTo>
                  <a:cubicBezTo>
                    <a:pt x="1930737" y="417216"/>
                    <a:pt x="1934607" y="417097"/>
                    <a:pt x="1938089" y="417931"/>
                  </a:cubicBezTo>
                  <a:close/>
                  <a:moveTo>
                    <a:pt x="904419" y="389118"/>
                  </a:moveTo>
                  <a:cubicBezTo>
                    <a:pt x="915849" y="404358"/>
                    <a:pt x="928231" y="418646"/>
                    <a:pt x="938709" y="433886"/>
                  </a:cubicBezTo>
                  <a:cubicBezTo>
                    <a:pt x="940614" y="436743"/>
                    <a:pt x="940614" y="441505"/>
                    <a:pt x="942519" y="446268"/>
                  </a:cubicBezTo>
                  <a:cubicBezTo>
                    <a:pt x="938709" y="447221"/>
                    <a:pt x="932041" y="450078"/>
                    <a:pt x="931089" y="449125"/>
                  </a:cubicBezTo>
                  <a:cubicBezTo>
                    <a:pt x="912991" y="426266"/>
                    <a:pt x="896799" y="440553"/>
                    <a:pt x="878701" y="449125"/>
                  </a:cubicBezTo>
                  <a:cubicBezTo>
                    <a:pt x="871081" y="452936"/>
                    <a:pt x="863461" y="446268"/>
                    <a:pt x="856794" y="443411"/>
                  </a:cubicBezTo>
                  <a:cubicBezTo>
                    <a:pt x="835839" y="424361"/>
                    <a:pt x="864414" y="422455"/>
                    <a:pt x="867271" y="412930"/>
                  </a:cubicBezTo>
                  <a:cubicBezTo>
                    <a:pt x="878701" y="402453"/>
                    <a:pt x="887274" y="388166"/>
                    <a:pt x="904419" y="389118"/>
                  </a:cubicBezTo>
                  <a:close/>
                  <a:moveTo>
                    <a:pt x="1062534" y="340541"/>
                  </a:moveTo>
                  <a:cubicBezTo>
                    <a:pt x="1073011" y="340541"/>
                    <a:pt x="1082536" y="340541"/>
                    <a:pt x="1083489" y="353876"/>
                  </a:cubicBezTo>
                  <a:cubicBezTo>
                    <a:pt x="1073964" y="356733"/>
                    <a:pt x="1066344" y="373878"/>
                    <a:pt x="1053961" y="360543"/>
                  </a:cubicBezTo>
                  <a:cubicBezTo>
                    <a:pt x="1045389" y="351018"/>
                    <a:pt x="1054914" y="345303"/>
                    <a:pt x="1062534" y="340541"/>
                  </a:cubicBezTo>
                  <a:close/>
                  <a:moveTo>
                    <a:pt x="2471113" y="336025"/>
                  </a:moveTo>
                  <a:cubicBezTo>
                    <a:pt x="2489315" y="339763"/>
                    <a:pt x="2505689" y="355066"/>
                    <a:pt x="2521763" y="370068"/>
                  </a:cubicBezTo>
                  <a:cubicBezTo>
                    <a:pt x="2652256" y="491988"/>
                    <a:pt x="2764651" y="627243"/>
                    <a:pt x="2848471" y="785358"/>
                  </a:cubicBezTo>
                  <a:cubicBezTo>
                    <a:pt x="2875141" y="835841"/>
                    <a:pt x="2898953" y="887276"/>
                    <a:pt x="2920861" y="940616"/>
                  </a:cubicBezTo>
                  <a:cubicBezTo>
                    <a:pt x="2925623" y="952046"/>
                    <a:pt x="2938006" y="963476"/>
                    <a:pt x="2926576" y="977763"/>
                  </a:cubicBezTo>
                  <a:cubicBezTo>
                    <a:pt x="2893238" y="978716"/>
                    <a:pt x="2872283" y="955856"/>
                    <a:pt x="2847518" y="938711"/>
                  </a:cubicBezTo>
                  <a:cubicBezTo>
                    <a:pt x="2844661" y="919661"/>
                    <a:pt x="2858948" y="906326"/>
                    <a:pt x="2864663" y="890133"/>
                  </a:cubicBezTo>
                  <a:cubicBezTo>
                    <a:pt x="2846566" y="892991"/>
                    <a:pt x="2829421" y="903468"/>
                    <a:pt x="2810371" y="908231"/>
                  </a:cubicBezTo>
                  <a:cubicBezTo>
                    <a:pt x="2792273" y="911088"/>
                    <a:pt x="2774176" y="912041"/>
                    <a:pt x="2757031" y="904421"/>
                  </a:cubicBezTo>
                  <a:cubicBezTo>
                    <a:pt x="2741791" y="897753"/>
                    <a:pt x="2733218" y="902516"/>
                    <a:pt x="2728456" y="916803"/>
                  </a:cubicBezTo>
                  <a:cubicBezTo>
                    <a:pt x="2724646" y="935853"/>
                    <a:pt x="2713216" y="952998"/>
                    <a:pt x="2707501" y="971096"/>
                  </a:cubicBezTo>
                  <a:cubicBezTo>
                    <a:pt x="2702738" y="984431"/>
                    <a:pt x="2699881" y="997766"/>
                    <a:pt x="2706548" y="1011101"/>
                  </a:cubicBezTo>
                  <a:cubicBezTo>
                    <a:pt x="2712263" y="1021578"/>
                    <a:pt x="2722741" y="1031103"/>
                    <a:pt x="2712263" y="1044438"/>
                  </a:cubicBezTo>
                  <a:cubicBezTo>
                    <a:pt x="2722979" y="1032294"/>
                    <a:pt x="2735302" y="1023900"/>
                    <a:pt x="2750438" y="1026892"/>
                  </a:cubicBezTo>
                  <a:lnTo>
                    <a:pt x="2757317" y="1029909"/>
                  </a:lnTo>
                  <a:lnTo>
                    <a:pt x="2760842" y="1028246"/>
                  </a:lnTo>
                  <a:cubicBezTo>
                    <a:pt x="2768462" y="1021578"/>
                    <a:pt x="2775130" y="1013006"/>
                    <a:pt x="2785607" y="1010148"/>
                  </a:cubicBezTo>
                  <a:cubicBezTo>
                    <a:pt x="2791798" y="1008243"/>
                    <a:pt x="2798228" y="1006814"/>
                    <a:pt x="2804538" y="1006457"/>
                  </a:cubicBezTo>
                  <a:cubicBezTo>
                    <a:pt x="2810848" y="1006100"/>
                    <a:pt x="2817040" y="1006814"/>
                    <a:pt x="2822755" y="1009196"/>
                  </a:cubicBezTo>
                  <a:cubicBezTo>
                    <a:pt x="2859902" y="1023483"/>
                    <a:pt x="2898955" y="1027293"/>
                    <a:pt x="2938959" y="1031103"/>
                  </a:cubicBezTo>
                  <a:cubicBezTo>
                    <a:pt x="2955152" y="1033008"/>
                    <a:pt x="2957057" y="1047296"/>
                    <a:pt x="2959915" y="1058726"/>
                  </a:cubicBezTo>
                  <a:cubicBezTo>
                    <a:pt x="2990394" y="1159691"/>
                    <a:pt x="3010397" y="1262561"/>
                    <a:pt x="3021827" y="1368288"/>
                  </a:cubicBezTo>
                  <a:cubicBezTo>
                    <a:pt x="3029447" y="1433058"/>
                    <a:pt x="3025637" y="1497828"/>
                    <a:pt x="3027542" y="1562598"/>
                  </a:cubicBezTo>
                  <a:cubicBezTo>
                    <a:pt x="3027542" y="1573076"/>
                    <a:pt x="3031352" y="1585458"/>
                    <a:pt x="3020874" y="1594983"/>
                  </a:cubicBezTo>
                  <a:cubicBezTo>
                    <a:pt x="2992299" y="1573076"/>
                    <a:pt x="2963724" y="1551168"/>
                    <a:pt x="2958009" y="1512116"/>
                  </a:cubicBezTo>
                  <a:cubicBezTo>
                    <a:pt x="2954199" y="1483541"/>
                    <a:pt x="2933244" y="1467348"/>
                    <a:pt x="2918005" y="1446393"/>
                  </a:cubicBezTo>
                  <a:cubicBezTo>
                    <a:pt x="2898955" y="1421628"/>
                    <a:pt x="2888477" y="1390196"/>
                    <a:pt x="2860855" y="1371146"/>
                  </a:cubicBezTo>
                  <a:cubicBezTo>
                    <a:pt x="2846567" y="1368288"/>
                    <a:pt x="2836089" y="1359716"/>
                    <a:pt x="2831327" y="1343523"/>
                  </a:cubicBezTo>
                  <a:cubicBezTo>
                    <a:pt x="2835137" y="1360668"/>
                    <a:pt x="2849424" y="1368288"/>
                    <a:pt x="2856092" y="1380671"/>
                  </a:cubicBezTo>
                  <a:cubicBezTo>
                    <a:pt x="2882762" y="1424486"/>
                    <a:pt x="2896097" y="1474968"/>
                    <a:pt x="2930387" y="1514021"/>
                  </a:cubicBezTo>
                  <a:cubicBezTo>
                    <a:pt x="2938007" y="1522593"/>
                    <a:pt x="2938959" y="1534976"/>
                    <a:pt x="2939912" y="1546406"/>
                  </a:cubicBezTo>
                  <a:cubicBezTo>
                    <a:pt x="2941817" y="1566408"/>
                    <a:pt x="2950390" y="1582601"/>
                    <a:pt x="2962772" y="1597841"/>
                  </a:cubicBezTo>
                  <a:cubicBezTo>
                    <a:pt x="2983727" y="1622606"/>
                    <a:pt x="2993252" y="1652133"/>
                    <a:pt x="2999919" y="1683566"/>
                  </a:cubicBezTo>
                  <a:cubicBezTo>
                    <a:pt x="3023732" y="1698806"/>
                    <a:pt x="3015159" y="1721666"/>
                    <a:pt x="3012302" y="1740716"/>
                  </a:cubicBezTo>
                  <a:cubicBezTo>
                    <a:pt x="2988490" y="1885496"/>
                    <a:pt x="2951342" y="2026466"/>
                    <a:pt x="2886572" y="2158864"/>
                  </a:cubicBezTo>
                  <a:cubicBezTo>
                    <a:pt x="2872284" y="2188391"/>
                    <a:pt x="2858949" y="2218871"/>
                    <a:pt x="2841805" y="2246493"/>
                  </a:cubicBezTo>
                  <a:cubicBezTo>
                    <a:pt x="2837042" y="2255066"/>
                    <a:pt x="2835137" y="2266496"/>
                    <a:pt x="2821802" y="2266496"/>
                  </a:cubicBezTo>
                  <a:cubicBezTo>
                    <a:pt x="2812277" y="2260781"/>
                    <a:pt x="2812277" y="2249351"/>
                    <a:pt x="2808467" y="2240778"/>
                  </a:cubicBezTo>
                  <a:cubicBezTo>
                    <a:pt x="2794180" y="2222681"/>
                    <a:pt x="2796084" y="2198868"/>
                    <a:pt x="2785607" y="2172198"/>
                  </a:cubicBezTo>
                  <a:cubicBezTo>
                    <a:pt x="2795132" y="2196011"/>
                    <a:pt x="2791322" y="2217918"/>
                    <a:pt x="2805609" y="2234111"/>
                  </a:cubicBezTo>
                  <a:cubicBezTo>
                    <a:pt x="2812277" y="2246493"/>
                    <a:pt x="2811324" y="2261733"/>
                    <a:pt x="2821802" y="2273164"/>
                  </a:cubicBezTo>
                  <a:cubicBezTo>
                    <a:pt x="2795132" y="2339839"/>
                    <a:pt x="2750364" y="2394131"/>
                    <a:pt x="2708455" y="2451281"/>
                  </a:cubicBezTo>
                  <a:cubicBezTo>
                    <a:pt x="2661782" y="2514146"/>
                    <a:pt x="2606537" y="2568439"/>
                    <a:pt x="2551292" y="2622731"/>
                  </a:cubicBezTo>
                  <a:cubicBezTo>
                    <a:pt x="2527480" y="2646543"/>
                    <a:pt x="2502714" y="2666546"/>
                    <a:pt x="2476997" y="2687501"/>
                  </a:cubicBezTo>
                  <a:cubicBezTo>
                    <a:pt x="2465567" y="2677976"/>
                    <a:pt x="2476997" y="2661783"/>
                    <a:pt x="2463662" y="2655116"/>
                  </a:cubicBezTo>
                  <a:cubicBezTo>
                    <a:pt x="2469377" y="2608443"/>
                    <a:pt x="2446517" y="2570343"/>
                    <a:pt x="2425562" y="2533196"/>
                  </a:cubicBezTo>
                  <a:cubicBezTo>
                    <a:pt x="2392224" y="2475093"/>
                    <a:pt x="2414132" y="2424611"/>
                    <a:pt x="2439849" y="2375081"/>
                  </a:cubicBezTo>
                  <a:cubicBezTo>
                    <a:pt x="2453184" y="2349364"/>
                    <a:pt x="2458899" y="2330314"/>
                    <a:pt x="2449374" y="2301739"/>
                  </a:cubicBezTo>
                  <a:cubicBezTo>
                    <a:pt x="2439849" y="2272211"/>
                    <a:pt x="2442707" y="2240778"/>
                    <a:pt x="2430324" y="2210298"/>
                  </a:cubicBezTo>
                  <a:cubicBezTo>
                    <a:pt x="2420799" y="2187439"/>
                    <a:pt x="2416989" y="2160768"/>
                    <a:pt x="2396987" y="2144576"/>
                  </a:cubicBezTo>
                  <a:cubicBezTo>
                    <a:pt x="2352219" y="2107428"/>
                    <a:pt x="2357934" y="2060756"/>
                    <a:pt x="2370317" y="2012178"/>
                  </a:cubicBezTo>
                  <a:cubicBezTo>
                    <a:pt x="2372222" y="2005511"/>
                    <a:pt x="2374127" y="1998843"/>
                    <a:pt x="2374127" y="1992176"/>
                  </a:cubicBezTo>
                  <a:cubicBezTo>
                    <a:pt x="2376984" y="1954076"/>
                    <a:pt x="2356982" y="1935978"/>
                    <a:pt x="2319834" y="1944551"/>
                  </a:cubicBezTo>
                  <a:cubicBezTo>
                    <a:pt x="2303642" y="1948361"/>
                    <a:pt x="2292212" y="1948361"/>
                    <a:pt x="2282687" y="1931216"/>
                  </a:cubicBezTo>
                  <a:cubicBezTo>
                    <a:pt x="2263637" y="1897878"/>
                    <a:pt x="2235062" y="1889306"/>
                    <a:pt x="2200772" y="1905498"/>
                  </a:cubicBezTo>
                  <a:cubicBezTo>
                    <a:pt x="2186484" y="1912166"/>
                    <a:pt x="2171244" y="1918833"/>
                    <a:pt x="2157909" y="1926453"/>
                  </a:cubicBezTo>
                  <a:cubicBezTo>
                    <a:pt x="2140764" y="1935978"/>
                    <a:pt x="2124572" y="1938836"/>
                    <a:pt x="2106474" y="1931216"/>
                  </a:cubicBezTo>
                  <a:cubicBezTo>
                    <a:pt x="2083614" y="1921691"/>
                    <a:pt x="2059802" y="1925501"/>
                    <a:pt x="2040752" y="1937883"/>
                  </a:cubicBezTo>
                  <a:cubicBezTo>
                    <a:pt x="2012177" y="1956933"/>
                    <a:pt x="1991222" y="1941693"/>
                    <a:pt x="1974077" y="1924548"/>
                  </a:cubicBezTo>
                  <a:cubicBezTo>
                    <a:pt x="1956932" y="1907403"/>
                    <a:pt x="1938834" y="1892163"/>
                    <a:pt x="1919784" y="1877876"/>
                  </a:cubicBezTo>
                  <a:cubicBezTo>
                    <a:pt x="1909307" y="1870256"/>
                    <a:pt x="1899782" y="1861683"/>
                    <a:pt x="1896924" y="1849301"/>
                  </a:cubicBezTo>
                  <a:cubicBezTo>
                    <a:pt x="1889304" y="1812153"/>
                    <a:pt x="1862634" y="1789293"/>
                    <a:pt x="1839774" y="1762623"/>
                  </a:cubicBezTo>
                  <a:cubicBezTo>
                    <a:pt x="1827392" y="1748336"/>
                    <a:pt x="1815962" y="1694043"/>
                    <a:pt x="1822629" y="1676898"/>
                  </a:cubicBezTo>
                  <a:cubicBezTo>
                    <a:pt x="1840727" y="1632131"/>
                    <a:pt x="1846442" y="1585458"/>
                    <a:pt x="1829297" y="1537833"/>
                  </a:cubicBezTo>
                  <a:cubicBezTo>
                    <a:pt x="1826439" y="1530213"/>
                    <a:pt x="1823582" y="1522593"/>
                    <a:pt x="1828344" y="1514973"/>
                  </a:cubicBezTo>
                  <a:cubicBezTo>
                    <a:pt x="1854062" y="1466396"/>
                    <a:pt x="1875017" y="1416866"/>
                    <a:pt x="1909307" y="1373051"/>
                  </a:cubicBezTo>
                  <a:cubicBezTo>
                    <a:pt x="1915022" y="1366383"/>
                    <a:pt x="1923594" y="1365431"/>
                    <a:pt x="1929309" y="1361621"/>
                  </a:cubicBezTo>
                  <a:cubicBezTo>
                    <a:pt x="1954074" y="1345428"/>
                    <a:pt x="1976934" y="1330188"/>
                    <a:pt x="1977887" y="1293041"/>
                  </a:cubicBezTo>
                  <a:cubicBezTo>
                    <a:pt x="1978839" y="1267323"/>
                    <a:pt x="1992174" y="1239701"/>
                    <a:pt x="2019797" y="1227318"/>
                  </a:cubicBezTo>
                  <a:cubicBezTo>
                    <a:pt x="2040752" y="1217793"/>
                    <a:pt x="2050277" y="1201601"/>
                    <a:pt x="2051229" y="1178741"/>
                  </a:cubicBezTo>
                  <a:cubicBezTo>
                    <a:pt x="2058849" y="1162548"/>
                    <a:pt x="2071232" y="1167311"/>
                    <a:pt x="2083614" y="1172073"/>
                  </a:cubicBezTo>
                  <a:cubicBezTo>
                    <a:pt x="2111237" y="1181598"/>
                    <a:pt x="2136002" y="1178741"/>
                    <a:pt x="2161719" y="1162548"/>
                  </a:cubicBezTo>
                  <a:cubicBezTo>
                    <a:pt x="2193152" y="1142546"/>
                    <a:pt x="2229347" y="1134926"/>
                    <a:pt x="2266494" y="1136831"/>
                  </a:cubicBezTo>
                  <a:cubicBezTo>
                    <a:pt x="2288402" y="1137783"/>
                    <a:pt x="2310309" y="1137783"/>
                    <a:pt x="2331264" y="1133021"/>
                  </a:cubicBezTo>
                  <a:cubicBezTo>
                    <a:pt x="2370317" y="1123496"/>
                    <a:pt x="2397939" y="1138736"/>
                    <a:pt x="2387462" y="1197791"/>
                  </a:cubicBezTo>
                  <a:cubicBezTo>
                    <a:pt x="2384604" y="1213983"/>
                    <a:pt x="2384604" y="1228271"/>
                    <a:pt x="2400797" y="1229223"/>
                  </a:cubicBezTo>
                  <a:cubicBezTo>
                    <a:pt x="2447469" y="1231128"/>
                    <a:pt x="2477949" y="1266371"/>
                    <a:pt x="2517002" y="1283516"/>
                  </a:cubicBezTo>
                  <a:cubicBezTo>
                    <a:pt x="2538909" y="1293041"/>
                    <a:pt x="2550339" y="1296851"/>
                    <a:pt x="2556055" y="1266371"/>
                  </a:cubicBezTo>
                  <a:cubicBezTo>
                    <a:pt x="2561769" y="1236843"/>
                    <a:pt x="2589392" y="1227318"/>
                    <a:pt x="2617967" y="1241606"/>
                  </a:cubicBezTo>
                  <a:cubicBezTo>
                    <a:pt x="2644637" y="1254941"/>
                    <a:pt x="2673212" y="1262561"/>
                    <a:pt x="2701787" y="1271133"/>
                  </a:cubicBezTo>
                  <a:cubicBezTo>
                    <a:pt x="2743697" y="1283516"/>
                    <a:pt x="2782749" y="1259703"/>
                    <a:pt x="2823707" y="1270181"/>
                  </a:cubicBezTo>
                  <a:cubicBezTo>
                    <a:pt x="2833232" y="1272086"/>
                    <a:pt x="2840852" y="1262561"/>
                    <a:pt x="2842757" y="1253988"/>
                  </a:cubicBezTo>
                  <a:cubicBezTo>
                    <a:pt x="2847519" y="1233033"/>
                    <a:pt x="2856092" y="1212078"/>
                    <a:pt x="2857997" y="1191123"/>
                  </a:cubicBezTo>
                  <a:cubicBezTo>
                    <a:pt x="2861807" y="1157786"/>
                    <a:pt x="2857044" y="1154928"/>
                    <a:pt x="2824659" y="1163501"/>
                  </a:cubicBezTo>
                  <a:cubicBezTo>
                    <a:pt x="2807514" y="1168263"/>
                    <a:pt x="2793227" y="1167311"/>
                    <a:pt x="2781797" y="1153023"/>
                  </a:cubicBezTo>
                  <a:lnTo>
                    <a:pt x="2778142" y="1149005"/>
                  </a:lnTo>
                  <a:lnTo>
                    <a:pt x="2758579" y="1157637"/>
                  </a:lnTo>
                  <a:cubicBezTo>
                    <a:pt x="2730182" y="1164691"/>
                    <a:pt x="2706072" y="1153261"/>
                    <a:pt x="2684641" y="1122543"/>
                  </a:cubicBezTo>
                  <a:cubicBezTo>
                    <a:pt x="2676068" y="1110161"/>
                    <a:pt x="2672258" y="1095873"/>
                    <a:pt x="2664638" y="1083491"/>
                  </a:cubicBezTo>
                  <a:cubicBezTo>
                    <a:pt x="2658923" y="1073966"/>
                    <a:pt x="2664638" y="1054916"/>
                    <a:pt x="2646541" y="1054916"/>
                  </a:cubicBezTo>
                  <a:cubicBezTo>
                    <a:pt x="2631301" y="1055868"/>
                    <a:pt x="2616061" y="1061583"/>
                    <a:pt x="2610346" y="1080633"/>
                  </a:cubicBezTo>
                  <a:lnTo>
                    <a:pt x="2609202" y="1082346"/>
                  </a:lnTo>
                  <a:lnTo>
                    <a:pt x="2613204" y="1086348"/>
                  </a:lnTo>
                  <a:cubicBezTo>
                    <a:pt x="2619871" y="1093968"/>
                    <a:pt x="2626539" y="1101588"/>
                    <a:pt x="2632254" y="1108255"/>
                  </a:cubicBezTo>
                  <a:cubicBezTo>
                    <a:pt x="2619871" y="1117780"/>
                    <a:pt x="2617014" y="1133020"/>
                    <a:pt x="2609394" y="1145403"/>
                  </a:cubicBezTo>
                  <a:cubicBezTo>
                    <a:pt x="2602726" y="1154928"/>
                    <a:pt x="2586534" y="1142545"/>
                    <a:pt x="2584629" y="1132068"/>
                  </a:cubicBezTo>
                  <a:cubicBezTo>
                    <a:pt x="2581771" y="1117780"/>
                    <a:pt x="2574151" y="1106350"/>
                    <a:pt x="2566055" y="1095397"/>
                  </a:cubicBezTo>
                  <a:lnTo>
                    <a:pt x="2558490" y="1083461"/>
                  </a:lnTo>
                  <a:lnTo>
                    <a:pt x="2545576" y="1071108"/>
                  </a:lnTo>
                  <a:cubicBezTo>
                    <a:pt x="2541766" y="1068251"/>
                    <a:pt x="2537003" y="1065393"/>
                    <a:pt x="2536051" y="1061583"/>
                  </a:cubicBezTo>
                  <a:cubicBezTo>
                    <a:pt x="2522716" y="1003481"/>
                    <a:pt x="2462708" y="991098"/>
                    <a:pt x="2429371" y="952046"/>
                  </a:cubicBezTo>
                  <a:cubicBezTo>
                    <a:pt x="2426513" y="949188"/>
                    <a:pt x="2421751" y="947283"/>
                    <a:pt x="2417941" y="944426"/>
                  </a:cubicBezTo>
                  <a:cubicBezTo>
                    <a:pt x="2416036" y="943473"/>
                    <a:pt x="2413178" y="943473"/>
                    <a:pt x="2407463" y="947283"/>
                  </a:cubicBezTo>
                  <a:cubicBezTo>
                    <a:pt x="2425561" y="973001"/>
                    <a:pt x="2440801" y="998718"/>
                    <a:pt x="2469376" y="1014911"/>
                  </a:cubicBezTo>
                  <a:cubicBezTo>
                    <a:pt x="2483663" y="1023483"/>
                    <a:pt x="2500808" y="1028246"/>
                    <a:pt x="2509381" y="1044438"/>
                  </a:cubicBezTo>
                  <a:cubicBezTo>
                    <a:pt x="2510333" y="1049201"/>
                    <a:pt x="2508428" y="1053963"/>
                    <a:pt x="2504618" y="1057773"/>
                  </a:cubicBezTo>
                  <a:cubicBezTo>
                    <a:pt x="2500808" y="1066346"/>
                    <a:pt x="2479853" y="1059678"/>
                    <a:pt x="2488426" y="1077776"/>
                  </a:cubicBezTo>
                  <a:cubicBezTo>
                    <a:pt x="2485568" y="1082538"/>
                    <a:pt x="2481758" y="1084443"/>
                    <a:pt x="2476996" y="1084443"/>
                  </a:cubicBezTo>
                  <a:cubicBezTo>
                    <a:pt x="2437943" y="1050153"/>
                    <a:pt x="2385556" y="1032056"/>
                    <a:pt x="2356028" y="985383"/>
                  </a:cubicBezTo>
                  <a:cubicBezTo>
                    <a:pt x="2346503" y="970143"/>
                    <a:pt x="2333168" y="968238"/>
                    <a:pt x="2317928" y="978716"/>
                  </a:cubicBezTo>
                  <a:cubicBezTo>
                    <a:pt x="2310308" y="984431"/>
                    <a:pt x="2301736" y="994908"/>
                    <a:pt x="2295068" y="993003"/>
                  </a:cubicBezTo>
                  <a:cubicBezTo>
                    <a:pt x="2237918" y="978716"/>
                    <a:pt x="2232203" y="1040628"/>
                    <a:pt x="2196008" y="1057773"/>
                  </a:cubicBezTo>
                  <a:cubicBezTo>
                    <a:pt x="2185531" y="1062536"/>
                    <a:pt x="2183626" y="1075871"/>
                    <a:pt x="2181721" y="1087301"/>
                  </a:cubicBezTo>
                  <a:cubicBezTo>
                    <a:pt x="2172196" y="1130163"/>
                    <a:pt x="2149336" y="1152071"/>
                    <a:pt x="2105521" y="1157786"/>
                  </a:cubicBezTo>
                  <a:cubicBezTo>
                    <a:pt x="2088376" y="1159691"/>
                    <a:pt x="2069326" y="1179693"/>
                    <a:pt x="2053133" y="1155881"/>
                  </a:cubicBezTo>
                  <a:cubicBezTo>
                    <a:pt x="2052181" y="1145403"/>
                    <a:pt x="2048371" y="1137783"/>
                    <a:pt x="2036941" y="1136831"/>
                  </a:cubicBezTo>
                  <a:cubicBezTo>
                    <a:pt x="2026463" y="1135878"/>
                    <a:pt x="2010271" y="1148261"/>
                    <a:pt x="2008366" y="1131116"/>
                  </a:cubicBezTo>
                  <a:cubicBezTo>
                    <a:pt x="2005508" y="1113018"/>
                    <a:pt x="1993126" y="1094921"/>
                    <a:pt x="2001698" y="1074918"/>
                  </a:cubicBezTo>
                  <a:cubicBezTo>
                    <a:pt x="2011223" y="1051106"/>
                    <a:pt x="2015986" y="1027293"/>
                    <a:pt x="2008366" y="1001576"/>
                  </a:cubicBezTo>
                  <a:cubicBezTo>
                    <a:pt x="2002651" y="979668"/>
                    <a:pt x="2021701" y="978716"/>
                    <a:pt x="2035988" y="977763"/>
                  </a:cubicBezTo>
                  <a:cubicBezTo>
                    <a:pt x="2059801" y="974906"/>
                    <a:pt x="2083613" y="981573"/>
                    <a:pt x="2107426" y="983478"/>
                  </a:cubicBezTo>
                  <a:cubicBezTo>
                    <a:pt x="2120761" y="984431"/>
                    <a:pt x="2139811" y="992051"/>
                    <a:pt x="2148383" y="975858"/>
                  </a:cubicBezTo>
                  <a:cubicBezTo>
                    <a:pt x="2157908" y="956808"/>
                    <a:pt x="2162671" y="934901"/>
                    <a:pt x="2150288" y="913946"/>
                  </a:cubicBezTo>
                  <a:cubicBezTo>
                    <a:pt x="2140763" y="897753"/>
                    <a:pt x="2131238" y="882513"/>
                    <a:pt x="2112188" y="876798"/>
                  </a:cubicBezTo>
                  <a:cubicBezTo>
                    <a:pt x="2105521" y="874893"/>
                    <a:pt x="2094091" y="873941"/>
                    <a:pt x="2096948" y="862511"/>
                  </a:cubicBezTo>
                  <a:cubicBezTo>
                    <a:pt x="2098853" y="852033"/>
                    <a:pt x="2109331" y="852033"/>
                    <a:pt x="2118856" y="849176"/>
                  </a:cubicBezTo>
                  <a:cubicBezTo>
                    <a:pt x="2149336" y="838698"/>
                    <a:pt x="2177911" y="830126"/>
                    <a:pt x="2206486" y="810123"/>
                  </a:cubicBezTo>
                  <a:cubicBezTo>
                    <a:pt x="2241728" y="785358"/>
                    <a:pt x="2258873" y="735828"/>
                    <a:pt x="2308403" y="731066"/>
                  </a:cubicBezTo>
                  <a:cubicBezTo>
                    <a:pt x="2322691" y="729161"/>
                    <a:pt x="2323643" y="718683"/>
                    <a:pt x="2321738" y="708206"/>
                  </a:cubicBezTo>
                  <a:cubicBezTo>
                    <a:pt x="2319833" y="698681"/>
                    <a:pt x="2314118" y="689156"/>
                    <a:pt x="2311261" y="679631"/>
                  </a:cubicBezTo>
                  <a:cubicBezTo>
                    <a:pt x="2307451" y="666296"/>
                    <a:pt x="2305546" y="652008"/>
                    <a:pt x="2320786" y="643436"/>
                  </a:cubicBezTo>
                  <a:cubicBezTo>
                    <a:pt x="2326501" y="640578"/>
                    <a:pt x="2334121" y="632958"/>
                    <a:pt x="2338883" y="638673"/>
                  </a:cubicBezTo>
                  <a:cubicBezTo>
                    <a:pt x="2346503" y="649151"/>
                    <a:pt x="2353171" y="662486"/>
                    <a:pt x="2343646" y="675821"/>
                  </a:cubicBezTo>
                  <a:cubicBezTo>
                    <a:pt x="2337931" y="685346"/>
                    <a:pt x="2342693" y="692966"/>
                    <a:pt x="2348408" y="699633"/>
                  </a:cubicBezTo>
                  <a:cubicBezTo>
                    <a:pt x="2356028" y="708206"/>
                    <a:pt x="2364601" y="711063"/>
                    <a:pt x="2376031" y="706301"/>
                  </a:cubicBezTo>
                  <a:cubicBezTo>
                    <a:pt x="2378888" y="705348"/>
                    <a:pt x="2381746" y="704396"/>
                    <a:pt x="2385556" y="704396"/>
                  </a:cubicBezTo>
                  <a:cubicBezTo>
                    <a:pt x="2409368" y="712968"/>
                    <a:pt x="2432228" y="712016"/>
                    <a:pt x="2454136" y="698681"/>
                  </a:cubicBezTo>
                  <a:cubicBezTo>
                    <a:pt x="2460803" y="694871"/>
                    <a:pt x="2469376" y="692966"/>
                    <a:pt x="2476996" y="692013"/>
                  </a:cubicBezTo>
                  <a:cubicBezTo>
                    <a:pt x="2517001" y="689156"/>
                    <a:pt x="2517001" y="689156"/>
                    <a:pt x="2517953" y="648198"/>
                  </a:cubicBezTo>
                  <a:cubicBezTo>
                    <a:pt x="2525573" y="626291"/>
                    <a:pt x="2540813" y="618671"/>
                    <a:pt x="2563673" y="626291"/>
                  </a:cubicBezTo>
                  <a:cubicBezTo>
                    <a:pt x="2558911" y="610098"/>
                    <a:pt x="2545576" y="599621"/>
                    <a:pt x="2554148" y="585333"/>
                  </a:cubicBezTo>
                  <a:lnTo>
                    <a:pt x="2572928" y="573708"/>
                  </a:lnTo>
                  <a:lnTo>
                    <a:pt x="2586098" y="571735"/>
                  </a:lnTo>
                  <a:lnTo>
                    <a:pt x="2586726" y="571671"/>
                  </a:lnTo>
                  <a:cubicBezTo>
                    <a:pt x="2599630" y="572653"/>
                    <a:pt x="2613203" y="578189"/>
                    <a:pt x="2624633" y="568188"/>
                  </a:cubicBezTo>
                  <a:cubicBezTo>
                    <a:pt x="2626538" y="566283"/>
                    <a:pt x="2628443" y="565331"/>
                    <a:pt x="2630348" y="563426"/>
                  </a:cubicBezTo>
                  <a:cubicBezTo>
                    <a:pt x="2634158" y="561521"/>
                    <a:pt x="2634158" y="568188"/>
                    <a:pt x="2633206" y="563426"/>
                  </a:cubicBezTo>
                  <a:cubicBezTo>
                    <a:pt x="2632253" y="557711"/>
                    <a:pt x="2629396" y="564378"/>
                    <a:pt x="2626538" y="563426"/>
                  </a:cubicBezTo>
                  <a:cubicBezTo>
                    <a:pt x="2615584" y="567236"/>
                    <a:pt x="2604392" y="569141"/>
                    <a:pt x="2593082" y="570689"/>
                  </a:cubicBezTo>
                  <a:lnTo>
                    <a:pt x="2586098" y="571735"/>
                  </a:lnTo>
                  <a:lnTo>
                    <a:pt x="2574151" y="572951"/>
                  </a:lnTo>
                  <a:lnTo>
                    <a:pt x="2572928" y="573708"/>
                  </a:lnTo>
                  <a:lnTo>
                    <a:pt x="2558911" y="575808"/>
                  </a:lnTo>
                  <a:cubicBezTo>
                    <a:pt x="2533193" y="580571"/>
                    <a:pt x="2516048" y="563426"/>
                    <a:pt x="2506523" y="541518"/>
                  </a:cubicBezTo>
                  <a:cubicBezTo>
                    <a:pt x="2496998" y="519611"/>
                    <a:pt x="2487473" y="498656"/>
                    <a:pt x="2512238" y="480558"/>
                  </a:cubicBezTo>
                  <a:cubicBezTo>
                    <a:pt x="2520811" y="474843"/>
                    <a:pt x="2527478" y="467223"/>
                    <a:pt x="2533193" y="458651"/>
                  </a:cubicBezTo>
                  <a:cubicBezTo>
                    <a:pt x="2537003" y="452936"/>
                    <a:pt x="2541766" y="446268"/>
                    <a:pt x="2534146" y="440553"/>
                  </a:cubicBezTo>
                  <a:cubicBezTo>
                    <a:pt x="2526526" y="434838"/>
                    <a:pt x="2515096" y="437696"/>
                    <a:pt x="2513191" y="445316"/>
                  </a:cubicBezTo>
                  <a:cubicBezTo>
                    <a:pt x="2506523" y="474843"/>
                    <a:pt x="2482711" y="489131"/>
                    <a:pt x="2464613" y="509133"/>
                  </a:cubicBezTo>
                  <a:cubicBezTo>
                    <a:pt x="2452231" y="523421"/>
                    <a:pt x="2455088" y="538661"/>
                    <a:pt x="2467471" y="551996"/>
                  </a:cubicBezTo>
                  <a:cubicBezTo>
                    <a:pt x="2481758" y="567236"/>
                    <a:pt x="2481758" y="582476"/>
                    <a:pt x="2468423" y="597716"/>
                  </a:cubicBezTo>
                  <a:cubicBezTo>
                    <a:pt x="2457946" y="610098"/>
                    <a:pt x="2455088" y="623433"/>
                    <a:pt x="2453183" y="638673"/>
                  </a:cubicBezTo>
                  <a:cubicBezTo>
                    <a:pt x="2451278" y="657723"/>
                    <a:pt x="2442706" y="671058"/>
                    <a:pt x="2423656" y="676773"/>
                  </a:cubicBezTo>
                  <a:cubicBezTo>
                    <a:pt x="2413178" y="682488"/>
                    <a:pt x="2402701" y="690108"/>
                    <a:pt x="2389366" y="683441"/>
                  </a:cubicBezTo>
                  <a:cubicBezTo>
                    <a:pt x="2381746" y="676773"/>
                    <a:pt x="2376983" y="670106"/>
                    <a:pt x="2383651" y="659628"/>
                  </a:cubicBezTo>
                  <a:cubicBezTo>
                    <a:pt x="2377936" y="649151"/>
                    <a:pt x="2372221" y="638673"/>
                    <a:pt x="2367458" y="627243"/>
                  </a:cubicBezTo>
                  <a:cubicBezTo>
                    <a:pt x="2348408" y="585333"/>
                    <a:pt x="2348408" y="584381"/>
                    <a:pt x="2308403" y="612003"/>
                  </a:cubicBezTo>
                  <a:cubicBezTo>
                    <a:pt x="2273161" y="616766"/>
                    <a:pt x="2265541" y="608193"/>
                    <a:pt x="2270303" y="571046"/>
                  </a:cubicBezTo>
                  <a:cubicBezTo>
                    <a:pt x="2271256" y="560568"/>
                    <a:pt x="2287448" y="545328"/>
                    <a:pt x="2260778" y="543423"/>
                  </a:cubicBezTo>
                  <a:cubicBezTo>
                    <a:pt x="2255063" y="542471"/>
                    <a:pt x="2255063" y="530088"/>
                    <a:pt x="2259826" y="522468"/>
                  </a:cubicBezTo>
                  <a:cubicBezTo>
                    <a:pt x="2313166" y="486273"/>
                    <a:pt x="2361743" y="445316"/>
                    <a:pt x="2390318" y="385308"/>
                  </a:cubicBezTo>
                  <a:cubicBezTo>
                    <a:pt x="2396986" y="372926"/>
                    <a:pt x="2403653" y="362448"/>
                    <a:pt x="2416988" y="357686"/>
                  </a:cubicBezTo>
                  <a:cubicBezTo>
                    <a:pt x="2416988" y="355781"/>
                    <a:pt x="2416988" y="353876"/>
                    <a:pt x="2417941" y="351971"/>
                  </a:cubicBezTo>
                  <a:cubicBezTo>
                    <a:pt x="2419846" y="352923"/>
                    <a:pt x="2423656" y="354828"/>
                    <a:pt x="2424608" y="353876"/>
                  </a:cubicBezTo>
                  <a:cubicBezTo>
                    <a:pt x="2434371" y="344351"/>
                    <a:pt x="2443539" y="338934"/>
                    <a:pt x="2452245" y="336582"/>
                  </a:cubicBezTo>
                  <a:cubicBezTo>
                    <a:pt x="2458775" y="334818"/>
                    <a:pt x="2465045" y="334779"/>
                    <a:pt x="2471113" y="336025"/>
                  </a:cubicBezTo>
                  <a:close/>
                  <a:moveTo>
                    <a:pt x="761544" y="194808"/>
                  </a:moveTo>
                  <a:cubicBezTo>
                    <a:pt x="773926" y="196713"/>
                    <a:pt x="774879" y="206238"/>
                    <a:pt x="773926" y="216716"/>
                  </a:cubicBezTo>
                  <a:cubicBezTo>
                    <a:pt x="755829" y="237671"/>
                    <a:pt x="760591" y="257673"/>
                    <a:pt x="773926" y="278628"/>
                  </a:cubicBezTo>
                  <a:cubicBezTo>
                    <a:pt x="748209" y="302441"/>
                    <a:pt x="720586" y="315776"/>
                    <a:pt x="687249" y="293868"/>
                  </a:cubicBezTo>
                  <a:cubicBezTo>
                    <a:pt x="682486" y="291011"/>
                    <a:pt x="675819" y="292916"/>
                    <a:pt x="671056" y="292916"/>
                  </a:cubicBezTo>
                  <a:cubicBezTo>
                    <a:pt x="660579" y="294821"/>
                    <a:pt x="650101" y="296726"/>
                    <a:pt x="640576" y="298631"/>
                  </a:cubicBezTo>
                  <a:cubicBezTo>
                    <a:pt x="627241" y="300536"/>
                    <a:pt x="613906" y="302441"/>
                    <a:pt x="603429" y="291011"/>
                  </a:cubicBezTo>
                  <a:cubicBezTo>
                    <a:pt x="636766" y="258626"/>
                    <a:pt x="678676" y="239576"/>
                    <a:pt x="715824" y="211953"/>
                  </a:cubicBezTo>
                  <a:cubicBezTo>
                    <a:pt x="719634" y="209096"/>
                    <a:pt x="724396" y="211953"/>
                    <a:pt x="727254" y="215763"/>
                  </a:cubicBezTo>
                  <a:cubicBezTo>
                    <a:pt x="746304" y="220526"/>
                    <a:pt x="741541" y="187188"/>
                    <a:pt x="761544" y="194808"/>
                  </a:cubicBezTo>
                  <a:close/>
                  <a:moveTo>
                    <a:pt x="873343" y="184331"/>
                  </a:moveTo>
                  <a:cubicBezTo>
                    <a:pt x="879653" y="185283"/>
                    <a:pt x="886320" y="188617"/>
                    <a:pt x="891083" y="191951"/>
                  </a:cubicBezTo>
                  <a:cubicBezTo>
                    <a:pt x="904418" y="200523"/>
                    <a:pt x="892988" y="209096"/>
                    <a:pt x="888226" y="217668"/>
                  </a:cubicBezTo>
                  <a:lnTo>
                    <a:pt x="879241" y="234820"/>
                  </a:lnTo>
                  <a:lnTo>
                    <a:pt x="895370" y="235036"/>
                  </a:lnTo>
                  <a:cubicBezTo>
                    <a:pt x="907514" y="238206"/>
                    <a:pt x="906800" y="249815"/>
                    <a:pt x="899656" y="266246"/>
                  </a:cubicBezTo>
                  <a:cubicBezTo>
                    <a:pt x="894893" y="277676"/>
                    <a:pt x="884416" y="289106"/>
                    <a:pt x="892988" y="303393"/>
                  </a:cubicBezTo>
                  <a:cubicBezTo>
                    <a:pt x="897751" y="310061"/>
                    <a:pt x="901561" y="309108"/>
                    <a:pt x="905371" y="303393"/>
                  </a:cubicBezTo>
                  <a:cubicBezTo>
                    <a:pt x="923468" y="307203"/>
                    <a:pt x="923468" y="307203"/>
                    <a:pt x="915848" y="337683"/>
                  </a:cubicBezTo>
                  <a:cubicBezTo>
                    <a:pt x="926326" y="330063"/>
                    <a:pt x="936803" y="329111"/>
                    <a:pt x="946328" y="324348"/>
                  </a:cubicBezTo>
                  <a:lnTo>
                    <a:pt x="973409" y="303804"/>
                  </a:lnTo>
                  <a:lnTo>
                    <a:pt x="975260" y="292796"/>
                  </a:lnTo>
                  <a:cubicBezTo>
                    <a:pt x="974903" y="288629"/>
                    <a:pt x="972522" y="284819"/>
                    <a:pt x="965378" y="281485"/>
                  </a:cubicBezTo>
                  <a:cubicBezTo>
                    <a:pt x="944423" y="270055"/>
                    <a:pt x="942518" y="249100"/>
                    <a:pt x="962521" y="233860"/>
                  </a:cubicBezTo>
                  <a:cubicBezTo>
                    <a:pt x="977761" y="221478"/>
                    <a:pt x="993953" y="208143"/>
                    <a:pt x="1013956" y="203380"/>
                  </a:cubicBezTo>
                  <a:cubicBezTo>
                    <a:pt x="1018718" y="201475"/>
                    <a:pt x="1023481" y="200046"/>
                    <a:pt x="1028243" y="200165"/>
                  </a:cubicBezTo>
                  <a:cubicBezTo>
                    <a:pt x="1033006" y="200284"/>
                    <a:pt x="1037768" y="201951"/>
                    <a:pt x="1042531" y="206238"/>
                  </a:cubicBezTo>
                  <a:cubicBezTo>
                    <a:pt x="1037768" y="220525"/>
                    <a:pt x="1018718" y="221478"/>
                    <a:pt x="1016813" y="234813"/>
                  </a:cubicBezTo>
                  <a:cubicBezTo>
                    <a:pt x="1029196" y="212905"/>
                    <a:pt x="1052056" y="208143"/>
                    <a:pt x="1075868" y="204333"/>
                  </a:cubicBezTo>
                  <a:cubicBezTo>
                    <a:pt x="1082536" y="204333"/>
                    <a:pt x="1089203" y="204333"/>
                    <a:pt x="1095871" y="204333"/>
                  </a:cubicBezTo>
                  <a:cubicBezTo>
                    <a:pt x="1106348" y="211953"/>
                    <a:pt x="1099681" y="223383"/>
                    <a:pt x="1099681" y="232908"/>
                  </a:cubicBezTo>
                  <a:cubicBezTo>
                    <a:pt x="1112063" y="235765"/>
                    <a:pt x="1123493" y="229098"/>
                    <a:pt x="1133971" y="231003"/>
                  </a:cubicBezTo>
                  <a:cubicBezTo>
                    <a:pt x="1140638" y="231003"/>
                    <a:pt x="1146353" y="233860"/>
                    <a:pt x="1151116" y="238623"/>
                  </a:cubicBezTo>
                  <a:cubicBezTo>
                    <a:pt x="1162546" y="262435"/>
                    <a:pt x="1192073" y="265293"/>
                    <a:pt x="1205408" y="287200"/>
                  </a:cubicBezTo>
                  <a:cubicBezTo>
                    <a:pt x="1219696" y="305298"/>
                    <a:pt x="1210171" y="320538"/>
                    <a:pt x="1198741" y="334825"/>
                  </a:cubicBezTo>
                  <a:cubicBezTo>
                    <a:pt x="1205408" y="359590"/>
                    <a:pt x="1234936" y="358638"/>
                    <a:pt x="1248271" y="377688"/>
                  </a:cubicBezTo>
                  <a:cubicBezTo>
                    <a:pt x="1257796" y="391023"/>
                    <a:pt x="1257796" y="393880"/>
                    <a:pt x="1246366" y="402453"/>
                  </a:cubicBezTo>
                  <a:cubicBezTo>
                    <a:pt x="1226363" y="415788"/>
                    <a:pt x="1207313" y="445315"/>
                    <a:pt x="1187311" y="402453"/>
                  </a:cubicBezTo>
                  <a:cubicBezTo>
                    <a:pt x="1184453" y="396738"/>
                    <a:pt x="1176833" y="390070"/>
                    <a:pt x="1171118" y="396738"/>
                  </a:cubicBezTo>
                  <a:cubicBezTo>
                    <a:pt x="1161593" y="407215"/>
                    <a:pt x="1163498" y="418645"/>
                    <a:pt x="1171118" y="431028"/>
                  </a:cubicBezTo>
                  <a:cubicBezTo>
                    <a:pt x="1186358" y="457698"/>
                    <a:pt x="1180643" y="471033"/>
                    <a:pt x="1151116" y="479605"/>
                  </a:cubicBezTo>
                  <a:cubicBezTo>
                    <a:pt x="1147306" y="475795"/>
                    <a:pt x="1141591" y="474843"/>
                    <a:pt x="1136828" y="476748"/>
                  </a:cubicBezTo>
                  <a:cubicBezTo>
                    <a:pt x="1132066" y="478653"/>
                    <a:pt x="1134923" y="483415"/>
                    <a:pt x="1136828" y="487225"/>
                  </a:cubicBezTo>
                  <a:cubicBezTo>
                    <a:pt x="1135876" y="500560"/>
                    <a:pt x="1128256" y="503418"/>
                    <a:pt x="1118731" y="497703"/>
                  </a:cubicBezTo>
                  <a:cubicBezTo>
                    <a:pt x="1098728" y="487225"/>
                    <a:pt x="1074916" y="482463"/>
                    <a:pt x="1066343" y="455793"/>
                  </a:cubicBezTo>
                  <a:cubicBezTo>
                    <a:pt x="1058723" y="432933"/>
                    <a:pt x="1039673" y="427218"/>
                    <a:pt x="1016813" y="433885"/>
                  </a:cubicBezTo>
                  <a:cubicBezTo>
                    <a:pt x="1008241" y="436743"/>
                    <a:pt x="999668" y="438648"/>
                    <a:pt x="996811" y="428170"/>
                  </a:cubicBezTo>
                  <a:cubicBezTo>
                    <a:pt x="993001" y="415788"/>
                    <a:pt x="1007288" y="411025"/>
                    <a:pt x="1013003" y="411978"/>
                  </a:cubicBezTo>
                  <a:cubicBezTo>
                    <a:pt x="1055866" y="420550"/>
                    <a:pt x="1078726" y="386260"/>
                    <a:pt x="1109206" y="369115"/>
                  </a:cubicBezTo>
                  <a:cubicBezTo>
                    <a:pt x="1117778" y="343398"/>
                    <a:pt x="1089203" y="330063"/>
                    <a:pt x="1089203" y="307203"/>
                  </a:cubicBezTo>
                  <a:cubicBezTo>
                    <a:pt x="1085393" y="301488"/>
                    <a:pt x="1081583" y="296725"/>
                    <a:pt x="1077773" y="291010"/>
                  </a:cubicBezTo>
                  <a:cubicBezTo>
                    <a:pt x="1057771" y="307203"/>
                    <a:pt x="1036816" y="290058"/>
                    <a:pt x="1016813" y="292915"/>
                  </a:cubicBezTo>
                  <a:cubicBezTo>
                    <a:pt x="1012050" y="293391"/>
                    <a:pt x="1008717" y="294106"/>
                    <a:pt x="1007169" y="296011"/>
                  </a:cubicBezTo>
                  <a:lnTo>
                    <a:pt x="1007866" y="302667"/>
                  </a:lnTo>
                  <a:lnTo>
                    <a:pt x="1009193" y="303393"/>
                  </a:lnTo>
                  <a:cubicBezTo>
                    <a:pt x="1013003" y="324348"/>
                    <a:pt x="986333" y="363401"/>
                    <a:pt x="962521" y="370068"/>
                  </a:cubicBezTo>
                  <a:cubicBezTo>
                    <a:pt x="943471" y="375783"/>
                    <a:pt x="924421" y="377688"/>
                    <a:pt x="905371" y="371973"/>
                  </a:cubicBezTo>
                  <a:cubicBezTo>
                    <a:pt x="896798" y="389118"/>
                    <a:pt x="879653" y="396738"/>
                    <a:pt x="868223" y="410073"/>
                  </a:cubicBezTo>
                  <a:cubicBezTo>
                    <a:pt x="859651" y="419598"/>
                    <a:pt x="849173" y="424361"/>
                    <a:pt x="836791" y="426266"/>
                  </a:cubicBezTo>
                  <a:cubicBezTo>
                    <a:pt x="830123" y="425313"/>
                    <a:pt x="820598" y="421503"/>
                    <a:pt x="816788" y="424361"/>
                  </a:cubicBezTo>
                  <a:cubicBezTo>
                    <a:pt x="772973" y="455793"/>
                    <a:pt x="714871" y="464366"/>
                    <a:pt x="677723" y="507228"/>
                  </a:cubicBezTo>
                  <a:cubicBezTo>
                    <a:pt x="667246" y="519611"/>
                    <a:pt x="646291" y="531993"/>
                    <a:pt x="668198" y="553901"/>
                  </a:cubicBezTo>
                  <a:cubicBezTo>
                    <a:pt x="672961" y="558663"/>
                    <a:pt x="665341" y="574856"/>
                    <a:pt x="662483" y="586286"/>
                  </a:cubicBezTo>
                  <a:cubicBezTo>
                    <a:pt x="685343" y="585333"/>
                    <a:pt x="702488" y="596763"/>
                    <a:pt x="716776" y="612956"/>
                  </a:cubicBezTo>
                  <a:cubicBezTo>
                    <a:pt x="731063" y="630101"/>
                    <a:pt x="747256" y="644388"/>
                    <a:pt x="771068" y="645341"/>
                  </a:cubicBezTo>
                  <a:cubicBezTo>
                    <a:pt x="789166" y="646293"/>
                    <a:pt x="788213" y="653913"/>
                    <a:pt x="782498" y="667248"/>
                  </a:cubicBezTo>
                  <a:cubicBezTo>
                    <a:pt x="774878" y="685346"/>
                    <a:pt x="766306" y="702491"/>
                    <a:pt x="772973" y="726303"/>
                  </a:cubicBezTo>
                  <a:cubicBezTo>
                    <a:pt x="779641" y="752973"/>
                    <a:pt x="789166" y="747258"/>
                    <a:pt x="805358" y="736781"/>
                  </a:cubicBezTo>
                  <a:cubicBezTo>
                    <a:pt x="823456" y="725351"/>
                    <a:pt x="826313" y="706301"/>
                    <a:pt x="828218" y="689156"/>
                  </a:cubicBezTo>
                  <a:cubicBezTo>
                    <a:pt x="831076" y="669153"/>
                    <a:pt x="841553" y="660581"/>
                    <a:pt x="858698" y="652961"/>
                  </a:cubicBezTo>
                  <a:cubicBezTo>
                    <a:pt x="901561" y="638673"/>
                    <a:pt x="911086" y="619623"/>
                    <a:pt x="901561" y="573903"/>
                  </a:cubicBezTo>
                  <a:cubicBezTo>
                    <a:pt x="900608" y="569141"/>
                    <a:pt x="899656" y="563426"/>
                    <a:pt x="904418" y="561521"/>
                  </a:cubicBezTo>
                  <a:cubicBezTo>
                    <a:pt x="937756" y="550091"/>
                    <a:pt x="937756" y="514848"/>
                    <a:pt x="953948" y="491988"/>
                  </a:cubicBezTo>
                  <a:cubicBezTo>
                    <a:pt x="957758" y="486273"/>
                    <a:pt x="961568" y="480558"/>
                    <a:pt x="968236" y="478653"/>
                  </a:cubicBezTo>
                  <a:cubicBezTo>
                    <a:pt x="991096" y="471986"/>
                    <a:pt x="1037768" y="491036"/>
                    <a:pt x="1049198" y="512943"/>
                  </a:cubicBezTo>
                  <a:cubicBezTo>
                    <a:pt x="1061581" y="517706"/>
                    <a:pt x="1074916" y="522468"/>
                    <a:pt x="1063486" y="539613"/>
                  </a:cubicBezTo>
                  <a:cubicBezTo>
                    <a:pt x="1048246" y="555806"/>
                    <a:pt x="1052056" y="572951"/>
                    <a:pt x="1067296" y="583428"/>
                  </a:cubicBezTo>
                  <a:cubicBezTo>
                    <a:pt x="1084441" y="593906"/>
                    <a:pt x="1099681" y="578666"/>
                    <a:pt x="1112063" y="568188"/>
                  </a:cubicBezTo>
                  <a:cubicBezTo>
                    <a:pt x="1139686" y="545328"/>
                    <a:pt x="1138733" y="544376"/>
                    <a:pt x="1146353" y="580571"/>
                  </a:cubicBezTo>
                  <a:cubicBezTo>
                    <a:pt x="1149211" y="592953"/>
                    <a:pt x="1154926" y="606288"/>
                    <a:pt x="1151116" y="616766"/>
                  </a:cubicBezTo>
                  <a:cubicBezTo>
                    <a:pt x="1138733" y="656771"/>
                    <a:pt x="1163498" y="672011"/>
                    <a:pt x="1193026" y="684393"/>
                  </a:cubicBezTo>
                  <a:cubicBezTo>
                    <a:pt x="1193026" y="693918"/>
                    <a:pt x="1188501" y="696537"/>
                    <a:pt x="1182905" y="697847"/>
                  </a:cubicBezTo>
                  <a:lnTo>
                    <a:pt x="1179024" y="699159"/>
                  </a:lnTo>
                  <a:lnTo>
                    <a:pt x="1177845" y="699023"/>
                  </a:lnTo>
                  <a:cubicBezTo>
                    <a:pt x="1174214" y="699455"/>
                    <a:pt x="1170404" y="700824"/>
                    <a:pt x="1166356" y="703443"/>
                  </a:cubicBezTo>
                  <a:lnTo>
                    <a:pt x="1179024" y="699159"/>
                  </a:lnTo>
                  <a:lnTo>
                    <a:pt x="1188263" y="700229"/>
                  </a:lnTo>
                  <a:cubicBezTo>
                    <a:pt x="1194931" y="702491"/>
                    <a:pt x="1201122" y="707253"/>
                    <a:pt x="1207313" y="712016"/>
                  </a:cubicBezTo>
                  <a:cubicBezTo>
                    <a:pt x="1210647" y="727732"/>
                    <a:pt x="1209694" y="741781"/>
                    <a:pt x="1205051" y="754402"/>
                  </a:cubicBezTo>
                  <a:lnTo>
                    <a:pt x="1180854" y="787924"/>
                  </a:lnTo>
                  <a:lnTo>
                    <a:pt x="1187073" y="807504"/>
                  </a:lnTo>
                  <a:cubicBezTo>
                    <a:pt x="1190883" y="812504"/>
                    <a:pt x="1196836" y="815362"/>
                    <a:pt x="1206361" y="814886"/>
                  </a:cubicBezTo>
                  <a:cubicBezTo>
                    <a:pt x="1214934" y="814886"/>
                    <a:pt x="1223506" y="816791"/>
                    <a:pt x="1213981" y="828221"/>
                  </a:cubicBezTo>
                  <a:cubicBezTo>
                    <a:pt x="1208266" y="850128"/>
                    <a:pt x="1205409" y="874893"/>
                    <a:pt x="1172071" y="862511"/>
                  </a:cubicBezTo>
                  <a:cubicBezTo>
                    <a:pt x="1153021" y="859653"/>
                    <a:pt x="1123494" y="872036"/>
                    <a:pt x="1115874" y="854891"/>
                  </a:cubicBezTo>
                  <a:cubicBezTo>
                    <a:pt x="1109206" y="839651"/>
                    <a:pt x="1133971" y="821553"/>
                    <a:pt x="1148259" y="807266"/>
                  </a:cubicBezTo>
                  <a:cubicBezTo>
                    <a:pt x="1157784" y="799646"/>
                    <a:pt x="1159689" y="785358"/>
                    <a:pt x="1173024" y="780596"/>
                  </a:cubicBezTo>
                  <a:lnTo>
                    <a:pt x="1173125" y="780684"/>
                  </a:lnTo>
                  <a:lnTo>
                    <a:pt x="1174333" y="770475"/>
                  </a:lnTo>
                  <a:cubicBezTo>
                    <a:pt x="1173023" y="767975"/>
                    <a:pt x="1169689" y="766784"/>
                    <a:pt x="1163498" y="767261"/>
                  </a:cubicBezTo>
                  <a:cubicBezTo>
                    <a:pt x="1147306" y="769166"/>
                    <a:pt x="1137781" y="780596"/>
                    <a:pt x="1124446" y="787263"/>
                  </a:cubicBezTo>
                  <a:cubicBezTo>
                    <a:pt x="1097776" y="793931"/>
                    <a:pt x="1070153" y="791073"/>
                    <a:pt x="1043483" y="789168"/>
                  </a:cubicBezTo>
                  <a:cubicBezTo>
                    <a:pt x="1026338" y="788216"/>
                    <a:pt x="1010146" y="786311"/>
                    <a:pt x="993953" y="794883"/>
                  </a:cubicBezTo>
                  <a:cubicBezTo>
                    <a:pt x="987286" y="810123"/>
                    <a:pt x="971093" y="808218"/>
                    <a:pt x="959663" y="814886"/>
                  </a:cubicBezTo>
                  <a:cubicBezTo>
                    <a:pt x="951091" y="825363"/>
                    <a:pt x="939661" y="831078"/>
                    <a:pt x="929183" y="839651"/>
                  </a:cubicBezTo>
                  <a:lnTo>
                    <a:pt x="925100" y="843462"/>
                  </a:lnTo>
                  <a:lnTo>
                    <a:pt x="915848" y="851081"/>
                  </a:lnTo>
                  <a:cubicBezTo>
                    <a:pt x="915848" y="851081"/>
                    <a:pt x="912991" y="851081"/>
                    <a:pt x="912991" y="851081"/>
                  </a:cubicBezTo>
                  <a:cubicBezTo>
                    <a:pt x="912991" y="851081"/>
                    <a:pt x="914896" y="852986"/>
                    <a:pt x="914896" y="852986"/>
                  </a:cubicBezTo>
                  <a:lnTo>
                    <a:pt x="925100" y="843462"/>
                  </a:lnTo>
                  <a:lnTo>
                    <a:pt x="932041" y="837746"/>
                  </a:lnTo>
                  <a:cubicBezTo>
                    <a:pt x="942518" y="824411"/>
                    <a:pt x="959663" y="826316"/>
                    <a:pt x="972998" y="820601"/>
                  </a:cubicBezTo>
                  <a:cubicBezTo>
                    <a:pt x="979666" y="818696"/>
                    <a:pt x="986333" y="814886"/>
                    <a:pt x="992048" y="814886"/>
                  </a:cubicBezTo>
                  <a:cubicBezTo>
                    <a:pt x="1003478" y="813933"/>
                    <a:pt x="1017766" y="809171"/>
                    <a:pt x="1023481" y="819648"/>
                  </a:cubicBezTo>
                  <a:cubicBezTo>
                    <a:pt x="1032053" y="834888"/>
                    <a:pt x="1013003" y="835841"/>
                    <a:pt x="1005383" y="842508"/>
                  </a:cubicBezTo>
                  <a:cubicBezTo>
                    <a:pt x="1003478" y="844413"/>
                    <a:pt x="1005383" y="851081"/>
                    <a:pt x="1006336" y="854891"/>
                  </a:cubicBezTo>
                  <a:cubicBezTo>
                    <a:pt x="997763" y="866321"/>
                    <a:pt x="1011098" y="877751"/>
                    <a:pt x="1005383" y="889181"/>
                  </a:cubicBezTo>
                  <a:cubicBezTo>
                    <a:pt x="1001573" y="899658"/>
                    <a:pt x="992048" y="903468"/>
                    <a:pt x="984428" y="910136"/>
                  </a:cubicBezTo>
                  <a:cubicBezTo>
                    <a:pt x="974903" y="918708"/>
                    <a:pt x="961568" y="909183"/>
                    <a:pt x="952043" y="916803"/>
                  </a:cubicBezTo>
                  <a:cubicBezTo>
                    <a:pt x="937756" y="931091"/>
                    <a:pt x="916801" y="932043"/>
                    <a:pt x="899656" y="938711"/>
                  </a:cubicBezTo>
                  <a:cubicBezTo>
                    <a:pt x="876796" y="947283"/>
                    <a:pt x="858698" y="959666"/>
                    <a:pt x="855841" y="985383"/>
                  </a:cubicBezTo>
                  <a:cubicBezTo>
                    <a:pt x="853936" y="1001576"/>
                    <a:pt x="839648" y="1003481"/>
                    <a:pt x="831076" y="1003481"/>
                  </a:cubicBezTo>
                  <a:cubicBezTo>
                    <a:pt x="779641" y="1006338"/>
                    <a:pt x="763448" y="1048248"/>
                    <a:pt x="738683" y="1081586"/>
                  </a:cubicBezTo>
                  <a:cubicBezTo>
                    <a:pt x="708203" y="1076823"/>
                    <a:pt x="712013" y="1097778"/>
                    <a:pt x="711061" y="1115876"/>
                  </a:cubicBezTo>
                  <a:cubicBezTo>
                    <a:pt x="707251" y="1144451"/>
                    <a:pt x="692011" y="1163501"/>
                    <a:pt x="666293" y="1175883"/>
                  </a:cubicBezTo>
                  <a:cubicBezTo>
                    <a:pt x="636766" y="1191123"/>
                    <a:pt x="610096" y="1209221"/>
                    <a:pt x="585331" y="1230176"/>
                  </a:cubicBezTo>
                  <a:cubicBezTo>
                    <a:pt x="565328" y="1247320"/>
                    <a:pt x="557708" y="1270181"/>
                    <a:pt x="559613" y="1297803"/>
                  </a:cubicBezTo>
                  <a:cubicBezTo>
                    <a:pt x="561518" y="1327331"/>
                    <a:pt x="564376" y="1356858"/>
                    <a:pt x="557708" y="1386386"/>
                  </a:cubicBezTo>
                  <a:cubicBezTo>
                    <a:pt x="555803" y="1394958"/>
                    <a:pt x="551993" y="1406388"/>
                    <a:pt x="542468" y="1407341"/>
                  </a:cubicBezTo>
                  <a:cubicBezTo>
                    <a:pt x="530086" y="1409246"/>
                    <a:pt x="531038" y="1394958"/>
                    <a:pt x="528181" y="1387338"/>
                  </a:cubicBezTo>
                  <a:cubicBezTo>
                    <a:pt x="522466" y="1365431"/>
                    <a:pt x="516751" y="1344476"/>
                    <a:pt x="519608" y="1320663"/>
                  </a:cubicBezTo>
                  <a:cubicBezTo>
                    <a:pt x="521513" y="1300661"/>
                    <a:pt x="522466" y="1280658"/>
                    <a:pt x="488176" y="1283516"/>
                  </a:cubicBezTo>
                  <a:cubicBezTo>
                    <a:pt x="470078" y="1285421"/>
                    <a:pt x="452933" y="1262561"/>
                    <a:pt x="429121" y="1267323"/>
                  </a:cubicBezTo>
                  <a:cubicBezTo>
                    <a:pt x="422453" y="1268276"/>
                    <a:pt x="411023" y="1265418"/>
                    <a:pt x="409118" y="1268276"/>
                  </a:cubicBezTo>
                  <a:cubicBezTo>
                    <a:pt x="391973" y="1307328"/>
                    <a:pt x="364351" y="1288278"/>
                    <a:pt x="336728" y="1284468"/>
                  </a:cubicBezTo>
                  <a:cubicBezTo>
                    <a:pt x="279578" y="1275896"/>
                    <a:pt x="228143" y="1315901"/>
                    <a:pt x="215761" y="1373051"/>
                  </a:cubicBezTo>
                  <a:cubicBezTo>
                    <a:pt x="210998" y="1396863"/>
                    <a:pt x="193853" y="1415913"/>
                    <a:pt x="189091" y="1441631"/>
                  </a:cubicBezTo>
                  <a:cubicBezTo>
                    <a:pt x="182423" y="1476873"/>
                    <a:pt x="183376" y="1511163"/>
                    <a:pt x="196711" y="1544501"/>
                  </a:cubicBezTo>
                  <a:cubicBezTo>
                    <a:pt x="204331" y="1564503"/>
                    <a:pt x="219571" y="1574028"/>
                    <a:pt x="244336" y="1573076"/>
                  </a:cubicBezTo>
                  <a:cubicBezTo>
                    <a:pt x="284341" y="1571171"/>
                    <a:pt x="310058" y="1555931"/>
                    <a:pt x="320536" y="1514973"/>
                  </a:cubicBezTo>
                  <a:cubicBezTo>
                    <a:pt x="324346" y="1500686"/>
                    <a:pt x="374828" y="1487351"/>
                    <a:pt x="387211" y="1494971"/>
                  </a:cubicBezTo>
                  <a:cubicBezTo>
                    <a:pt x="396736" y="1500686"/>
                    <a:pt x="392926" y="1507353"/>
                    <a:pt x="389116" y="1515926"/>
                  </a:cubicBezTo>
                  <a:cubicBezTo>
                    <a:pt x="372923" y="1552121"/>
                    <a:pt x="358636" y="1589268"/>
                    <a:pt x="340538" y="1624511"/>
                  </a:cubicBezTo>
                  <a:cubicBezTo>
                    <a:pt x="329108" y="1646418"/>
                    <a:pt x="340538" y="1644513"/>
                    <a:pt x="354826" y="1644513"/>
                  </a:cubicBezTo>
                  <a:cubicBezTo>
                    <a:pt x="372923" y="1644513"/>
                    <a:pt x="391973" y="1642608"/>
                    <a:pt x="410071" y="1645466"/>
                  </a:cubicBezTo>
                  <a:cubicBezTo>
                    <a:pt x="432931" y="1649276"/>
                    <a:pt x="449123" y="1658801"/>
                    <a:pt x="439598" y="1687376"/>
                  </a:cubicBezTo>
                  <a:cubicBezTo>
                    <a:pt x="433883" y="1705473"/>
                    <a:pt x="432931" y="1725476"/>
                    <a:pt x="426263" y="1743573"/>
                  </a:cubicBezTo>
                  <a:cubicBezTo>
                    <a:pt x="414833" y="1774053"/>
                    <a:pt x="432931" y="1793103"/>
                    <a:pt x="450076" y="1813106"/>
                  </a:cubicBezTo>
                  <a:cubicBezTo>
                    <a:pt x="466268" y="1832156"/>
                    <a:pt x="483413" y="1819773"/>
                    <a:pt x="499606" y="1812153"/>
                  </a:cubicBezTo>
                  <a:cubicBezTo>
                    <a:pt x="512941" y="1806438"/>
                    <a:pt x="528181" y="1806438"/>
                    <a:pt x="536753" y="1818821"/>
                  </a:cubicBezTo>
                  <a:cubicBezTo>
                    <a:pt x="554851" y="1843586"/>
                    <a:pt x="571996" y="1829298"/>
                    <a:pt x="577711" y="1813106"/>
                  </a:cubicBezTo>
                  <a:cubicBezTo>
                    <a:pt x="591998" y="1771196"/>
                    <a:pt x="630098" y="1768338"/>
                    <a:pt x="661531" y="1754051"/>
                  </a:cubicBezTo>
                  <a:cubicBezTo>
                    <a:pt x="671056" y="1754051"/>
                    <a:pt x="673913" y="1755956"/>
                    <a:pt x="672008" y="1763576"/>
                  </a:cubicBezTo>
                  <a:cubicBezTo>
                    <a:pt x="676771" y="1783578"/>
                    <a:pt x="689153" y="1777863"/>
                    <a:pt x="695821" y="1768338"/>
                  </a:cubicBezTo>
                  <a:cubicBezTo>
                    <a:pt x="713918" y="1745478"/>
                    <a:pt x="729158" y="1761671"/>
                    <a:pt x="741541" y="1772148"/>
                  </a:cubicBezTo>
                  <a:cubicBezTo>
                    <a:pt x="769163" y="1795008"/>
                    <a:pt x="799643" y="1798818"/>
                    <a:pt x="832028" y="1788341"/>
                  </a:cubicBezTo>
                  <a:cubicBezTo>
                    <a:pt x="845363" y="1783578"/>
                    <a:pt x="854888" y="1779768"/>
                    <a:pt x="865366" y="1796913"/>
                  </a:cubicBezTo>
                  <a:cubicBezTo>
                    <a:pt x="875843" y="1814058"/>
                    <a:pt x="896798" y="1823583"/>
                    <a:pt x="910133" y="1838823"/>
                  </a:cubicBezTo>
                  <a:cubicBezTo>
                    <a:pt x="947281" y="1881686"/>
                    <a:pt x="990143" y="1906451"/>
                    <a:pt x="1047293" y="1918833"/>
                  </a:cubicBezTo>
                  <a:cubicBezTo>
                    <a:pt x="1093966" y="1928358"/>
                    <a:pt x="1124446" y="1995986"/>
                    <a:pt x="1116826" y="2036943"/>
                  </a:cubicBezTo>
                  <a:cubicBezTo>
                    <a:pt x="1113968" y="2044563"/>
                    <a:pt x="1111111" y="2051231"/>
                    <a:pt x="1106348" y="2056946"/>
                  </a:cubicBezTo>
                  <a:cubicBezTo>
                    <a:pt x="1092061" y="2071233"/>
                    <a:pt x="1112063" y="2086473"/>
                    <a:pt x="1104443" y="2099808"/>
                  </a:cubicBezTo>
                  <a:cubicBezTo>
                    <a:pt x="1110158" y="2107428"/>
                    <a:pt x="1117778" y="2102666"/>
                    <a:pt x="1124446" y="2102666"/>
                  </a:cubicBezTo>
                  <a:cubicBezTo>
                    <a:pt x="1147306" y="2095046"/>
                    <a:pt x="1161593" y="2062661"/>
                    <a:pt x="1193026" y="2077901"/>
                  </a:cubicBezTo>
                  <a:cubicBezTo>
                    <a:pt x="1225411" y="2087426"/>
                    <a:pt x="1244461" y="2125526"/>
                    <a:pt x="1280656" y="2123621"/>
                  </a:cubicBezTo>
                  <a:cubicBezTo>
                    <a:pt x="1325423" y="2121716"/>
                    <a:pt x="1360666" y="2136956"/>
                    <a:pt x="1387336" y="2172198"/>
                  </a:cubicBezTo>
                  <a:cubicBezTo>
                    <a:pt x="1398766" y="2187438"/>
                    <a:pt x="1427341" y="2172198"/>
                    <a:pt x="1434008" y="2199821"/>
                  </a:cubicBezTo>
                  <a:cubicBezTo>
                    <a:pt x="1440676" y="2228396"/>
                    <a:pt x="1444486" y="2256018"/>
                    <a:pt x="1430198" y="2282688"/>
                  </a:cubicBezTo>
                  <a:cubicBezTo>
                    <a:pt x="1413053" y="2315073"/>
                    <a:pt x="1388288" y="2341743"/>
                    <a:pt x="1370191" y="2373176"/>
                  </a:cubicBezTo>
                  <a:cubicBezTo>
                    <a:pt x="1359713" y="2391273"/>
                    <a:pt x="1356856" y="2406513"/>
                    <a:pt x="1358761" y="2423658"/>
                  </a:cubicBezTo>
                  <a:cubicBezTo>
                    <a:pt x="1366381" y="2486523"/>
                    <a:pt x="1352093" y="2544626"/>
                    <a:pt x="1327328" y="2600823"/>
                  </a:cubicBezTo>
                  <a:cubicBezTo>
                    <a:pt x="1321613" y="2612253"/>
                    <a:pt x="1313041" y="2629398"/>
                    <a:pt x="1293991" y="2626541"/>
                  </a:cubicBezTo>
                  <a:cubicBezTo>
                    <a:pt x="1261606" y="2622731"/>
                    <a:pt x="1241603" y="2647496"/>
                    <a:pt x="1218743" y="2661783"/>
                  </a:cubicBezTo>
                  <a:cubicBezTo>
                    <a:pt x="1203503" y="2671308"/>
                    <a:pt x="1187311" y="2690358"/>
                    <a:pt x="1193026" y="2710361"/>
                  </a:cubicBezTo>
                  <a:cubicBezTo>
                    <a:pt x="1205408" y="2757033"/>
                    <a:pt x="1178738" y="2793228"/>
                    <a:pt x="1164451" y="2832281"/>
                  </a:cubicBezTo>
                  <a:cubicBezTo>
                    <a:pt x="1154926" y="2859903"/>
                    <a:pt x="1136828" y="2884668"/>
                    <a:pt x="1122541" y="2910386"/>
                  </a:cubicBezTo>
                  <a:cubicBezTo>
                    <a:pt x="1116826" y="2920863"/>
                    <a:pt x="1109206" y="2929436"/>
                    <a:pt x="1095871" y="2929436"/>
                  </a:cubicBezTo>
                  <a:cubicBezTo>
                    <a:pt x="1085393" y="2920863"/>
                    <a:pt x="1072058" y="2930388"/>
                    <a:pt x="1061581" y="2922768"/>
                  </a:cubicBezTo>
                  <a:cubicBezTo>
                    <a:pt x="1053961" y="2919911"/>
                    <a:pt x="1044436" y="2911338"/>
                    <a:pt x="1047293" y="2929436"/>
                  </a:cubicBezTo>
                  <a:cubicBezTo>
                    <a:pt x="1052056" y="2938961"/>
                    <a:pt x="1062533" y="2944676"/>
                    <a:pt x="1061581" y="2956106"/>
                  </a:cubicBezTo>
                  <a:cubicBezTo>
                    <a:pt x="1055866" y="2964678"/>
                    <a:pt x="1048246" y="2962773"/>
                    <a:pt x="1040626" y="2959916"/>
                  </a:cubicBezTo>
                  <a:cubicBezTo>
                    <a:pt x="952043" y="2929436"/>
                    <a:pt x="865366" y="2895146"/>
                    <a:pt x="783451" y="2850378"/>
                  </a:cubicBezTo>
                  <a:cubicBezTo>
                    <a:pt x="762496" y="2838948"/>
                    <a:pt x="762496" y="2820851"/>
                    <a:pt x="752971" y="2805611"/>
                  </a:cubicBezTo>
                  <a:cubicBezTo>
                    <a:pt x="730111" y="2799896"/>
                    <a:pt x="738683" y="2779893"/>
                    <a:pt x="737731" y="2765606"/>
                  </a:cubicBezTo>
                  <a:cubicBezTo>
                    <a:pt x="736778" y="2697978"/>
                    <a:pt x="732968" y="2631303"/>
                    <a:pt x="721538" y="2564628"/>
                  </a:cubicBezTo>
                  <a:cubicBezTo>
                    <a:pt x="715823" y="2532243"/>
                    <a:pt x="700583" y="2503668"/>
                    <a:pt x="670103" y="2492238"/>
                  </a:cubicBezTo>
                  <a:cubicBezTo>
                    <a:pt x="596761" y="2464616"/>
                    <a:pt x="568186" y="2400798"/>
                    <a:pt x="539611" y="2337933"/>
                  </a:cubicBezTo>
                  <a:cubicBezTo>
                    <a:pt x="520561" y="2296976"/>
                    <a:pt x="502463" y="2256971"/>
                    <a:pt x="473888" y="2221728"/>
                  </a:cubicBezTo>
                  <a:cubicBezTo>
                    <a:pt x="456743" y="2200773"/>
                    <a:pt x="450076" y="2174103"/>
                    <a:pt x="468173" y="2148386"/>
                  </a:cubicBezTo>
                  <a:cubicBezTo>
                    <a:pt x="473888" y="2140766"/>
                    <a:pt x="477698" y="2133146"/>
                    <a:pt x="471983" y="2122668"/>
                  </a:cubicBezTo>
                  <a:cubicBezTo>
                    <a:pt x="452933" y="2083616"/>
                    <a:pt x="471983" y="2052183"/>
                    <a:pt x="493891" y="2021703"/>
                  </a:cubicBezTo>
                  <a:cubicBezTo>
                    <a:pt x="518656" y="1987413"/>
                    <a:pt x="546278" y="1955028"/>
                    <a:pt x="538658" y="1907403"/>
                  </a:cubicBezTo>
                  <a:cubicBezTo>
                    <a:pt x="535801" y="1889306"/>
                    <a:pt x="531991" y="1871208"/>
                    <a:pt x="524371" y="1854063"/>
                  </a:cubicBezTo>
                  <a:cubicBezTo>
                    <a:pt x="517703" y="1837871"/>
                    <a:pt x="507226" y="1834061"/>
                    <a:pt x="499606" y="1853111"/>
                  </a:cubicBezTo>
                  <a:cubicBezTo>
                    <a:pt x="489128" y="1876923"/>
                    <a:pt x="475793" y="1875018"/>
                    <a:pt x="459601" y="1860731"/>
                  </a:cubicBezTo>
                  <a:cubicBezTo>
                    <a:pt x="443408" y="1847396"/>
                    <a:pt x="425311" y="1838823"/>
                    <a:pt x="408166" y="1827393"/>
                  </a:cubicBezTo>
                  <a:cubicBezTo>
                    <a:pt x="375781" y="1806438"/>
                    <a:pt x="371971" y="1771196"/>
                    <a:pt x="354826" y="1742621"/>
                  </a:cubicBezTo>
                  <a:cubicBezTo>
                    <a:pt x="346253" y="1729286"/>
                    <a:pt x="337681" y="1720713"/>
                    <a:pt x="322441" y="1715951"/>
                  </a:cubicBezTo>
                  <a:cubicBezTo>
                    <a:pt x="289103" y="1705473"/>
                    <a:pt x="255766" y="1691186"/>
                    <a:pt x="234811" y="1658801"/>
                  </a:cubicBezTo>
                  <a:cubicBezTo>
                    <a:pt x="228143" y="1649276"/>
                    <a:pt x="218618" y="1639751"/>
                    <a:pt x="206236" y="1644513"/>
                  </a:cubicBezTo>
                  <a:cubicBezTo>
                    <a:pt x="170993" y="1656896"/>
                    <a:pt x="143371" y="1639751"/>
                    <a:pt x="116701" y="1622606"/>
                  </a:cubicBezTo>
                  <a:cubicBezTo>
                    <a:pt x="85268" y="1603556"/>
                    <a:pt x="54788" y="1583553"/>
                    <a:pt x="28118" y="1557836"/>
                  </a:cubicBezTo>
                  <a:cubicBezTo>
                    <a:pt x="11926" y="1541643"/>
                    <a:pt x="1448" y="1523546"/>
                    <a:pt x="12878" y="1499733"/>
                  </a:cubicBezTo>
                  <a:cubicBezTo>
                    <a:pt x="20498" y="1482588"/>
                    <a:pt x="16688" y="1463538"/>
                    <a:pt x="10021" y="1446393"/>
                  </a:cubicBezTo>
                  <a:cubicBezTo>
                    <a:pt x="6211" y="1434963"/>
                    <a:pt x="-1409" y="1423533"/>
                    <a:pt x="5258" y="1410198"/>
                  </a:cubicBezTo>
                  <a:cubicBezTo>
                    <a:pt x="-12839" y="1304471"/>
                    <a:pt x="19546" y="1205411"/>
                    <a:pt x="45263" y="1105398"/>
                  </a:cubicBezTo>
                  <a:cubicBezTo>
                    <a:pt x="94793" y="912993"/>
                    <a:pt x="185281" y="739638"/>
                    <a:pt x="304343" y="581523"/>
                  </a:cubicBezTo>
                  <a:cubicBezTo>
                    <a:pt x="374828" y="487226"/>
                    <a:pt x="458648" y="405311"/>
                    <a:pt x="548183" y="329111"/>
                  </a:cubicBezTo>
                  <a:cubicBezTo>
                    <a:pt x="568186" y="311966"/>
                    <a:pt x="591046" y="303393"/>
                    <a:pt x="617716" y="317681"/>
                  </a:cubicBezTo>
                  <a:cubicBezTo>
                    <a:pt x="628193" y="324348"/>
                    <a:pt x="628193" y="314823"/>
                    <a:pt x="631051" y="309108"/>
                  </a:cubicBezTo>
                  <a:cubicBezTo>
                    <a:pt x="652006" y="308156"/>
                    <a:pt x="669151" y="289106"/>
                    <a:pt x="692011" y="299583"/>
                  </a:cubicBezTo>
                  <a:cubicBezTo>
                    <a:pt x="712013" y="311966"/>
                    <a:pt x="732968" y="317681"/>
                    <a:pt x="756781" y="316728"/>
                  </a:cubicBezTo>
                  <a:cubicBezTo>
                    <a:pt x="764401" y="317681"/>
                    <a:pt x="772973" y="320538"/>
                    <a:pt x="780593" y="315776"/>
                  </a:cubicBezTo>
                  <a:cubicBezTo>
                    <a:pt x="786308" y="312918"/>
                    <a:pt x="792023" y="311966"/>
                    <a:pt x="797738" y="314823"/>
                  </a:cubicBezTo>
                  <a:cubicBezTo>
                    <a:pt x="808216" y="327206"/>
                    <a:pt x="819646" y="321491"/>
                    <a:pt x="831076" y="316728"/>
                  </a:cubicBezTo>
                  <a:cubicBezTo>
                    <a:pt x="837743" y="304346"/>
                    <a:pt x="858698" y="297678"/>
                    <a:pt x="841553" y="277676"/>
                  </a:cubicBezTo>
                  <a:cubicBezTo>
                    <a:pt x="834886" y="270056"/>
                    <a:pt x="846316" y="263388"/>
                    <a:pt x="852031" y="259578"/>
                  </a:cubicBezTo>
                  <a:cubicBezTo>
                    <a:pt x="857269" y="255768"/>
                    <a:pt x="862508" y="252434"/>
                    <a:pt x="867152" y="248624"/>
                  </a:cubicBezTo>
                  <a:lnTo>
                    <a:pt x="876026" y="238011"/>
                  </a:lnTo>
                  <a:lnTo>
                    <a:pt x="858921" y="241392"/>
                  </a:lnTo>
                  <a:cubicBezTo>
                    <a:pt x="840303" y="244874"/>
                    <a:pt x="823694" y="244338"/>
                    <a:pt x="821551" y="210048"/>
                  </a:cubicBezTo>
                  <a:cubicBezTo>
                    <a:pt x="833933" y="208143"/>
                    <a:pt x="848221" y="208143"/>
                    <a:pt x="857746" y="190998"/>
                  </a:cubicBezTo>
                  <a:cubicBezTo>
                    <a:pt x="861079" y="184807"/>
                    <a:pt x="867032" y="183378"/>
                    <a:pt x="873343" y="184331"/>
                  </a:cubicBezTo>
                  <a:close/>
                  <a:moveTo>
                    <a:pt x="798215" y="181949"/>
                  </a:moveTo>
                  <a:cubicBezTo>
                    <a:pt x="801310" y="182187"/>
                    <a:pt x="803930" y="183378"/>
                    <a:pt x="805359" y="187188"/>
                  </a:cubicBezTo>
                  <a:cubicBezTo>
                    <a:pt x="808216" y="194808"/>
                    <a:pt x="800596" y="194808"/>
                    <a:pt x="795834" y="196713"/>
                  </a:cubicBezTo>
                  <a:cubicBezTo>
                    <a:pt x="790119" y="193856"/>
                    <a:pt x="788214" y="189093"/>
                    <a:pt x="788214" y="182426"/>
                  </a:cubicBezTo>
                  <a:cubicBezTo>
                    <a:pt x="791547" y="182426"/>
                    <a:pt x="795119" y="181711"/>
                    <a:pt x="798215" y="181949"/>
                  </a:cubicBezTo>
                  <a:close/>
                  <a:moveTo>
                    <a:pt x="938708" y="121466"/>
                  </a:moveTo>
                  <a:cubicBezTo>
                    <a:pt x="943471" y="128133"/>
                    <a:pt x="953948" y="130038"/>
                    <a:pt x="952043" y="141468"/>
                  </a:cubicBezTo>
                  <a:lnTo>
                    <a:pt x="951037" y="142501"/>
                  </a:lnTo>
                  <a:lnTo>
                    <a:pt x="953949" y="140516"/>
                  </a:lnTo>
                  <a:cubicBezTo>
                    <a:pt x="952996" y="143373"/>
                    <a:pt x="952996" y="146231"/>
                    <a:pt x="952996" y="148136"/>
                  </a:cubicBezTo>
                  <a:cubicBezTo>
                    <a:pt x="952996" y="154803"/>
                    <a:pt x="952996" y="161471"/>
                    <a:pt x="952996" y="169091"/>
                  </a:cubicBezTo>
                  <a:cubicBezTo>
                    <a:pt x="949662" y="166709"/>
                    <a:pt x="947281" y="162899"/>
                    <a:pt x="944424" y="159804"/>
                  </a:cubicBezTo>
                  <a:lnTo>
                    <a:pt x="933131" y="154863"/>
                  </a:lnTo>
                  <a:lnTo>
                    <a:pt x="931088" y="155756"/>
                  </a:lnTo>
                  <a:cubicBezTo>
                    <a:pt x="931088" y="155756"/>
                    <a:pt x="930136" y="155756"/>
                    <a:pt x="930136" y="155756"/>
                  </a:cubicBezTo>
                  <a:cubicBezTo>
                    <a:pt x="925373" y="152898"/>
                    <a:pt x="906323" y="162423"/>
                    <a:pt x="918706" y="144326"/>
                  </a:cubicBezTo>
                  <a:cubicBezTo>
                    <a:pt x="923468" y="137658"/>
                    <a:pt x="931088" y="131943"/>
                    <a:pt x="931088" y="122418"/>
                  </a:cubicBezTo>
                  <a:cubicBezTo>
                    <a:pt x="934898" y="118608"/>
                    <a:pt x="936803" y="118608"/>
                    <a:pt x="938708" y="121466"/>
                  </a:cubicBezTo>
                  <a:close/>
                  <a:moveTo>
                    <a:pt x="925373" y="107178"/>
                  </a:moveTo>
                  <a:cubicBezTo>
                    <a:pt x="930136" y="111940"/>
                    <a:pt x="934898" y="116703"/>
                    <a:pt x="938708" y="121465"/>
                  </a:cubicBezTo>
                  <a:lnTo>
                    <a:pt x="935851" y="121465"/>
                  </a:lnTo>
                  <a:cubicBezTo>
                    <a:pt x="935851" y="121465"/>
                    <a:pt x="932993" y="121465"/>
                    <a:pt x="932993" y="121465"/>
                  </a:cubicBezTo>
                  <a:cubicBezTo>
                    <a:pt x="923468" y="125275"/>
                    <a:pt x="912991" y="131943"/>
                    <a:pt x="901561" y="123370"/>
                  </a:cubicBezTo>
                  <a:cubicBezTo>
                    <a:pt x="904418" y="109083"/>
                    <a:pt x="915848" y="109083"/>
                    <a:pt x="925373" y="107178"/>
                  </a:cubicBezTo>
                  <a:close/>
                  <a:moveTo>
                    <a:pt x="1021576" y="71936"/>
                  </a:moveTo>
                  <a:cubicBezTo>
                    <a:pt x="1037768" y="75746"/>
                    <a:pt x="1038721" y="87176"/>
                    <a:pt x="1031101" y="97653"/>
                  </a:cubicBezTo>
                  <a:cubicBezTo>
                    <a:pt x="1019671" y="115751"/>
                    <a:pt x="1011098" y="95748"/>
                    <a:pt x="1000621" y="92891"/>
                  </a:cubicBezTo>
                  <a:cubicBezTo>
                    <a:pt x="1002526" y="88128"/>
                    <a:pt x="1005383" y="83366"/>
                    <a:pt x="1007288" y="79556"/>
                  </a:cubicBezTo>
                  <a:cubicBezTo>
                    <a:pt x="1012051" y="76698"/>
                    <a:pt x="1016813" y="74793"/>
                    <a:pt x="1021576" y="71936"/>
                  </a:cubicBezTo>
                  <a:close/>
                  <a:moveTo>
                    <a:pt x="1113849" y="40265"/>
                  </a:moveTo>
                  <a:cubicBezTo>
                    <a:pt x="1128732" y="39074"/>
                    <a:pt x="1143972" y="42885"/>
                    <a:pt x="1159689" y="51933"/>
                  </a:cubicBezTo>
                  <a:cubicBezTo>
                    <a:pt x="1175881" y="68126"/>
                    <a:pt x="1166356" y="76698"/>
                    <a:pt x="1151116" y="84318"/>
                  </a:cubicBezTo>
                  <a:cubicBezTo>
                    <a:pt x="1137781" y="90986"/>
                    <a:pt x="1123494" y="86223"/>
                    <a:pt x="1111111" y="92891"/>
                  </a:cubicBezTo>
                  <a:cubicBezTo>
                    <a:pt x="1083489" y="98606"/>
                    <a:pt x="1067296" y="90033"/>
                    <a:pt x="1070153" y="58601"/>
                  </a:cubicBezTo>
                  <a:cubicBezTo>
                    <a:pt x="1084441" y="47647"/>
                    <a:pt x="1098967" y="41456"/>
                    <a:pt x="1113849" y="40265"/>
                  </a:cubicBezTo>
                  <a:close/>
                  <a:moveTo>
                    <a:pt x="1400760" y="96"/>
                  </a:moveTo>
                  <a:cubicBezTo>
                    <a:pt x="1426031" y="498"/>
                    <a:pt x="1451392" y="2164"/>
                    <a:pt x="1476871" y="5260"/>
                  </a:cubicBezTo>
                  <a:cubicBezTo>
                    <a:pt x="1521639" y="13833"/>
                    <a:pt x="1566406" y="14785"/>
                    <a:pt x="1611174" y="9070"/>
                  </a:cubicBezTo>
                  <a:cubicBezTo>
                    <a:pt x="1614984" y="7165"/>
                    <a:pt x="1619746" y="9070"/>
                    <a:pt x="1619746" y="17643"/>
                  </a:cubicBezTo>
                  <a:cubicBezTo>
                    <a:pt x="1631176" y="13833"/>
                    <a:pt x="1639748" y="20500"/>
                    <a:pt x="1646416" y="28120"/>
                  </a:cubicBezTo>
                  <a:cubicBezTo>
                    <a:pt x="1652131" y="36693"/>
                    <a:pt x="1659751" y="35740"/>
                    <a:pt x="1667371" y="31930"/>
                  </a:cubicBezTo>
                  <a:cubicBezTo>
                    <a:pt x="1693088" y="18119"/>
                    <a:pt x="1717377" y="11690"/>
                    <a:pt x="1742261" y="11690"/>
                  </a:cubicBezTo>
                  <a:cubicBezTo>
                    <a:pt x="1767145" y="11690"/>
                    <a:pt x="1792624" y="18119"/>
                    <a:pt x="1820723" y="30025"/>
                  </a:cubicBezTo>
                  <a:cubicBezTo>
                    <a:pt x="1845488" y="40503"/>
                    <a:pt x="1874063" y="40503"/>
                    <a:pt x="1901686" y="45265"/>
                  </a:cubicBezTo>
                  <a:cubicBezTo>
                    <a:pt x="1905496" y="54790"/>
                    <a:pt x="1888351" y="56695"/>
                    <a:pt x="1894066" y="69078"/>
                  </a:cubicBezTo>
                  <a:cubicBezTo>
                    <a:pt x="1913116" y="57648"/>
                    <a:pt x="1934071" y="52885"/>
                    <a:pt x="1955978" y="55743"/>
                  </a:cubicBezTo>
                  <a:cubicBezTo>
                    <a:pt x="1961693" y="62410"/>
                    <a:pt x="1959788" y="69078"/>
                    <a:pt x="1954073" y="71935"/>
                  </a:cubicBezTo>
                  <a:cubicBezTo>
                    <a:pt x="1939786" y="78603"/>
                    <a:pt x="1939786" y="91938"/>
                    <a:pt x="1935976" y="103368"/>
                  </a:cubicBezTo>
                  <a:cubicBezTo>
                    <a:pt x="1904543" y="124323"/>
                    <a:pt x="1914068" y="142420"/>
                    <a:pt x="1949311" y="161470"/>
                  </a:cubicBezTo>
                  <a:cubicBezTo>
                    <a:pt x="1923593" y="162423"/>
                    <a:pt x="1905496" y="153850"/>
                    <a:pt x="1894066" y="171948"/>
                  </a:cubicBezTo>
                  <a:cubicBezTo>
                    <a:pt x="1899781" y="177663"/>
                    <a:pt x="1909306" y="175758"/>
                    <a:pt x="1913116" y="183378"/>
                  </a:cubicBezTo>
                  <a:cubicBezTo>
                    <a:pt x="1917878" y="187188"/>
                    <a:pt x="1922641" y="195760"/>
                    <a:pt x="1907401" y="196713"/>
                  </a:cubicBezTo>
                  <a:cubicBezTo>
                    <a:pt x="1907401" y="221478"/>
                    <a:pt x="1903591" y="242433"/>
                    <a:pt x="1873111" y="245290"/>
                  </a:cubicBezTo>
                  <a:cubicBezTo>
                    <a:pt x="1842631" y="244338"/>
                    <a:pt x="1879778" y="263388"/>
                    <a:pt x="1866443" y="267198"/>
                  </a:cubicBezTo>
                  <a:cubicBezTo>
                    <a:pt x="1860728" y="271008"/>
                    <a:pt x="1855013" y="271960"/>
                    <a:pt x="1851203" y="270055"/>
                  </a:cubicBezTo>
                  <a:cubicBezTo>
                    <a:pt x="1860728" y="280533"/>
                    <a:pt x="1876921" y="291963"/>
                    <a:pt x="1866443" y="313870"/>
                  </a:cubicBezTo>
                  <a:cubicBezTo>
                    <a:pt x="1859776" y="319585"/>
                    <a:pt x="1852156" y="321490"/>
                    <a:pt x="1843583" y="319585"/>
                  </a:cubicBezTo>
                  <a:cubicBezTo>
                    <a:pt x="1833106" y="315775"/>
                    <a:pt x="1827391" y="307203"/>
                    <a:pt x="1819771" y="300535"/>
                  </a:cubicBezTo>
                  <a:cubicBezTo>
                    <a:pt x="1811198" y="310060"/>
                    <a:pt x="1800721" y="314823"/>
                    <a:pt x="1788338" y="313870"/>
                  </a:cubicBezTo>
                  <a:cubicBezTo>
                    <a:pt x="1791196" y="322443"/>
                    <a:pt x="1796911" y="313870"/>
                    <a:pt x="1800721" y="315775"/>
                  </a:cubicBezTo>
                  <a:cubicBezTo>
                    <a:pt x="1808341" y="314823"/>
                    <a:pt x="1815961" y="312918"/>
                    <a:pt x="1823581" y="314823"/>
                  </a:cubicBezTo>
                  <a:cubicBezTo>
                    <a:pt x="1826438" y="315775"/>
                    <a:pt x="1830248" y="316728"/>
                    <a:pt x="1833106" y="317680"/>
                  </a:cubicBezTo>
                  <a:cubicBezTo>
                    <a:pt x="1838821" y="322443"/>
                    <a:pt x="1842631" y="327205"/>
                    <a:pt x="1838821" y="334825"/>
                  </a:cubicBezTo>
                  <a:cubicBezTo>
                    <a:pt x="1800721" y="354828"/>
                    <a:pt x="1760716" y="371020"/>
                    <a:pt x="1715948" y="370068"/>
                  </a:cubicBezTo>
                  <a:cubicBezTo>
                    <a:pt x="1707376" y="370068"/>
                    <a:pt x="1695946" y="372925"/>
                    <a:pt x="1691183" y="379593"/>
                  </a:cubicBezTo>
                  <a:cubicBezTo>
                    <a:pt x="1662608" y="411025"/>
                    <a:pt x="1627366" y="425313"/>
                    <a:pt x="1586408" y="430075"/>
                  </a:cubicBezTo>
                  <a:cubicBezTo>
                    <a:pt x="1564501" y="432933"/>
                    <a:pt x="1554976" y="450078"/>
                    <a:pt x="1542593" y="468175"/>
                  </a:cubicBezTo>
                  <a:cubicBezTo>
                    <a:pt x="1522591" y="497703"/>
                    <a:pt x="1501636" y="527230"/>
                    <a:pt x="1480681" y="555805"/>
                  </a:cubicBezTo>
                  <a:cubicBezTo>
                    <a:pt x="1475918" y="562473"/>
                    <a:pt x="1469251" y="562473"/>
                    <a:pt x="1462583" y="562473"/>
                  </a:cubicBezTo>
                  <a:cubicBezTo>
                    <a:pt x="1419721" y="558663"/>
                    <a:pt x="1380668" y="507228"/>
                    <a:pt x="1385431" y="462460"/>
                  </a:cubicBezTo>
                  <a:cubicBezTo>
                    <a:pt x="1388288" y="441505"/>
                    <a:pt x="1374001" y="421503"/>
                    <a:pt x="1379716" y="398643"/>
                  </a:cubicBezTo>
                  <a:cubicBezTo>
                    <a:pt x="1387336" y="363400"/>
                    <a:pt x="1418768" y="354828"/>
                    <a:pt x="1441628" y="335778"/>
                  </a:cubicBezTo>
                  <a:cubicBezTo>
                    <a:pt x="1443533" y="331015"/>
                    <a:pt x="1445438" y="325300"/>
                    <a:pt x="1449248" y="321490"/>
                  </a:cubicBezTo>
                  <a:cubicBezTo>
                    <a:pt x="1454011" y="314823"/>
                    <a:pt x="1454963" y="306250"/>
                    <a:pt x="1461631" y="300535"/>
                  </a:cubicBezTo>
                  <a:cubicBezTo>
                    <a:pt x="1451153" y="280533"/>
                    <a:pt x="1439723" y="265293"/>
                    <a:pt x="1412101" y="280533"/>
                  </a:cubicBezTo>
                  <a:cubicBezTo>
                    <a:pt x="1425436" y="259578"/>
                    <a:pt x="1438771" y="241480"/>
                    <a:pt x="1434961" y="215763"/>
                  </a:cubicBezTo>
                  <a:cubicBezTo>
                    <a:pt x="1430198" y="178615"/>
                    <a:pt x="1409243" y="158613"/>
                    <a:pt x="1371143" y="160518"/>
                  </a:cubicBezTo>
                  <a:cubicBezTo>
                    <a:pt x="1357808" y="161470"/>
                    <a:pt x="1343521" y="159565"/>
                    <a:pt x="1331138" y="162423"/>
                  </a:cubicBezTo>
                  <a:cubicBezTo>
                    <a:pt x="1317803" y="165280"/>
                    <a:pt x="1310183" y="161470"/>
                    <a:pt x="1303516" y="150040"/>
                  </a:cubicBezTo>
                  <a:cubicBezTo>
                    <a:pt x="1296848" y="136705"/>
                    <a:pt x="1300658" y="131943"/>
                    <a:pt x="1313993" y="130038"/>
                  </a:cubicBezTo>
                  <a:cubicBezTo>
                    <a:pt x="1321613" y="129085"/>
                    <a:pt x="1316851" y="124323"/>
                    <a:pt x="1313041" y="121465"/>
                  </a:cubicBezTo>
                  <a:cubicBezTo>
                    <a:pt x="1283513" y="99558"/>
                    <a:pt x="1311136" y="99558"/>
                    <a:pt x="1323518" y="96700"/>
                  </a:cubicBezTo>
                  <a:cubicBezTo>
                    <a:pt x="1344473" y="92890"/>
                    <a:pt x="1365428" y="88128"/>
                    <a:pt x="1387336" y="88128"/>
                  </a:cubicBezTo>
                  <a:cubicBezTo>
                    <a:pt x="1399718" y="88128"/>
                    <a:pt x="1414006" y="81460"/>
                    <a:pt x="1394003" y="68125"/>
                  </a:cubicBezTo>
                  <a:cubicBezTo>
                    <a:pt x="1402576" y="42408"/>
                    <a:pt x="1427341" y="49075"/>
                    <a:pt x="1445438" y="41455"/>
                  </a:cubicBezTo>
                  <a:lnTo>
                    <a:pt x="1471104" y="35589"/>
                  </a:lnTo>
                  <a:lnTo>
                    <a:pt x="1469608" y="35026"/>
                  </a:lnTo>
                  <a:cubicBezTo>
                    <a:pt x="1465441" y="34550"/>
                    <a:pt x="1461155" y="34788"/>
                    <a:pt x="1456869" y="34788"/>
                  </a:cubicBezTo>
                  <a:cubicBezTo>
                    <a:pt x="1424484" y="38598"/>
                    <a:pt x="1396861" y="56695"/>
                    <a:pt x="1365429" y="60505"/>
                  </a:cubicBezTo>
                  <a:cubicBezTo>
                    <a:pt x="1307326" y="66220"/>
                    <a:pt x="1264464" y="112893"/>
                    <a:pt x="1208266" y="122418"/>
                  </a:cubicBezTo>
                  <a:cubicBezTo>
                    <a:pt x="1196836" y="130038"/>
                    <a:pt x="1186359" y="129085"/>
                    <a:pt x="1175881" y="122418"/>
                  </a:cubicBezTo>
                  <a:cubicBezTo>
                    <a:pt x="1178739" y="129085"/>
                    <a:pt x="1197789" y="127180"/>
                    <a:pt x="1187311" y="142420"/>
                  </a:cubicBezTo>
                  <a:cubicBezTo>
                    <a:pt x="1185406" y="144325"/>
                    <a:pt x="1182549" y="146230"/>
                    <a:pt x="1180644" y="149088"/>
                  </a:cubicBezTo>
                  <a:cubicBezTo>
                    <a:pt x="1173262" y="152183"/>
                    <a:pt x="1165939" y="153434"/>
                    <a:pt x="1158647" y="153642"/>
                  </a:cubicBezTo>
                  <a:lnTo>
                    <a:pt x="1143520" y="152466"/>
                  </a:lnTo>
                  <a:lnTo>
                    <a:pt x="1148259" y="153731"/>
                  </a:lnTo>
                  <a:cubicBezTo>
                    <a:pt x="1153498" y="157422"/>
                    <a:pt x="1155879" y="163851"/>
                    <a:pt x="1152069" y="175758"/>
                  </a:cubicBezTo>
                  <a:cubicBezTo>
                    <a:pt x="1112064" y="198618"/>
                    <a:pt x="1069201" y="175758"/>
                    <a:pt x="1029196" y="182425"/>
                  </a:cubicBezTo>
                  <a:cubicBezTo>
                    <a:pt x="1020624" y="171948"/>
                    <a:pt x="980619" y="182425"/>
                    <a:pt x="1006336" y="148135"/>
                  </a:cubicBezTo>
                  <a:cubicBezTo>
                    <a:pt x="1011099" y="141468"/>
                    <a:pt x="1003479" y="136705"/>
                    <a:pt x="995859" y="134800"/>
                  </a:cubicBezTo>
                  <a:cubicBezTo>
                    <a:pt x="984429" y="131943"/>
                    <a:pt x="981571" y="125275"/>
                    <a:pt x="987286" y="114798"/>
                  </a:cubicBezTo>
                  <a:cubicBezTo>
                    <a:pt x="1010146" y="115750"/>
                    <a:pt x="1027291" y="130990"/>
                    <a:pt x="1049199" y="134800"/>
                  </a:cubicBezTo>
                  <a:cubicBezTo>
                    <a:pt x="1053009" y="140515"/>
                    <a:pt x="1055866" y="147183"/>
                    <a:pt x="1064439" y="149088"/>
                  </a:cubicBezTo>
                  <a:cubicBezTo>
                    <a:pt x="1074916" y="150993"/>
                    <a:pt x="1085394" y="150278"/>
                    <a:pt x="1095871" y="149326"/>
                  </a:cubicBezTo>
                  <a:lnTo>
                    <a:pt x="1106484" y="148924"/>
                  </a:lnTo>
                  <a:lnTo>
                    <a:pt x="1093014" y="149088"/>
                  </a:lnTo>
                  <a:cubicBezTo>
                    <a:pt x="1081584" y="144325"/>
                    <a:pt x="1067296" y="146230"/>
                    <a:pt x="1062534" y="131943"/>
                  </a:cubicBezTo>
                  <a:cubicBezTo>
                    <a:pt x="1083489" y="115750"/>
                    <a:pt x="1102539" y="93843"/>
                    <a:pt x="1133971" y="110988"/>
                  </a:cubicBezTo>
                  <a:cubicBezTo>
                    <a:pt x="1150164" y="112893"/>
                    <a:pt x="1147306" y="91938"/>
                    <a:pt x="1158736" y="88128"/>
                  </a:cubicBezTo>
                  <a:cubicBezTo>
                    <a:pt x="1164451" y="84318"/>
                    <a:pt x="1172071" y="81460"/>
                    <a:pt x="1173024" y="73840"/>
                  </a:cubicBezTo>
                  <a:cubicBezTo>
                    <a:pt x="1176834" y="44313"/>
                    <a:pt x="1193979" y="46218"/>
                    <a:pt x="1214934" y="54790"/>
                  </a:cubicBezTo>
                  <a:cubicBezTo>
                    <a:pt x="1234936" y="51933"/>
                    <a:pt x="1254939" y="44313"/>
                    <a:pt x="1275894" y="44313"/>
                  </a:cubicBezTo>
                  <a:cubicBezTo>
                    <a:pt x="1253986" y="44313"/>
                    <a:pt x="1233031" y="51933"/>
                    <a:pt x="1211124" y="51933"/>
                  </a:cubicBezTo>
                  <a:cubicBezTo>
                    <a:pt x="1199694" y="46218"/>
                    <a:pt x="1184454" y="50028"/>
                    <a:pt x="1174929" y="39550"/>
                  </a:cubicBezTo>
                  <a:cubicBezTo>
                    <a:pt x="1174929" y="34788"/>
                    <a:pt x="1174929" y="30978"/>
                    <a:pt x="1174929" y="26215"/>
                  </a:cubicBezTo>
                  <a:cubicBezTo>
                    <a:pt x="1249938" y="9070"/>
                    <a:pt x="1324947" y="-1110"/>
                    <a:pt x="1400760" y="96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AA4C02D2-1323-4473-9FA1-F843E5BAA1F0}"/>
              </a:ext>
            </a:extLst>
          </p:cNvPr>
          <p:cNvSpPr txBox="1"/>
          <p:nvPr/>
        </p:nvSpPr>
        <p:spPr>
          <a:xfrm>
            <a:off x="6261652" y="2571754"/>
            <a:ext cx="5930348" cy="34163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ko-KR" sz="5400" b="1" i="0" u="none" strike="noStrike" kern="1200" cap="none" spc="0" normalizeH="0" baseline="0" noProof="0" dirty="0">
                <a:ln>
                  <a:noFill/>
                </a:ln>
                <a:solidFill>
                  <a:srgbClr val="394C79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rPr>
              <a:t>SISTEM INFORMASI MANAJEMEN PENGALAMAN (SIMPAN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1CE7A2F-A3EE-49C0-92BC-9041F9E4725C}"/>
              </a:ext>
            </a:extLst>
          </p:cNvPr>
          <p:cNvGrpSpPr/>
          <p:nvPr/>
        </p:nvGrpSpPr>
        <p:grpSpPr>
          <a:xfrm>
            <a:off x="7382430" y="1660776"/>
            <a:ext cx="2036992" cy="690412"/>
            <a:chOff x="363148" y="262896"/>
            <a:chExt cx="2965370" cy="1005075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BFB1113-EFEB-4E0E-A714-4AF331FB6FFA}"/>
                </a:ext>
              </a:extLst>
            </p:cNvPr>
            <p:cNvSpPr/>
            <p:nvPr/>
          </p:nvSpPr>
          <p:spPr>
            <a:xfrm>
              <a:off x="2209270" y="455209"/>
              <a:ext cx="637492" cy="358684"/>
            </a:xfrm>
            <a:custGeom>
              <a:avLst/>
              <a:gdLst>
                <a:gd name="connsiteX0" fmla="*/ 363745 w 1020075"/>
                <a:gd name="connsiteY0" fmla="*/ 0 h 573944"/>
                <a:gd name="connsiteX1" fmla="*/ 1020075 w 1020075"/>
                <a:gd name="connsiteY1" fmla="*/ 569873 h 573944"/>
                <a:gd name="connsiteX2" fmla="*/ 1012022 w 1020075"/>
                <a:gd name="connsiteY2" fmla="*/ 573944 h 573944"/>
                <a:gd name="connsiteX3" fmla="*/ 367771 w 1020075"/>
                <a:gd name="connsiteY3" fmla="*/ 48846 h 573944"/>
                <a:gd name="connsiteX4" fmla="*/ 152979 w 1020075"/>
                <a:gd name="connsiteY4" fmla="*/ 212429 h 573944"/>
                <a:gd name="connsiteX5" fmla="*/ 0 w 1020075"/>
                <a:gd name="connsiteY5" fmla="*/ 80959 h 573944"/>
                <a:gd name="connsiteX6" fmla="*/ 89938 w 1020075"/>
                <a:gd name="connsiteY6" fmla="*/ 8141 h 57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075" h="573944">
                  <a:moveTo>
                    <a:pt x="363745" y="0"/>
                  </a:moveTo>
                  <a:lnTo>
                    <a:pt x="1020075" y="569873"/>
                  </a:lnTo>
                  <a:lnTo>
                    <a:pt x="1012022" y="573944"/>
                  </a:lnTo>
                  <a:lnTo>
                    <a:pt x="367771" y="48846"/>
                  </a:lnTo>
                  <a:lnTo>
                    <a:pt x="152979" y="212429"/>
                  </a:lnTo>
                  <a:lnTo>
                    <a:pt x="0" y="80959"/>
                  </a:lnTo>
                  <a:lnTo>
                    <a:pt x="89938" y="814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0564D58-4A13-4335-B68C-B4F231AD6AD5}"/>
                </a:ext>
              </a:extLst>
            </p:cNvPr>
            <p:cNvSpPr/>
            <p:nvPr/>
          </p:nvSpPr>
          <p:spPr>
            <a:xfrm>
              <a:off x="363148" y="262896"/>
              <a:ext cx="2483614" cy="989049"/>
            </a:xfrm>
            <a:custGeom>
              <a:avLst/>
              <a:gdLst>
                <a:gd name="connsiteX0" fmla="*/ 0 w 3974123"/>
                <a:gd name="connsiteY0" fmla="*/ 1573823 h 1582615"/>
                <a:gd name="connsiteX1" fmla="*/ 589084 w 3974123"/>
                <a:gd name="connsiteY1" fmla="*/ 1582615 h 1582615"/>
                <a:gd name="connsiteX2" fmla="*/ 2549769 w 3974123"/>
                <a:gd name="connsiteY2" fmla="*/ 105507 h 1582615"/>
                <a:gd name="connsiteX3" fmla="*/ 3956538 w 3974123"/>
                <a:gd name="connsiteY3" fmla="*/ 1239715 h 1582615"/>
                <a:gd name="connsiteX4" fmla="*/ 3974123 w 3974123"/>
                <a:gd name="connsiteY4" fmla="*/ 1230923 h 1582615"/>
                <a:gd name="connsiteX5" fmla="*/ 2540977 w 3974123"/>
                <a:gd name="connsiteY5" fmla="*/ 0 h 1582615"/>
                <a:gd name="connsiteX6" fmla="*/ 1943100 w 3974123"/>
                <a:gd name="connsiteY6" fmla="*/ 17584 h 1582615"/>
                <a:gd name="connsiteX7" fmla="*/ 0 w 3974123"/>
                <a:gd name="connsiteY7" fmla="*/ 1573823 h 158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74123" h="1582615">
                  <a:moveTo>
                    <a:pt x="0" y="1573823"/>
                  </a:moveTo>
                  <a:lnTo>
                    <a:pt x="589084" y="1582615"/>
                  </a:lnTo>
                  <a:lnTo>
                    <a:pt x="2549769" y="105507"/>
                  </a:lnTo>
                  <a:lnTo>
                    <a:pt x="3956538" y="1239715"/>
                  </a:lnTo>
                  <a:lnTo>
                    <a:pt x="3974123" y="1230923"/>
                  </a:lnTo>
                  <a:lnTo>
                    <a:pt x="2540977" y="0"/>
                  </a:lnTo>
                  <a:lnTo>
                    <a:pt x="1943100" y="17584"/>
                  </a:lnTo>
                  <a:lnTo>
                    <a:pt x="0" y="1573823"/>
                  </a:lnTo>
                  <a:close/>
                </a:path>
              </a:pathLst>
            </a:custGeom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D6A9017-82BA-413D-BD13-CBAB41C0B0A1}"/>
                </a:ext>
              </a:extLst>
            </p:cNvPr>
            <p:cNvGrpSpPr/>
            <p:nvPr/>
          </p:nvGrpSpPr>
          <p:grpSpPr>
            <a:xfrm>
              <a:off x="1753312" y="822441"/>
              <a:ext cx="388293" cy="397909"/>
              <a:chOff x="4985238" y="2460380"/>
              <a:chExt cx="621322" cy="636709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3C03C-FF88-42AC-A93E-610DC210DC0E}"/>
                  </a:ext>
                </a:extLst>
              </p:cNvPr>
              <p:cNvSpPr/>
              <p:nvPr/>
            </p:nvSpPr>
            <p:spPr>
              <a:xfrm>
                <a:off x="4985238" y="2460380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B17DBED-DE50-4C89-8615-B31F7EFF769F}"/>
                  </a:ext>
                </a:extLst>
              </p:cNvPr>
              <p:cNvSpPr/>
              <p:nvPr/>
            </p:nvSpPr>
            <p:spPr>
              <a:xfrm>
                <a:off x="5316414" y="2460380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AB543183-7CC4-420D-8ECC-3B2955A898CF}"/>
                  </a:ext>
                </a:extLst>
              </p:cNvPr>
              <p:cNvSpPr/>
              <p:nvPr/>
            </p:nvSpPr>
            <p:spPr>
              <a:xfrm>
                <a:off x="4985238" y="2806943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1ABEB01-8BA0-4C10-A435-1C39BEAE9B34}"/>
                  </a:ext>
                </a:extLst>
              </p:cNvPr>
              <p:cNvSpPr/>
              <p:nvPr/>
            </p:nvSpPr>
            <p:spPr>
              <a:xfrm>
                <a:off x="5316414" y="2806943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4F13BF1-7DAF-4E1A-97B5-4D8406B79209}"/>
                </a:ext>
              </a:extLst>
            </p:cNvPr>
            <p:cNvSpPr/>
            <p:nvPr/>
          </p:nvSpPr>
          <p:spPr>
            <a:xfrm>
              <a:off x="2269816" y="810077"/>
              <a:ext cx="1058702" cy="457894"/>
            </a:xfrm>
            <a:custGeom>
              <a:avLst/>
              <a:gdLst>
                <a:gd name="connsiteX0" fmla="*/ 0 w 3974123"/>
                <a:gd name="connsiteY0" fmla="*/ 1573823 h 1582615"/>
                <a:gd name="connsiteX1" fmla="*/ 589084 w 3974123"/>
                <a:gd name="connsiteY1" fmla="*/ 1582615 h 1582615"/>
                <a:gd name="connsiteX2" fmla="*/ 2549769 w 3974123"/>
                <a:gd name="connsiteY2" fmla="*/ 105507 h 1582615"/>
                <a:gd name="connsiteX3" fmla="*/ 3956538 w 3974123"/>
                <a:gd name="connsiteY3" fmla="*/ 1239715 h 1582615"/>
                <a:gd name="connsiteX4" fmla="*/ 3974123 w 3974123"/>
                <a:gd name="connsiteY4" fmla="*/ 1230923 h 1582615"/>
                <a:gd name="connsiteX5" fmla="*/ 2540977 w 3974123"/>
                <a:gd name="connsiteY5" fmla="*/ 0 h 1582615"/>
                <a:gd name="connsiteX6" fmla="*/ 1943100 w 3974123"/>
                <a:gd name="connsiteY6" fmla="*/ 17584 h 1582615"/>
                <a:gd name="connsiteX7" fmla="*/ 0 w 3974123"/>
                <a:gd name="connsiteY7" fmla="*/ 1573823 h 1582615"/>
                <a:gd name="connsiteX0" fmla="*/ 0 w 4302051"/>
                <a:gd name="connsiteY0" fmla="*/ 1573823 h 1582615"/>
                <a:gd name="connsiteX1" fmla="*/ 589084 w 4302051"/>
                <a:gd name="connsiteY1" fmla="*/ 1582615 h 1582615"/>
                <a:gd name="connsiteX2" fmla="*/ 2549769 w 4302051"/>
                <a:gd name="connsiteY2" fmla="*/ 105507 h 1582615"/>
                <a:gd name="connsiteX3" fmla="*/ 3956538 w 4302051"/>
                <a:gd name="connsiteY3" fmla="*/ 1239715 h 1582615"/>
                <a:gd name="connsiteX4" fmla="*/ 4302051 w 4302051"/>
                <a:gd name="connsiteY4" fmla="*/ 1515805 h 1582615"/>
                <a:gd name="connsiteX5" fmla="*/ 2540977 w 4302051"/>
                <a:gd name="connsiteY5" fmla="*/ 0 h 1582615"/>
                <a:gd name="connsiteX6" fmla="*/ 1943100 w 4302051"/>
                <a:gd name="connsiteY6" fmla="*/ 17584 h 1582615"/>
                <a:gd name="connsiteX7" fmla="*/ 0 w 4302051"/>
                <a:gd name="connsiteY7" fmla="*/ 1573823 h 1582615"/>
                <a:gd name="connsiteX0" fmla="*/ 0 w 4347933"/>
                <a:gd name="connsiteY0" fmla="*/ 1573823 h 1582615"/>
                <a:gd name="connsiteX1" fmla="*/ 589084 w 4347933"/>
                <a:gd name="connsiteY1" fmla="*/ 1582615 h 1582615"/>
                <a:gd name="connsiteX2" fmla="*/ 2549769 w 4347933"/>
                <a:gd name="connsiteY2" fmla="*/ 105507 h 1582615"/>
                <a:gd name="connsiteX3" fmla="*/ 4347933 w 4347933"/>
                <a:gd name="connsiteY3" fmla="*/ 1578018 h 1582615"/>
                <a:gd name="connsiteX4" fmla="*/ 4302051 w 4347933"/>
                <a:gd name="connsiteY4" fmla="*/ 1515805 h 1582615"/>
                <a:gd name="connsiteX5" fmla="*/ 2540977 w 4347933"/>
                <a:gd name="connsiteY5" fmla="*/ 0 h 1582615"/>
                <a:gd name="connsiteX6" fmla="*/ 1943100 w 4347933"/>
                <a:gd name="connsiteY6" fmla="*/ 17584 h 1582615"/>
                <a:gd name="connsiteX7" fmla="*/ 0 w 4347933"/>
                <a:gd name="connsiteY7" fmla="*/ 1573823 h 158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47933" h="1582615">
                  <a:moveTo>
                    <a:pt x="0" y="1573823"/>
                  </a:moveTo>
                  <a:lnTo>
                    <a:pt x="589084" y="1582615"/>
                  </a:lnTo>
                  <a:lnTo>
                    <a:pt x="2549769" y="105507"/>
                  </a:lnTo>
                  <a:lnTo>
                    <a:pt x="4347933" y="1578018"/>
                  </a:lnTo>
                  <a:lnTo>
                    <a:pt x="4302051" y="1515805"/>
                  </a:lnTo>
                  <a:lnTo>
                    <a:pt x="2540977" y="0"/>
                  </a:lnTo>
                  <a:lnTo>
                    <a:pt x="1943100" y="17584"/>
                  </a:lnTo>
                  <a:lnTo>
                    <a:pt x="0" y="157382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052FA14E-C0DC-4389-B9D0-F0A1AED9429E}"/>
              </a:ext>
            </a:extLst>
          </p:cNvPr>
          <p:cNvSpPr/>
          <p:nvPr/>
        </p:nvSpPr>
        <p:spPr>
          <a:xfrm>
            <a:off x="1439694" y="6245819"/>
            <a:ext cx="10752158" cy="612181"/>
          </a:xfrm>
          <a:prstGeom prst="rect">
            <a:avLst/>
          </a:prstGeom>
          <a:solidFill>
            <a:srgbClr val="3A4C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65468-62B4-61AE-8E10-75865C0662DB}"/>
              </a:ext>
            </a:extLst>
          </p:cNvPr>
          <p:cNvSpPr/>
          <p:nvPr/>
        </p:nvSpPr>
        <p:spPr>
          <a:xfrm>
            <a:off x="0" y="5622579"/>
            <a:ext cx="1439694" cy="1249894"/>
          </a:xfrm>
          <a:prstGeom prst="rect">
            <a:avLst/>
          </a:prstGeom>
          <a:solidFill>
            <a:srgbClr val="FAC72D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9" name="Google Shape;94;p13">
            <a:extLst>
              <a:ext uri="{FF2B5EF4-FFF2-40B4-BE49-F238E27FC236}">
                <a16:creationId xmlns:a16="http://schemas.microsoft.com/office/drawing/2014/main" id="{C84B8931-321C-AF46-6093-6138167AD127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84924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84C083-1193-4B13-933D-5072DFF81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>
            <a:extLst>
              <a:ext uri="{FF2B5EF4-FFF2-40B4-BE49-F238E27FC236}">
                <a16:creationId xmlns:a16="http://schemas.microsoft.com/office/drawing/2014/main" id="{839D54BB-974A-956E-1E0C-B09EBE74BE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10" name="Rectangle 1">
            <a:extLst>
              <a:ext uri="{FF2B5EF4-FFF2-40B4-BE49-F238E27FC236}">
                <a16:creationId xmlns:a16="http://schemas.microsoft.com/office/drawing/2014/main" id="{94CFBEE6-A538-2085-243A-EA96F7E6B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16" y="641010"/>
            <a:ext cx="564819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b="1" dirty="0" err="1">
                <a:solidFill>
                  <a:schemeClr val="accent2"/>
                </a:solidFill>
                <a:latin typeface="Tw Cen MT" panose="020B0602020104020603" pitchFamily="34" charset="0"/>
              </a:rPr>
              <a:t>Melalui</a:t>
            </a:r>
            <a:r>
              <a:rPr lang="en-US" b="1" dirty="0">
                <a:solidFill>
                  <a:schemeClr val="accent2"/>
                </a:solidFill>
                <a:latin typeface="Tw Cen MT" panose="020B0602020104020603" pitchFamily="34" charset="0"/>
              </a:rPr>
              <a:t>  </a:t>
            </a:r>
            <a:r>
              <a:rPr lang="en-US" b="1" dirty="0" err="1">
                <a:solidFill>
                  <a:schemeClr val="accent2"/>
                </a:solidFill>
                <a:latin typeface="Tw Cen MT" panose="020B0602020104020603" pitchFamily="34" charset="0"/>
              </a:rPr>
              <a:t>Sistem</a:t>
            </a:r>
            <a:r>
              <a:rPr lang="en-US" b="1" dirty="0">
                <a:solidFill>
                  <a:schemeClr val="accent2"/>
                </a:solidFill>
                <a:latin typeface="Tw Cen MT" panose="020B0602020104020603" pitchFamily="34" charset="0"/>
              </a:rPr>
              <a:t>  </a:t>
            </a:r>
            <a:r>
              <a:rPr lang="en-US" b="1" dirty="0" err="1">
                <a:solidFill>
                  <a:schemeClr val="accent2"/>
                </a:solidFill>
                <a:latin typeface="Tw Cen MT" panose="020B0602020104020603" pitchFamily="34" charset="0"/>
              </a:rPr>
              <a:t>Informasi</a:t>
            </a:r>
            <a:r>
              <a:rPr lang="en-US" b="1" dirty="0">
                <a:solidFill>
                  <a:schemeClr val="accent2"/>
                </a:solidFill>
                <a:latin typeface="Tw Cen MT" panose="020B0602020104020603" pitchFamily="34" charset="0"/>
              </a:rPr>
              <a:t>  Jasa  </a:t>
            </a:r>
            <a:r>
              <a:rPr lang="en-US" b="1" dirty="0" err="1">
                <a:solidFill>
                  <a:schemeClr val="accent2"/>
                </a:solidFill>
                <a:latin typeface="Tw Cen MT" panose="020B0602020104020603" pitchFamily="34" charset="0"/>
              </a:rPr>
              <a:t>Konstruksi</a:t>
            </a:r>
            <a:r>
              <a:rPr lang="en-US" b="1" dirty="0">
                <a:solidFill>
                  <a:schemeClr val="accent2"/>
                </a:solidFill>
                <a:latin typeface="Tw Cen MT" panose="020B0602020104020603" pitchFamily="34" charset="0"/>
              </a:rPr>
              <a:t> </a:t>
            </a:r>
            <a:r>
              <a:rPr lang="en-US" b="1" dirty="0" err="1">
                <a:solidFill>
                  <a:schemeClr val="accent2"/>
                </a:solidFill>
                <a:latin typeface="Tw Cen MT" panose="020B0602020104020603" pitchFamily="34" charset="0"/>
              </a:rPr>
              <a:t>terintegrasi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6CC290E-7458-9CBC-D176-D646C9E506B1}"/>
              </a:ext>
            </a:extLst>
          </p:cNvPr>
          <p:cNvSpPr/>
          <p:nvPr/>
        </p:nvSpPr>
        <p:spPr>
          <a:xfrm>
            <a:off x="146816" y="243604"/>
            <a:ext cx="12053019" cy="53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1" i="0" u="none" strike="noStrike" kern="120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NYELENGGARA PENCATATAN PENGALAMA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4BCE2C6-AB93-8E97-C4F8-CC26CC9A9F3B}"/>
              </a:ext>
            </a:extLst>
          </p:cNvPr>
          <p:cNvSpPr/>
          <p:nvPr/>
        </p:nvSpPr>
        <p:spPr>
          <a:xfrm>
            <a:off x="4668525" y="1870568"/>
            <a:ext cx="7330569" cy="3116864"/>
          </a:xfrm>
          <a:prstGeom prst="roundRect">
            <a:avLst>
              <a:gd name="adj" fmla="val 1697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6D9BB6E-6950-406E-AA86-B9F7C908814C}"/>
              </a:ext>
            </a:extLst>
          </p:cNvPr>
          <p:cNvSpPr txBox="1"/>
          <p:nvPr/>
        </p:nvSpPr>
        <p:spPr>
          <a:xfrm>
            <a:off x="4980185" y="2320714"/>
            <a:ext cx="692029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/>
            <a:r>
              <a:rPr lang="en-US" sz="2400" b="1" dirty="0">
                <a:solidFill>
                  <a:schemeClr val="bg1"/>
                </a:solidFill>
                <a:latin typeface="Tw Cen MT" panose="020B0602020104020603" pitchFamily="34" charset="0"/>
              </a:rPr>
              <a:t>j. </a:t>
            </a:r>
            <a:r>
              <a:rPr lang="en-US" sz="2400" b="1" dirty="0" err="1">
                <a:solidFill>
                  <a:schemeClr val="bg1"/>
                </a:solidFill>
                <a:latin typeface="Tw Cen MT" panose="020B0602020104020603" pitchFamily="34" charset="0"/>
              </a:rPr>
              <a:t>pencatatan</a:t>
            </a:r>
            <a:r>
              <a:rPr lang="en-US" sz="2400" b="1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Tw Cen MT" panose="020B0602020104020603" pitchFamily="34" charset="0"/>
              </a:rPr>
              <a:t>pengalaman</a:t>
            </a:r>
            <a:r>
              <a:rPr lang="en-US" sz="2400" b="1" dirty="0">
                <a:solidFill>
                  <a:schemeClr val="bg1"/>
                </a:solidFill>
                <a:latin typeface="Tw Cen MT" panose="020B0602020104020603" pitchFamily="34" charset="0"/>
              </a:rPr>
              <a:t> badan </a:t>
            </a:r>
            <a:r>
              <a:rPr lang="en-US" sz="2400" b="1" dirty="0" err="1">
                <a:solidFill>
                  <a:schemeClr val="bg1"/>
                </a:solidFill>
                <a:latin typeface="Tw Cen MT" panose="020B0602020104020603" pitchFamily="34" charset="0"/>
              </a:rPr>
              <a:t>usaha</a:t>
            </a:r>
            <a:r>
              <a:rPr lang="en-US" sz="2400" b="1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Tw Cen MT" panose="020B0602020104020603" pitchFamily="34" charset="0"/>
              </a:rPr>
              <a:t>melalui</a:t>
            </a:r>
            <a:r>
              <a:rPr lang="en-US" sz="2400" b="1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Tw Cen MT" panose="020B0602020104020603" pitchFamily="34" charset="0"/>
              </a:rPr>
              <a:t>Sistem</a:t>
            </a:r>
            <a:r>
              <a:rPr lang="en-US" sz="2400" b="1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Tw Cen MT" panose="020B0602020104020603" pitchFamily="34" charset="0"/>
              </a:rPr>
              <a:t>Informasi</a:t>
            </a:r>
            <a:r>
              <a:rPr lang="en-US" sz="2400" b="1" dirty="0">
                <a:solidFill>
                  <a:schemeClr val="bg1"/>
                </a:solidFill>
                <a:latin typeface="Tw Cen MT" panose="020B0602020104020603" pitchFamily="34" charset="0"/>
              </a:rPr>
              <a:t> Jasa </a:t>
            </a:r>
            <a:r>
              <a:rPr lang="en-US" sz="2400" b="1" dirty="0" err="1">
                <a:solidFill>
                  <a:schemeClr val="bg1"/>
                </a:solidFill>
                <a:latin typeface="Tw Cen MT" panose="020B0602020104020603" pitchFamily="34" charset="0"/>
              </a:rPr>
              <a:t>Konstruksi</a:t>
            </a:r>
            <a:r>
              <a:rPr lang="en-US" sz="2400" b="1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Tw Cen MT" panose="020B0602020104020603" pitchFamily="34" charset="0"/>
              </a:rPr>
              <a:t>terintegrasi</a:t>
            </a:r>
            <a:endParaRPr lang="en-US" sz="2400" b="1" dirty="0">
              <a:solidFill>
                <a:schemeClr val="bg1"/>
              </a:solidFill>
              <a:latin typeface="Tw Cen MT" panose="020B06020201040206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5A76A58-D936-7FE5-B1FF-017F065A18E3}"/>
              </a:ext>
            </a:extLst>
          </p:cNvPr>
          <p:cNvSpPr txBox="1"/>
          <p:nvPr/>
        </p:nvSpPr>
        <p:spPr>
          <a:xfrm>
            <a:off x="4959825" y="3256607"/>
            <a:ext cx="694065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925" indent="-288925"/>
            <a:r>
              <a:rPr lang="nn-NO" sz="2400" b="1" dirty="0">
                <a:solidFill>
                  <a:schemeClr val="bg1"/>
                </a:solidFill>
                <a:latin typeface="Tw Cen MT" panose="020B0602020104020603" pitchFamily="34" charset="0"/>
              </a:rPr>
              <a:t>k. pencatatan pengalaman profesional Tenaga Kerja Konstruksi melalui Sistem Informasi Jasa Konstruksi terintegrasi</a:t>
            </a:r>
            <a:endParaRPr lang="en-US" sz="2400" b="1" dirty="0">
              <a:solidFill>
                <a:schemeClr val="bg1"/>
              </a:solidFill>
              <a:latin typeface="Tw Cen MT" panose="020B06020201040206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A3F6EF-FCE0-57DA-4B6C-8FAECC5939AD}"/>
              </a:ext>
            </a:extLst>
          </p:cNvPr>
          <p:cNvSpPr txBox="1"/>
          <p:nvPr/>
        </p:nvSpPr>
        <p:spPr>
          <a:xfrm>
            <a:off x="489646" y="1689999"/>
            <a:ext cx="4023049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24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P No. 14 </a:t>
            </a:r>
            <a:r>
              <a:rPr lang="en-US" altLang="ko-KR" sz="2400" b="1" dirty="0" err="1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Tahun</a:t>
            </a:r>
            <a:r>
              <a:rPr lang="en-US" altLang="ko-KR" sz="24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2021</a:t>
            </a:r>
          </a:p>
          <a:p>
            <a:pPr defTabSz="742927"/>
            <a:r>
              <a:rPr lang="en-US" altLang="ko-KR" sz="24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asal 6 Ayat 1 </a:t>
            </a:r>
            <a:r>
              <a:rPr lang="en-US" altLang="ko-KR" sz="2400" b="1" dirty="0" err="1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Huruf</a:t>
            </a:r>
            <a:r>
              <a:rPr lang="en-US" altLang="ko-KR" sz="24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j dan k</a:t>
            </a:r>
            <a:endParaRPr lang="ko-KR" altLang="en-US" sz="2400" b="1" dirty="0">
              <a:solidFill>
                <a:srgbClr val="4472C4">
                  <a:lumMod val="75000"/>
                </a:srgbClr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80BBE8-2AD8-1788-2B2D-CD84E9F2D574}"/>
              </a:ext>
            </a:extLst>
          </p:cNvPr>
          <p:cNvSpPr txBox="1"/>
          <p:nvPr/>
        </p:nvSpPr>
        <p:spPr>
          <a:xfrm>
            <a:off x="547914" y="2781974"/>
            <a:ext cx="4173542" cy="206210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3200" b="1" dirty="0">
                <a:solidFill>
                  <a:srgbClr val="002060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LPJK</a:t>
            </a:r>
            <a:r>
              <a:rPr lang="en-US" altLang="ko-KR" sz="32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altLang="ko-KR" sz="3200" b="1" dirty="0" err="1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menyelenggarakan</a:t>
            </a:r>
            <a:r>
              <a:rPr lang="en-US" altLang="ko-KR" sz="32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Sebagian </a:t>
            </a:r>
            <a:r>
              <a:rPr lang="en-US" altLang="ko-KR" sz="3200" b="1" dirty="0" err="1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kewenangan</a:t>
            </a:r>
            <a:r>
              <a:rPr lang="en-US" altLang="ko-KR" sz="32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altLang="ko-KR" sz="3200" b="1" dirty="0" err="1">
                <a:solidFill>
                  <a:srgbClr val="002060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merintah</a:t>
            </a:r>
            <a:r>
              <a:rPr lang="en-US" altLang="ko-KR" sz="3200" b="1" dirty="0">
                <a:solidFill>
                  <a:srgbClr val="002060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Pusat</a:t>
            </a:r>
            <a:endParaRPr lang="ko-KR" altLang="en-US" sz="3200" b="1" dirty="0">
              <a:solidFill>
                <a:srgbClr val="002060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8946A5-AFF3-2A7D-7ABA-C00E4EBEEE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68525" y="5053775"/>
            <a:ext cx="3619607" cy="97634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5FEF446-F878-054A-6E57-7FA961D55ABD}"/>
              </a:ext>
            </a:extLst>
          </p:cNvPr>
          <p:cNvSpPr txBox="1"/>
          <p:nvPr/>
        </p:nvSpPr>
        <p:spPr>
          <a:xfrm>
            <a:off x="4652539" y="6035834"/>
            <a:ext cx="61083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742927"/>
            <a:r>
              <a:rPr lang="en-US" altLang="ko-KR" sz="1600" b="1" dirty="0" err="1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rmen</a:t>
            </a:r>
            <a:r>
              <a:rPr lang="en-US" altLang="ko-KR" sz="16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PUPR No. 8 </a:t>
            </a:r>
            <a:r>
              <a:rPr lang="en-US" altLang="ko-KR" sz="1600" b="1" dirty="0" err="1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Tahun</a:t>
            </a:r>
            <a:r>
              <a:rPr lang="en-US" altLang="ko-KR" sz="16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2022</a:t>
            </a:r>
          </a:p>
          <a:p>
            <a:pPr defTabSz="742927"/>
            <a:r>
              <a:rPr lang="en-US" altLang="ko-KR" sz="16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asal 54</a:t>
            </a:r>
            <a:endParaRPr lang="en-US" sz="1600" dirty="0"/>
          </a:p>
        </p:txBody>
      </p:sp>
      <p:pic>
        <p:nvPicPr>
          <p:cNvPr id="9" name="Google Shape;94;p13">
            <a:extLst>
              <a:ext uri="{FF2B5EF4-FFF2-40B4-BE49-F238E27FC236}">
                <a16:creationId xmlns:a16="http://schemas.microsoft.com/office/drawing/2014/main" id="{C86CF33B-C08D-DA78-1DC7-B0AC9A809E45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59913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84C083-1193-4B13-933D-5072DFF81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>
            <a:extLst>
              <a:ext uri="{FF2B5EF4-FFF2-40B4-BE49-F238E27FC236}">
                <a16:creationId xmlns:a16="http://schemas.microsoft.com/office/drawing/2014/main" id="{839D54BB-974A-956E-1E0C-B09EBE74BE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10" name="Rectangle 1">
            <a:extLst>
              <a:ext uri="{FF2B5EF4-FFF2-40B4-BE49-F238E27FC236}">
                <a16:creationId xmlns:a16="http://schemas.microsoft.com/office/drawing/2014/main" id="{94CFBEE6-A538-2085-243A-EA96F7E6B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8750" y="2028825"/>
            <a:ext cx="20497118" cy="421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EED02A1-88DE-E784-9EBD-8F2BC70F0DFD}"/>
              </a:ext>
            </a:extLst>
          </p:cNvPr>
          <p:cNvSpPr/>
          <p:nvPr/>
        </p:nvSpPr>
        <p:spPr>
          <a:xfrm>
            <a:off x="269043" y="806142"/>
            <a:ext cx="5651293" cy="1049811"/>
          </a:xfrm>
          <a:prstGeom prst="roundRect">
            <a:avLst>
              <a:gd name="adj" fmla="val 1063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1C707E-49CF-34C3-6DA6-A7FD23369BFC}"/>
              </a:ext>
            </a:extLst>
          </p:cNvPr>
          <p:cNvSpPr txBox="1"/>
          <p:nvPr/>
        </p:nvSpPr>
        <p:spPr>
          <a:xfrm>
            <a:off x="982350" y="1975828"/>
            <a:ext cx="4789998" cy="799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tiap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BUJK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harus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lakuk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catat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al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lalu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LPJK,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sua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Pasal 6V PP No.22/2020 jo No.14/202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DBBE72-87A2-5801-01B6-6C0FC32C4FA1}"/>
              </a:ext>
            </a:extLst>
          </p:cNvPr>
          <p:cNvSpPr txBox="1"/>
          <p:nvPr/>
        </p:nvSpPr>
        <p:spPr>
          <a:xfrm>
            <a:off x="950661" y="3062321"/>
            <a:ext cx="4817833" cy="799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roses PBJ Pemerintah menggunakan informasi dari Sistem Informasi Jasa Konstruksi Terintegrasi, sebagaimana Pasal 176A PP No.14/2021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63D9FF-9DA7-4737-E2C3-FD281014AC95}"/>
              </a:ext>
            </a:extLst>
          </p:cNvPr>
          <p:cNvSpPr txBox="1"/>
          <p:nvPr/>
        </p:nvSpPr>
        <p:spPr>
          <a:xfrm>
            <a:off x="903695" y="5454963"/>
            <a:ext cx="4988345" cy="800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catat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al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Badan Usah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lalu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istem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nforma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Jas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nstruk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rintegra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(e-SIMPAN) pad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https://simpan.pu.go.id/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84E3F4-4F61-D1E2-1A86-836D1E2ABE69}"/>
              </a:ext>
            </a:extLst>
          </p:cNvPr>
          <p:cNvSpPr txBox="1"/>
          <p:nvPr/>
        </p:nvSpPr>
        <p:spPr>
          <a:xfrm>
            <a:off x="931992" y="3997576"/>
            <a:ext cx="4988344" cy="1269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t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jual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hun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(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yarat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mohon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izin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erusah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),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ibuktik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eng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rek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ntrak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rj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nstruk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,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nggunak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ata yang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lah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rcatat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lam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e-SIMPAN,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bagaiman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me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PUPR No 8/2022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0940E52-1603-7C15-E78A-3CB2FE7294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80281" y="903335"/>
            <a:ext cx="839795" cy="83979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2060A6A-D49C-6FB5-BCDD-59E26A2D8F29}"/>
              </a:ext>
            </a:extLst>
          </p:cNvPr>
          <p:cNvSpPr/>
          <p:nvPr/>
        </p:nvSpPr>
        <p:spPr>
          <a:xfrm>
            <a:off x="2120076" y="1113407"/>
            <a:ext cx="2967608" cy="53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ADAN USAH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3B41E2-A49F-1B0C-B254-94EEEC2F06E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  <a14:imgEffect>
                      <a14:saturation sat="66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291" y="2179900"/>
            <a:ext cx="626370" cy="62637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23F58EE-69B8-1BD4-D47E-04635C121DB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532" y="4227095"/>
            <a:ext cx="664146" cy="66414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BCA16D0-B767-A5DC-C5D3-A7D68889DF1F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25000"/>
                    </a14:imgEffect>
                    <a14:imgEffect>
                      <a14:saturation sat="400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rcRect l="11840" t="13312" r="9164" b="15815"/>
          <a:stretch/>
        </p:blipFill>
        <p:spPr>
          <a:xfrm>
            <a:off x="309011" y="5575744"/>
            <a:ext cx="598668" cy="53710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EA88366-B6BF-A493-16A6-BC3AC2B97E91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480" y="3205897"/>
            <a:ext cx="570215" cy="570215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9BEC9DC-16C3-7012-9D78-D4ED2765FBA0}"/>
              </a:ext>
            </a:extLst>
          </p:cNvPr>
          <p:cNvCxnSpPr>
            <a:cxnSpLocks/>
          </p:cNvCxnSpPr>
          <p:nvPr/>
        </p:nvCxnSpPr>
        <p:spPr>
          <a:xfrm>
            <a:off x="6118681" y="806142"/>
            <a:ext cx="0" cy="5940000"/>
          </a:xfrm>
          <a:prstGeom prst="line">
            <a:avLst/>
          </a:prstGeom>
          <a:ln w="1905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70DEEAE-090F-1C70-B5F8-F9826D1C8279}"/>
              </a:ext>
            </a:extLst>
          </p:cNvPr>
          <p:cNvSpPr/>
          <p:nvPr/>
        </p:nvSpPr>
        <p:spPr>
          <a:xfrm>
            <a:off x="6338260" y="1847227"/>
            <a:ext cx="5634162" cy="4890189"/>
          </a:xfrm>
          <a:prstGeom prst="roundRect">
            <a:avLst>
              <a:gd name="adj" fmla="val 1697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75F46F-F6AD-2B67-F5B7-66241059105C}"/>
              </a:ext>
            </a:extLst>
          </p:cNvPr>
          <p:cNvSpPr/>
          <p:nvPr/>
        </p:nvSpPr>
        <p:spPr>
          <a:xfrm>
            <a:off x="8515769" y="1049223"/>
            <a:ext cx="3046578" cy="53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NAGA KERJA KONSTRUKS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3D6298-11E7-7640-FBDD-B69F3B1AA9D6}"/>
              </a:ext>
            </a:extLst>
          </p:cNvPr>
          <p:cNvSpPr txBox="1"/>
          <p:nvPr/>
        </p:nvSpPr>
        <p:spPr>
          <a:xfrm>
            <a:off x="7247344" y="2084188"/>
            <a:ext cx="4647620" cy="10345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tiap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Tenag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rj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nstruk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harus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lakuk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catat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al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professional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lalu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LPJK,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sua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asal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6W PP No. 22/2020 jo No.14/202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EF0A60-18A9-967E-120A-F81B3CB715A9}"/>
              </a:ext>
            </a:extLst>
          </p:cNvPr>
          <p:cNvSpPr txBox="1"/>
          <p:nvPr/>
        </p:nvSpPr>
        <p:spPr>
          <a:xfrm>
            <a:off x="7253670" y="5669139"/>
            <a:ext cx="4647620" cy="799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catat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al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rofesional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elalu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istem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nforma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Jas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nstruk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rintegra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(e-SIMPAN) pad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https://simpan.pu.go.id/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69DF41-3FE7-4BBE-32F4-734FE4C9A5C2}"/>
              </a:ext>
            </a:extLst>
          </p:cNvPr>
          <p:cNvSpPr txBox="1"/>
          <p:nvPr/>
        </p:nvSpPr>
        <p:spPr>
          <a:xfrm>
            <a:off x="7232109" y="3306835"/>
            <a:ext cx="4647620" cy="1269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t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al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bg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salah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atu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syarat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husus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mohon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SKK,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bagaiman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Pasal 28B PP No. 14/2021 dan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al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icatat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lam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SIJK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rintegra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bagaiman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Pasal 27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yat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1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me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PUPR No 8/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7845F8F-DA16-159F-D3D5-B2EDAFBA4509}"/>
              </a:ext>
            </a:extLst>
          </p:cNvPr>
          <p:cNvSpPr txBox="1"/>
          <p:nvPr/>
        </p:nvSpPr>
        <p:spPr>
          <a:xfrm>
            <a:off x="7203251" y="4746410"/>
            <a:ext cx="4647620" cy="799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catat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alam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nag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erj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imanfaatk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untuk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izin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erusah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dan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ngada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arang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/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jasa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26429B8-CF44-2533-B2C7-0649541911A4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26524" y="638709"/>
            <a:ext cx="1789245" cy="119283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7C60FD-F516-B54B-8A30-4908363661F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74549" y="2277587"/>
            <a:ext cx="624809" cy="56889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1E40933-51DA-209D-EDC5-FB31AF2EBDCC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4500" y="5775355"/>
            <a:ext cx="568892" cy="56889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C980CED-6029-5234-1D8C-4271B3E9AD1E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email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harpenSoften amount="25000"/>
                    </a14:imgEffect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33308" y="3306835"/>
            <a:ext cx="624808" cy="72757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96264D3-417C-C1AC-65C3-254ACEA8A94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200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4816" y="4821461"/>
            <a:ext cx="668435" cy="668435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6CC290E-7458-9CBC-D176-D646C9E506B1}"/>
              </a:ext>
            </a:extLst>
          </p:cNvPr>
          <p:cNvSpPr/>
          <p:nvPr/>
        </p:nvSpPr>
        <p:spPr>
          <a:xfrm>
            <a:off x="188959" y="59775"/>
            <a:ext cx="12053019" cy="53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1" i="0" u="none" strike="noStrike" kern="120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ATAR BELAKANG PENCATATAN PENGALAMAN</a:t>
            </a:r>
          </a:p>
        </p:txBody>
      </p:sp>
      <p:pic>
        <p:nvPicPr>
          <p:cNvPr id="28" name="Google Shape;94;p13">
            <a:extLst>
              <a:ext uri="{FF2B5EF4-FFF2-40B4-BE49-F238E27FC236}">
                <a16:creationId xmlns:a16="http://schemas.microsoft.com/office/drawing/2014/main" id="{3152F5EA-5E3C-BCB9-3F5B-5E488865E99A}"/>
              </a:ext>
            </a:extLst>
          </p:cNvPr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516856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84C083-1193-4B13-933D-5072DFF81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>
            <a:extLst>
              <a:ext uri="{FF2B5EF4-FFF2-40B4-BE49-F238E27FC236}">
                <a16:creationId xmlns:a16="http://schemas.microsoft.com/office/drawing/2014/main" id="{839D54BB-974A-956E-1E0C-B09EBE74BE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6CC290E-7458-9CBC-D176-D646C9E506B1}"/>
              </a:ext>
            </a:extLst>
          </p:cNvPr>
          <p:cNvSpPr/>
          <p:nvPr/>
        </p:nvSpPr>
        <p:spPr>
          <a:xfrm>
            <a:off x="156677" y="117353"/>
            <a:ext cx="12053019" cy="53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300" b="1" spc="-150" dirty="0">
                <a:solidFill>
                  <a:srgbClr val="002060"/>
                </a:solidFill>
                <a:latin typeface="Century Gothic" panose="020B0502020202020204" pitchFamily="34" charset="0"/>
              </a:rPr>
              <a:t>SISTEM </a:t>
            </a:r>
            <a:r>
              <a:rPr kumimoji="0" lang="en-US" sz="3300" b="1" i="0" u="none" strike="noStrike" kern="120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NCATATAN PENGALAMA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22FDD6-4DF9-E2D6-6D11-9253AC9463D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01541" y="1365592"/>
            <a:ext cx="1001529" cy="10946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D839860-4C9A-BAF2-6459-C734BABE7D89}"/>
              </a:ext>
            </a:extLst>
          </p:cNvPr>
          <p:cNvSpPr txBox="1"/>
          <p:nvPr/>
        </p:nvSpPr>
        <p:spPr>
          <a:xfrm>
            <a:off x="582205" y="2462510"/>
            <a:ext cx="2561046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16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MILIK PENGALAMAN</a:t>
            </a:r>
          </a:p>
          <a:p>
            <a:pPr defTabSz="742927"/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BUJK/TKK</a:t>
            </a:r>
            <a:endParaRPr lang="ko-KR" altLang="en-US" sz="16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60918C-0B4E-3739-8A94-296DBF0E09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24699" y="790209"/>
            <a:ext cx="2619375" cy="17430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17C5495-2A82-174D-1092-632AE2F6FD1A}"/>
              </a:ext>
            </a:extLst>
          </p:cNvPr>
          <p:cNvSpPr txBox="1"/>
          <p:nvPr/>
        </p:nvSpPr>
        <p:spPr>
          <a:xfrm>
            <a:off x="3612279" y="2462510"/>
            <a:ext cx="2561046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16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LOGIN e-SIMPAN</a:t>
            </a:r>
          </a:p>
          <a:p>
            <a:pPr defTabSz="742927"/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Akun </a:t>
            </a:r>
            <a:r>
              <a:rPr lang="en-US" altLang="ko-KR" sz="16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ngguna</a:t>
            </a:r>
            <a:endParaRPr lang="ko-KR" altLang="en-US" sz="16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F43DFD-F15E-1205-05CD-C1BE59C0342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2486"/>
          <a:stretch/>
        </p:blipFill>
        <p:spPr>
          <a:xfrm>
            <a:off x="7956368" y="982012"/>
            <a:ext cx="1972265" cy="186185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52BA4D2-5111-BF9E-1569-ADE6A979F9F7}"/>
              </a:ext>
            </a:extLst>
          </p:cNvPr>
          <p:cNvSpPr txBox="1"/>
          <p:nvPr/>
        </p:nvSpPr>
        <p:spPr>
          <a:xfrm>
            <a:off x="9958751" y="1210459"/>
            <a:ext cx="2342198" cy="13234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16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NCATATAN PENGALAMAN</a:t>
            </a:r>
          </a:p>
          <a:p>
            <a:pPr defTabSz="742927"/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Input data </a:t>
            </a:r>
            <a:r>
              <a:rPr lang="en-US" altLang="ko-KR" sz="16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ngalaman</a:t>
            </a:r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dan </a:t>
            </a:r>
            <a:r>
              <a:rPr lang="en-US" altLang="ko-KR" sz="16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bukti</a:t>
            </a:r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altLang="ko-KR" sz="16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ndukung</a:t>
            </a:r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, </a:t>
            </a:r>
          </a:p>
          <a:p>
            <a:pPr defTabSz="742927"/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Submit </a:t>
            </a:r>
            <a:r>
              <a:rPr lang="en-US" altLang="ko-KR" sz="16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ngalaman</a:t>
            </a:r>
            <a:endParaRPr lang="ko-KR" altLang="en-US" sz="16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AC40C5D-9836-6107-14A0-4C9043E1D6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09118" y="3434937"/>
            <a:ext cx="2143125" cy="214312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5EEE2B1-2970-8540-7C51-FC4A9F195DB0}"/>
              </a:ext>
            </a:extLst>
          </p:cNvPr>
          <p:cNvSpPr txBox="1"/>
          <p:nvPr/>
        </p:nvSpPr>
        <p:spPr>
          <a:xfrm>
            <a:off x="8009118" y="5647979"/>
            <a:ext cx="2561046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16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NGALAMAN TERCATAT</a:t>
            </a:r>
          </a:p>
          <a:p>
            <a:pPr defTabSz="742927"/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Daftar </a:t>
            </a:r>
            <a:r>
              <a:rPr lang="en-US" altLang="ko-KR" sz="16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ngalaman</a:t>
            </a:r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altLang="ko-KR" sz="16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dengan</a:t>
            </a:r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status submit</a:t>
            </a:r>
            <a:endParaRPr lang="ko-KR" altLang="en-US" sz="16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8C39B36-046F-CB54-E440-B5E4E885317D}"/>
              </a:ext>
            </a:extLst>
          </p:cNvPr>
          <p:cNvSpPr txBox="1"/>
          <p:nvPr/>
        </p:nvSpPr>
        <p:spPr>
          <a:xfrm>
            <a:off x="1703070" y="3724938"/>
            <a:ext cx="2561046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16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RIZINAN BERUSAHA</a:t>
            </a:r>
          </a:p>
          <a:p>
            <a:pPr defTabSz="742927"/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ortal PUPR, LSBU, LSP</a:t>
            </a:r>
            <a:endParaRPr lang="ko-KR" altLang="en-US" sz="16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8F0697-36EE-EF35-E967-149564854B9C}"/>
              </a:ext>
            </a:extLst>
          </p:cNvPr>
          <p:cNvSpPr txBox="1"/>
          <p:nvPr/>
        </p:nvSpPr>
        <p:spPr>
          <a:xfrm>
            <a:off x="1575771" y="5190134"/>
            <a:ext cx="1998715" cy="830997"/>
          </a:xfrm>
          <a:prstGeom prst="rect">
            <a:avLst/>
          </a:prstGeom>
          <a:solidFill>
            <a:srgbClr val="FFFF00"/>
          </a:solidFill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16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NGADAAN BARANG/JASA</a:t>
            </a:r>
          </a:p>
          <a:p>
            <a:pPr defTabSz="742927"/>
            <a:r>
              <a:rPr lang="en-US" altLang="ko-KR" sz="16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SIPBJ</a:t>
            </a:r>
            <a:endParaRPr lang="ko-KR" altLang="en-US" sz="16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F781B1E4-4349-7F32-437F-252D91AF6583}"/>
              </a:ext>
            </a:extLst>
          </p:cNvPr>
          <p:cNvSpPr/>
          <p:nvPr/>
        </p:nvSpPr>
        <p:spPr>
          <a:xfrm>
            <a:off x="1934178" y="1635471"/>
            <a:ext cx="1836187" cy="311201"/>
          </a:xfrm>
          <a:prstGeom prst="rightArrow">
            <a:avLst/>
          </a:prstGeom>
          <a:solidFill>
            <a:srgbClr val="FFC1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D7A922DF-0B7A-AA0A-40B6-2FDD33B0ECF7}"/>
              </a:ext>
            </a:extLst>
          </p:cNvPr>
          <p:cNvSpPr/>
          <p:nvPr/>
        </p:nvSpPr>
        <p:spPr>
          <a:xfrm>
            <a:off x="5929915" y="1592027"/>
            <a:ext cx="1836187" cy="311201"/>
          </a:xfrm>
          <a:prstGeom prst="rightArrow">
            <a:avLst/>
          </a:prstGeom>
          <a:solidFill>
            <a:srgbClr val="FFC1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C5646E41-CBEB-CAD5-BE8E-98BA94C1C0E0}"/>
              </a:ext>
            </a:extLst>
          </p:cNvPr>
          <p:cNvSpPr/>
          <p:nvPr/>
        </p:nvSpPr>
        <p:spPr>
          <a:xfrm rot="5400000">
            <a:off x="8769214" y="3037827"/>
            <a:ext cx="559073" cy="259889"/>
          </a:xfrm>
          <a:prstGeom prst="rightArrow">
            <a:avLst/>
          </a:prstGeom>
          <a:solidFill>
            <a:srgbClr val="FFC1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FE5D90F0-E0C1-5384-BB4A-304BFE164150}"/>
              </a:ext>
            </a:extLst>
          </p:cNvPr>
          <p:cNvSpPr/>
          <p:nvPr/>
        </p:nvSpPr>
        <p:spPr>
          <a:xfrm rot="10800000">
            <a:off x="6172931" y="3724938"/>
            <a:ext cx="1836187" cy="311201"/>
          </a:xfrm>
          <a:prstGeom prst="rightArrow">
            <a:avLst/>
          </a:prstGeom>
          <a:solidFill>
            <a:srgbClr val="FFC1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7E6EA579-BB1D-466F-B4A5-EA810A1823BA}"/>
              </a:ext>
            </a:extLst>
          </p:cNvPr>
          <p:cNvSpPr/>
          <p:nvPr/>
        </p:nvSpPr>
        <p:spPr>
          <a:xfrm rot="10800000">
            <a:off x="6173325" y="5328112"/>
            <a:ext cx="1836187" cy="311201"/>
          </a:xfrm>
          <a:prstGeom prst="rightArrow">
            <a:avLst/>
          </a:prstGeom>
          <a:solidFill>
            <a:srgbClr val="FFC1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8581871-2DFF-EAE5-163D-0BCB735FD4E4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18182" t="12774" r="11718"/>
          <a:stretch/>
        </p:blipFill>
        <p:spPr>
          <a:xfrm>
            <a:off x="4093728" y="3335102"/>
            <a:ext cx="1836187" cy="152041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EE67B58-B881-16EF-039E-DC72E92417E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553555" y="4613230"/>
            <a:ext cx="2619375" cy="1743075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E66C0424-4771-D10C-6C68-949A193F2A73}"/>
              </a:ext>
            </a:extLst>
          </p:cNvPr>
          <p:cNvSpPr/>
          <p:nvPr/>
        </p:nvSpPr>
        <p:spPr>
          <a:xfrm>
            <a:off x="1539286" y="5111719"/>
            <a:ext cx="2013875" cy="963202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56E2A8-968E-3C52-F264-3649BF5C33E4}"/>
              </a:ext>
            </a:extLst>
          </p:cNvPr>
          <p:cNvSpPr txBox="1"/>
          <p:nvPr/>
        </p:nvSpPr>
        <p:spPr>
          <a:xfrm>
            <a:off x="2351694" y="1372596"/>
            <a:ext cx="10319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registrasi</a:t>
            </a:r>
            <a:endParaRPr lang="en-US" dirty="0"/>
          </a:p>
        </p:txBody>
      </p:sp>
      <p:pic>
        <p:nvPicPr>
          <p:cNvPr id="3" name="Google Shape;94;p13">
            <a:extLst>
              <a:ext uri="{FF2B5EF4-FFF2-40B4-BE49-F238E27FC236}">
                <a16:creationId xmlns:a16="http://schemas.microsoft.com/office/drawing/2014/main" id="{29CC1D5B-9483-AD86-252F-1EBB847B09C3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3650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C98A8-6A13-5F37-364A-3F3A48B33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495A2D-5C18-F780-C801-AEBF50BA26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495A2D-5C18-F780-C801-AEBF50BA26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>
            <a:extLst>
              <a:ext uri="{FF2B5EF4-FFF2-40B4-BE49-F238E27FC236}">
                <a16:creationId xmlns:a16="http://schemas.microsoft.com/office/drawing/2014/main" id="{22BDCB57-66AE-DA0D-7FAC-CA1A714A3C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pic>
        <p:nvPicPr>
          <p:cNvPr id="6" name="Google Shape;94;p13">
            <a:extLst>
              <a:ext uri="{FF2B5EF4-FFF2-40B4-BE49-F238E27FC236}">
                <a16:creationId xmlns:a16="http://schemas.microsoft.com/office/drawing/2014/main" id="{7E6680E6-30B1-C9EA-7D91-131899E42D9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58A8698-9E5A-3C97-6B45-D997751409FF}"/>
              </a:ext>
            </a:extLst>
          </p:cNvPr>
          <p:cNvSpPr/>
          <p:nvPr/>
        </p:nvSpPr>
        <p:spPr>
          <a:xfrm>
            <a:off x="539502" y="1244604"/>
            <a:ext cx="4950161" cy="500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ID PEKERJAA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97F0BD-A0FA-79AD-9690-44DF183D29A6}"/>
              </a:ext>
            </a:extLst>
          </p:cNvPr>
          <p:cNvSpPr/>
          <p:nvPr/>
        </p:nvSpPr>
        <p:spPr>
          <a:xfrm>
            <a:off x="474545" y="3965098"/>
            <a:ext cx="4950161" cy="500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PEMBERI TUGAS (OWNER PEKERJAAN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2A4124-CE3F-93F7-FF87-E66C90515A3E}"/>
              </a:ext>
            </a:extLst>
          </p:cNvPr>
          <p:cNvSpPr/>
          <p:nvPr/>
        </p:nvSpPr>
        <p:spPr>
          <a:xfrm>
            <a:off x="548115" y="2450713"/>
            <a:ext cx="4950161" cy="500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DATA KONTRAK</a:t>
            </a:r>
          </a:p>
        </p:txBody>
      </p:sp>
      <p:sp>
        <p:nvSpPr>
          <p:cNvPr id="11" name="TextBox 30">
            <a:extLst>
              <a:ext uri="{FF2B5EF4-FFF2-40B4-BE49-F238E27FC236}">
                <a16:creationId xmlns:a16="http://schemas.microsoft.com/office/drawing/2014/main" id="{39055743-F949-4B1F-D313-750ABCD1C268}"/>
              </a:ext>
            </a:extLst>
          </p:cNvPr>
          <p:cNvSpPr txBox="1"/>
          <p:nvPr/>
        </p:nvSpPr>
        <p:spPr>
          <a:xfrm>
            <a:off x="520076" y="1710588"/>
            <a:ext cx="5178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a </a:t>
            </a:r>
            <a:r>
              <a:rPr lang="en-US" dirty="0" err="1"/>
              <a:t>paket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, </a:t>
            </a:r>
            <a:r>
              <a:rPr lang="en-US" dirty="0" err="1"/>
              <a:t>sumber</a:t>
            </a:r>
            <a:r>
              <a:rPr lang="en-US" dirty="0"/>
              <a:t> dana, </a:t>
            </a:r>
            <a:r>
              <a:rPr lang="en-US" dirty="0" err="1"/>
              <a:t>lokasi</a:t>
            </a:r>
            <a:r>
              <a:rPr lang="en-US" dirty="0"/>
              <a:t> </a:t>
            </a:r>
            <a:r>
              <a:rPr lang="en-US" dirty="0" err="1"/>
              <a:t>pekerjaan</a:t>
            </a:r>
            <a:endParaRPr lang="en-US" dirty="0"/>
          </a:p>
        </p:txBody>
      </p:sp>
      <p:sp>
        <p:nvSpPr>
          <p:cNvPr id="12" name="TextBox 31">
            <a:extLst>
              <a:ext uri="{FF2B5EF4-FFF2-40B4-BE49-F238E27FC236}">
                <a16:creationId xmlns:a16="http://schemas.microsoft.com/office/drawing/2014/main" id="{10CB245E-C9B6-2D24-5236-3F1E4D0B2BC2}"/>
              </a:ext>
            </a:extLst>
          </p:cNvPr>
          <p:cNvSpPr txBox="1"/>
          <p:nvPr/>
        </p:nvSpPr>
        <p:spPr>
          <a:xfrm>
            <a:off x="474545" y="4448835"/>
            <a:ext cx="49501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a </a:t>
            </a:r>
            <a:r>
              <a:rPr lang="en-US" dirty="0" err="1"/>
              <a:t>pemberi</a:t>
            </a:r>
            <a:r>
              <a:rPr lang="en-US" dirty="0"/>
              <a:t> </a:t>
            </a:r>
            <a:r>
              <a:rPr lang="en-US" dirty="0" err="1"/>
              <a:t>tugas</a:t>
            </a:r>
            <a:r>
              <a:rPr lang="en-US" dirty="0"/>
              <a:t>, </a:t>
            </a:r>
            <a:r>
              <a:rPr lang="en-US" dirty="0" err="1"/>
              <a:t>nama</a:t>
            </a:r>
            <a:r>
              <a:rPr lang="en-US" dirty="0"/>
              <a:t> unit </a:t>
            </a:r>
            <a:r>
              <a:rPr lang="en-US" dirty="0" err="1"/>
              <a:t>organisasi</a:t>
            </a:r>
            <a:r>
              <a:rPr lang="en-US" dirty="0"/>
              <a:t>, </a:t>
            </a:r>
            <a:r>
              <a:rPr lang="en-US" dirty="0" err="1"/>
              <a:t>nama</a:t>
            </a:r>
            <a:r>
              <a:rPr lang="en-US" dirty="0"/>
              <a:t> </a:t>
            </a:r>
            <a:r>
              <a:rPr lang="en-US" dirty="0" err="1"/>
              <a:t>satker</a:t>
            </a:r>
            <a:r>
              <a:rPr lang="en-US" dirty="0"/>
              <a:t>, </a:t>
            </a:r>
            <a:r>
              <a:rPr lang="en-US" dirty="0" err="1"/>
              <a:t>alamat</a:t>
            </a:r>
            <a:r>
              <a:rPr lang="en-US" dirty="0"/>
              <a:t> </a:t>
            </a:r>
            <a:r>
              <a:rPr lang="en-US" dirty="0" err="1"/>
              <a:t>instansi</a:t>
            </a:r>
            <a:r>
              <a:rPr lang="en-US" dirty="0"/>
              <a:t>, no </a:t>
            </a:r>
            <a:r>
              <a:rPr lang="en-US" dirty="0" err="1"/>
              <a:t>telp</a:t>
            </a:r>
            <a:r>
              <a:rPr lang="en-US" dirty="0"/>
              <a:t> </a:t>
            </a:r>
            <a:r>
              <a:rPr lang="en-US" dirty="0" err="1"/>
              <a:t>instansi</a:t>
            </a:r>
            <a:r>
              <a:rPr lang="en-US" dirty="0"/>
              <a:t>, email </a:t>
            </a:r>
            <a:r>
              <a:rPr lang="en-US" dirty="0" err="1"/>
              <a:t>instansi</a:t>
            </a:r>
            <a:r>
              <a:rPr lang="en-US" dirty="0"/>
              <a:t>, </a:t>
            </a:r>
            <a:r>
              <a:rPr lang="en-US" dirty="0" err="1"/>
              <a:t>jabatan</a:t>
            </a:r>
            <a:r>
              <a:rPr lang="en-US" dirty="0"/>
              <a:t> </a:t>
            </a:r>
            <a:r>
              <a:rPr lang="en-US" dirty="0" err="1"/>
              <a:t>pemberi</a:t>
            </a:r>
            <a:r>
              <a:rPr lang="en-US" dirty="0"/>
              <a:t> </a:t>
            </a:r>
            <a:r>
              <a:rPr lang="en-US" dirty="0" err="1"/>
              <a:t>tugas</a:t>
            </a:r>
            <a:r>
              <a:rPr lang="en-US" dirty="0"/>
              <a:t>, </a:t>
            </a:r>
            <a:r>
              <a:rPr lang="en-US" dirty="0" err="1"/>
              <a:t>telp</a:t>
            </a:r>
            <a:r>
              <a:rPr lang="en-US" dirty="0"/>
              <a:t> dan email </a:t>
            </a:r>
            <a:r>
              <a:rPr lang="en-US" dirty="0" err="1"/>
              <a:t>pemberi</a:t>
            </a:r>
            <a:r>
              <a:rPr lang="en-US" dirty="0"/>
              <a:t> </a:t>
            </a:r>
            <a:r>
              <a:rPr lang="en-US" dirty="0" err="1"/>
              <a:t>tugas</a:t>
            </a:r>
            <a:r>
              <a:rPr lang="en-US" dirty="0"/>
              <a:t> (PIC)</a:t>
            </a:r>
          </a:p>
        </p:txBody>
      </p:sp>
      <p:sp>
        <p:nvSpPr>
          <p:cNvPr id="13" name="TextBox 32">
            <a:extLst>
              <a:ext uri="{FF2B5EF4-FFF2-40B4-BE49-F238E27FC236}">
                <a16:creationId xmlns:a16="http://schemas.microsoft.com/office/drawing/2014/main" id="{C01D4EBD-E1C6-34E8-025E-CECF37293559}"/>
              </a:ext>
            </a:extLst>
          </p:cNvPr>
          <p:cNvSpPr txBox="1"/>
          <p:nvPr/>
        </p:nvSpPr>
        <p:spPr>
          <a:xfrm>
            <a:off x="495055" y="2941212"/>
            <a:ext cx="52391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Nomor</a:t>
            </a:r>
            <a:r>
              <a:rPr lang="en-US" dirty="0"/>
              <a:t> </a:t>
            </a:r>
            <a:r>
              <a:rPr lang="en-US" dirty="0" err="1"/>
              <a:t>kontrak</a:t>
            </a:r>
            <a:r>
              <a:rPr lang="en-US" dirty="0"/>
              <a:t>, </a:t>
            </a:r>
            <a:r>
              <a:rPr lang="en-US" dirty="0" err="1"/>
              <a:t>tanggal</a:t>
            </a:r>
            <a:r>
              <a:rPr lang="en-US" dirty="0"/>
              <a:t> </a:t>
            </a:r>
            <a:r>
              <a:rPr lang="en-US" dirty="0" err="1"/>
              <a:t>kontrak</a:t>
            </a:r>
            <a:r>
              <a:rPr lang="en-US" dirty="0"/>
              <a:t>, </a:t>
            </a:r>
            <a:r>
              <a:rPr lang="en-US" dirty="0" err="1"/>
              <a:t>nilai</a:t>
            </a:r>
            <a:r>
              <a:rPr lang="en-US" dirty="0"/>
              <a:t> </a:t>
            </a:r>
            <a:r>
              <a:rPr lang="en-US" dirty="0" err="1"/>
              <a:t>kontrak</a:t>
            </a:r>
            <a:r>
              <a:rPr lang="en-US" dirty="0"/>
              <a:t>, </a:t>
            </a:r>
            <a:r>
              <a:rPr lang="en-US" dirty="0" err="1"/>
              <a:t>nilai</a:t>
            </a:r>
            <a:r>
              <a:rPr lang="en-US" dirty="0"/>
              <a:t> </a:t>
            </a:r>
            <a:r>
              <a:rPr lang="en-US" dirty="0" err="1"/>
              <a:t>kontrak</a:t>
            </a:r>
            <a:r>
              <a:rPr lang="en-US" dirty="0"/>
              <a:t> </a:t>
            </a:r>
            <a:r>
              <a:rPr lang="en-US" dirty="0" err="1"/>
              <a:t>setelah</a:t>
            </a:r>
            <a:r>
              <a:rPr lang="en-US" dirty="0"/>
              <a:t> addendum, status KSO, </a:t>
            </a:r>
            <a:r>
              <a:rPr lang="en-US" dirty="0" err="1"/>
              <a:t>nilai</a:t>
            </a:r>
            <a:r>
              <a:rPr lang="en-US" dirty="0"/>
              <a:t> </a:t>
            </a:r>
            <a:r>
              <a:rPr lang="en-US" dirty="0" err="1"/>
              <a:t>kontrak</a:t>
            </a:r>
            <a:r>
              <a:rPr lang="en-US" dirty="0"/>
              <a:t> </a:t>
            </a:r>
            <a:r>
              <a:rPr lang="en-US" dirty="0" err="1"/>
              <a:t>sesuai</a:t>
            </a:r>
            <a:r>
              <a:rPr lang="en-US" dirty="0"/>
              <a:t> </a:t>
            </a:r>
            <a:r>
              <a:rPr lang="en-US" dirty="0" err="1"/>
              <a:t>porsi</a:t>
            </a:r>
            <a:r>
              <a:rPr lang="en-US" dirty="0"/>
              <a:t> KSO, no BSAT, </a:t>
            </a:r>
            <a:r>
              <a:rPr lang="en-US" dirty="0" err="1"/>
              <a:t>tanggal</a:t>
            </a:r>
            <a:r>
              <a:rPr lang="en-US" dirty="0"/>
              <a:t> BSAT,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1327509-030B-3A66-E791-0ACEB63D9C14}"/>
              </a:ext>
            </a:extLst>
          </p:cNvPr>
          <p:cNvSpPr/>
          <p:nvPr/>
        </p:nvSpPr>
        <p:spPr>
          <a:xfrm>
            <a:off x="474545" y="5735956"/>
            <a:ext cx="4950161" cy="500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SUBKLASIFIKASI PEKERJAAN</a:t>
            </a:r>
          </a:p>
        </p:txBody>
      </p:sp>
      <p:sp>
        <p:nvSpPr>
          <p:cNvPr id="15" name="TextBox 19">
            <a:extLst>
              <a:ext uri="{FF2B5EF4-FFF2-40B4-BE49-F238E27FC236}">
                <a16:creationId xmlns:a16="http://schemas.microsoft.com/office/drawing/2014/main" id="{8C7D2F75-42B4-98BD-7C73-55D116703D49}"/>
              </a:ext>
            </a:extLst>
          </p:cNvPr>
          <p:cNvSpPr txBox="1"/>
          <p:nvPr/>
        </p:nvSpPr>
        <p:spPr>
          <a:xfrm>
            <a:off x="536032" y="6256378"/>
            <a:ext cx="5178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Subklasifikasi</a:t>
            </a:r>
            <a:r>
              <a:rPr lang="en-US" dirty="0"/>
              <a:t> dan </a:t>
            </a:r>
            <a:r>
              <a:rPr lang="en-US" dirty="0" err="1"/>
              <a:t>porsi</a:t>
            </a:r>
            <a:r>
              <a:rPr lang="en-US" dirty="0"/>
              <a:t> </a:t>
            </a:r>
            <a:r>
              <a:rPr lang="en-US" dirty="0" err="1"/>
              <a:t>sesuai</a:t>
            </a:r>
            <a:r>
              <a:rPr lang="en-US" dirty="0"/>
              <a:t> major I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CF7CC2-6BB6-CFFB-4195-43EF5F9AD727}"/>
              </a:ext>
            </a:extLst>
          </p:cNvPr>
          <p:cNvSpPr/>
          <p:nvPr/>
        </p:nvSpPr>
        <p:spPr>
          <a:xfrm>
            <a:off x="6583367" y="1244604"/>
            <a:ext cx="4950161" cy="500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PEKERJAA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CF2697B-BA54-D2F8-9E77-E7EC39EBF95E}"/>
              </a:ext>
            </a:extLst>
          </p:cNvPr>
          <p:cNvSpPr/>
          <p:nvPr/>
        </p:nvSpPr>
        <p:spPr>
          <a:xfrm>
            <a:off x="6583366" y="3110903"/>
            <a:ext cx="4950161" cy="500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PEMBERI TUGAS (OWNER PEKERJAAN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75A9EB-3202-CBEC-3D84-D0B3E0D35838}"/>
              </a:ext>
            </a:extLst>
          </p:cNvPr>
          <p:cNvSpPr/>
          <p:nvPr/>
        </p:nvSpPr>
        <p:spPr>
          <a:xfrm>
            <a:off x="6583366" y="5539405"/>
            <a:ext cx="4950161" cy="500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KONTRAK PEKERJAAN</a:t>
            </a:r>
          </a:p>
        </p:txBody>
      </p:sp>
      <p:sp>
        <p:nvSpPr>
          <p:cNvPr id="19" name="TextBox 16">
            <a:extLst>
              <a:ext uri="{FF2B5EF4-FFF2-40B4-BE49-F238E27FC236}">
                <a16:creationId xmlns:a16="http://schemas.microsoft.com/office/drawing/2014/main" id="{AF5EBA8C-612F-CA05-0A68-830F732BAADA}"/>
              </a:ext>
            </a:extLst>
          </p:cNvPr>
          <p:cNvSpPr txBox="1"/>
          <p:nvPr/>
        </p:nvSpPr>
        <p:spPr>
          <a:xfrm>
            <a:off x="6583367" y="1935839"/>
            <a:ext cx="5178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a </a:t>
            </a:r>
            <a:r>
              <a:rPr lang="en-US" dirty="0" err="1"/>
              <a:t>paket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, </a:t>
            </a:r>
            <a:r>
              <a:rPr lang="en-US" dirty="0" err="1"/>
              <a:t>tanggal</a:t>
            </a:r>
            <a:r>
              <a:rPr lang="en-US" dirty="0"/>
              <a:t> </a:t>
            </a:r>
            <a:r>
              <a:rPr lang="en-US" dirty="0" err="1"/>
              <a:t>mulai</a:t>
            </a:r>
            <a:r>
              <a:rPr lang="en-US" dirty="0"/>
              <a:t>, </a:t>
            </a:r>
            <a:r>
              <a:rPr lang="en-US" dirty="0" err="1"/>
              <a:t>tanggal</a:t>
            </a:r>
            <a:r>
              <a:rPr lang="en-US" dirty="0"/>
              <a:t> </a:t>
            </a:r>
            <a:r>
              <a:rPr lang="en-US" dirty="0" err="1"/>
              <a:t>selesai</a:t>
            </a:r>
            <a:r>
              <a:rPr lang="en-US" dirty="0"/>
              <a:t>, </a:t>
            </a:r>
            <a:r>
              <a:rPr lang="en-US" dirty="0" err="1"/>
              <a:t>jabatan</a:t>
            </a:r>
            <a:r>
              <a:rPr lang="en-US" dirty="0"/>
              <a:t>, </a:t>
            </a:r>
            <a:r>
              <a:rPr lang="en-US" dirty="0" err="1"/>
              <a:t>lingkup</a:t>
            </a:r>
            <a:r>
              <a:rPr lang="en-US" dirty="0"/>
              <a:t> </a:t>
            </a:r>
            <a:r>
              <a:rPr lang="en-US" dirty="0" err="1"/>
              <a:t>pkekerjaan</a:t>
            </a:r>
            <a:r>
              <a:rPr lang="en-US" dirty="0"/>
              <a:t>, </a:t>
            </a:r>
            <a:r>
              <a:rPr lang="en-US" dirty="0" err="1"/>
              <a:t>lokasi</a:t>
            </a:r>
            <a:r>
              <a:rPr lang="en-US" dirty="0"/>
              <a:t> </a:t>
            </a:r>
            <a:r>
              <a:rPr lang="en-US" dirty="0" err="1"/>
              <a:t>pekerjaan</a:t>
            </a:r>
            <a:endParaRPr lang="en-US" dirty="0"/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84A0E1A8-E5DA-F6B6-F223-1E1731ABA55A}"/>
              </a:ext>
            </a:extLst>
          </p:cNvPr>
          <p:cNvSpPr txBox="1"/>
          <p:nvPr/>
        </p:nvSpPr>
        <p:spPr>
          <a:xfrm>
            <a:off x="6513857" y="3923414"/>
            <a:ext cx="49501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a </a:t>
            </a:r>
            <a:r>
              <a:rPr lang="en-US" dirty="0" err="1"/>
              <a:t>pemberi</a:t>
            </a:r>
            <a:r>
              <a:rPr lang="en-US" dirty="0"/>
              <a:t> </a:t>
            </a:r>
            <a:r>
              <a:rPr lang="en-US" dirty="0" err="1"/>
              <a:t>tugas</a:t>
            </a:r>
            <a:r>
              <a:rPr lang="en-US" dirty="0"/>
              <a:t>, </a:t>
            </a:r>
            <a:r>
              <a:rPr lang="en-US" dirty="0" err="1"/>
              <a:t>nama</a:t>
            </a:r>
            <a:r>
              <a:rPr lang="en-US" dirty="0"/>
              <a:t> unit </a:t>
            </a:r>
            <a:r>
              <a:rPr lang="en-US" dirty="0" err="1"/>
              <a:t>organisasi</a:t>
            </a:r>
            <a:r>
              <a:rPr lang="en-US" dirty="0"/>
              <a:t>, </a:t>
            </a:r>
            <a:r>
              <a:rPr lang="en-US" dirty="0" err="1"/>
              <a:t>nama</a:t>
            </a:r>
            <a:r>
              <a:rPr lang="en-US" dirty="0"/>
              <a:t> </a:t>
            </a:r>
            <a:r>
              <a:rPr lang="en-US" dirty="0" err="1"/>
              <a:t>satker</a:t>
            </a:r>
            <a:r>
              <a:rPr lang="en-US" dirty="0"/>
              <a:t>, </a:t>
            </a:r>
            <a:r>
              <a:rPr lang="en-US" dirty="0" err="1"/>
              <a:t>alamat</a:t>
            </a:r>
            <a:r>
              <a:rPr lang="en-US" dirty="0"/>
              <a:t> </a:t>
            </a:r>
            <a:r>
              <a:rPr lang="en-US" dirty="0" err="1"/>
              <a:t>instansi</a:t>
            </a:r>
            <a:r>
              <a:rPr lang="en-US" dirty="0"/>
              <a:t>, no </a:t>
            </a:r>
            <a:r>
              <a:rPr lang="en-US" dirty="0" err="1"/>
              <a:t>telp</a:t>
            </a:r>
            <a:r>
              <a:rPr lang="en-US" dirty="0"/>
              <a:t> </a:t>
            </a:r>
            <a:r>
              <a:rPr lang="en-US" dirty="0" err="1"/>
              <a:t>instansi</a:t>
            </a:r>
            <a:r>
              <a:rPr lang="en-US" dirty="0"/>
              <a:t>, email </a:t>
            </a:r>
            <a:r>
              <a:rPr lang="en-US" dirty="0" err="1"/>
              <a:t>instansi</a:t>
            </a:r>
            <a:r>
              <a:rPr lang="en-US" dirty="0"/>
              <a:t>, </a:t>
            </a:r>
            <a:r>
              <a:rPr lang="en-US" dirty="0" err="1"/>
              <a:t>jabatan</a:t>
            </a:r>
            <a:r>
              <a:rPr lang="en-US" dirty="0"/>
              <a:t> </a:t>
            </a:r>
            <a:r>
              <a:rPr lang="en-US" dirty="0" err="1"/>
              <a:t>pemberi</a:t>
            </a:r>
            <a:r>
              <a:rPr lang="en-US" dirty="0"/>
              <a:t> </a:t>
            </a:r>
            <a:r>
              <a:rPr lang="en-US" dirty="0" err="1"/>
              <a:t>tugas</a:t>
            </a:r>
            <a:r>
              <a:rPr lang="en-US" dirty="0"/>
              <a:t>, </a:t>
            </a:r>
            <a:r>
              <a:rPr lang="en-US" dirty="0" err="1"/>
              <a:t>telp</a:t>
            </a:r>
            <a:r>
              <a:rPr lang="en-US" dirty="0"/>
              <a:t> dan email </a:t>
            </a:r>
            <a:r>
              <a:rPr lang="en-US" dirty="0" err="1"/>
              <a:t>pemberi</a:t>
            </a:r>
            <a:r>
              <a:rPr lang="en-US" dirty="0"/>
              <a:t> </a:t>
            </a:r>
            <a:r>
              <a:rPr lang="en-US" dirty="0" err="1"/>
              <a:t>tugas</a:t>
            </a:r>
            <a:r>
              <a:rPr lang="en-US" dirty="0"/>
              <a:t> (PIC)</a:t>
            </a:r>
          </a:p>
        </p:txBody>
      </p:sp>
      <p:sp>
        <p:nvSpPr>
          <p:cNvPr id="21" name="TextBox 18">
            <a:extLst>
              <a:ext uri="{FF2B5EF4-FFF2-40B4-BE49-F238E27FC236}">
                <a16:creationId xmlns:a16="http://schemas.microsoft.com/office/drawing/2014/main" id="{77334255-E719-CF7B-EFB4-CEF1C9CB5E5A}"/>
              </a:ext>
            </a:extLst>
          </p:cNvPr>
          <p:cNvSpPr txBox="1"/>
          <p:nvPr/>
        </p:nvSpPr>
        <p:spPr>
          <a:xfrm>
            <a:off x="6583366" y="6135947"/>
            <a:ext cx="5239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Nomor</a:t>
            </a:r>
            <a:r>
              <a:rPr lang="en-US" dirty="0"/>
              <a:t> </a:t>
            </a:r>
            <a:r>
              <a:rPr lang="en-US" dirty="0" err="1"/>
              <a:t>kontrak</a:t>
            </a:r>
            <a:r>
              <a:rPr lang="en-US" dirty="0"/>
              <a:t>, </a:t>
            </a:r>
            <a:r>
              <a:rPr lang="en-US" dirty="0" err="1"/>
              <a:t>nilai</a:t>
            </a:r>
            <a:r>
              <a:rPr lang="en-US" dirty="0"/>
              <a:t> </a:t>
            </a:r>
            <a:r>
              <a:rPr lang="en-US" dirty="0" err="1"/>
              <a:t>kontrak</a:t>
            </a:r>
            <a:r>
              <a:rPr lang="en-US" dirty="0"/>
              <a:t>, no BSAT, </a:t>
            </a:r>
            <a:r>
              <a:rPr lang="en-US" dirty="0" err="1"/>
              <a:t>tanggal</a:t>
            </a:r>
            <a:r>
              <a:rPr lang="en-US" dirty="0"/>
              <a:t> BSAT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C30E5B52-F0C3-E9ED-1545-9CA610788190}"/>
              </a:ext>
            </a:extLst>
          </p:cNvPr>
          <p:cNvSpPr txBox="1">
            <a:spLocks/>
          </p:cNvSpPr>
          <p:nvPr/>
        </p:nvSpPr>
        <p:spPr>
          <a:xfrm>
            <a:off x="3852567" y="607523"/>
            <a:ext cx="7680960" cy="689869"/>
          </a:xfrm>
          <a:prstGeom prst="rect">
            <a:avLst/>
          </a:prstGeom>
        </p:spPr>
        <p:txBody>
          <a:bodyPr vert="horz" lIns="109728" tIns="54864" rIns="109728" bIns="54864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2000" b="1" dirty="0">
                <a:solidFill>
                  <a:srgbClr val="354878"/>
                </a:solidFill>
                <a:latin typeface="Century Gothic" panose="020B0502020202020204" pitchFamily="34" charset="0"/>
              </a:rPr>
              <a:t>DATA PENCATATAN PENGALAMAN</a:t>
            </a:r>
          </a:p>
          <a:p>
            <a:pPr algn="r">
              <a:defRPr/>
            </a:pPr>
            <a:r>
              <a:rPr lang="en-US" sz="2000" dirty="0">
                <a:solidFill>
                  <a:srgbClr val="354878"/>
                </a:solidFill>
                <a:latin typeface="Century Gothic" panose="020B0502020202020204" pitchFamily="34" charset="0"/>
              </a:rPr>
              <a:t>TENAGA KERJA DI SIMPAN</a:t>
            </a: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4D004ED3-511D-F9AF-D753-CF6A3DB15E42}"/>
              </a:ext>
            </a:extLst>
          </p:cNvPr>
          <p:cNvSpPr txBox="1">
            <a:spLocks/>
          </p:cNvSpPr>
          <p:nvPr/>
        </p:nvSpPr>
        <p:spPr>
          <a:xfrm>
            <a:off x="474545" y="527138"/>
            <a:ext cx="7680960" cy="689869"/>
          </a:xfrm>
          <a:prstGeom prst="rect">
            <a:avLst/>
          </a:prstGeom>
        </p:spPr>
        <p:txBody>
          <a:bodyPr vert="horz" lIns="109728" tIns="54864" rIns="109728" bIns="54864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b="1" dirty="0">
                <a:solidFill>
                  <a:srgbClr val="354878"/>
                </a:solidFill>
                <a:latin typeface="Century Gothic" panose="020B0502020202020204" pitchFamily="34" charset="0"/>
              </a:rPr>
              <a:t>DATA PENCATATAN PENGALAMAN</a:t>
            </a:r>
          </a:p>
          <a:p>
            <a:pPr>
              <a:defRPr/>
            </a:pPr>
            <a:r>
              <a:rPr lang="en-US" sz="2000" dirty="0">
                <a:solidFill>
                  <a:srgbClr val="354878"/>
                </a:solidFill>
                <a:latin typeface="Century Gothic" panose="020B0502020202020204" pitchFamily="34" charset="0"/>
              </a:rPr>
              <a:t>BADAN USAHA DI SIMPAN</a:t>
            </a:r>
          </a:p>
        </p:txBody>
      </p:sp>
    </p:spTree>
    <p:extLst>
      <p:ext uri="{BB962C8B-B14F-4D97-AF65-F5344CB8AC3E}">
        <p14:creationId xmlns:p14="http://schemas.microsoft.com/office/powerpoint/2010/main" val="28578049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D7092B-6642-4810-9FBD-95C04C4D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0C6F2E-8228-9549-A94B-2E36D1CD61D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9F89DB5-255B-841D-6A4C-BBE9F4BECC21}"/>
              </a:ext>
            </a:extLst>
          </p:cNvPr>
          <p:cNvSpPr/>
          <p:nvPr/>
        </p:nvSpPr>
        <p:spPr>
          <a:xfrm>
            <a:off x="338666" y="642674"/>
            <a:ext cx="11514667" cy="5952795"/>
          </a:xfrm>
          <a:prstGeom prst="rect">
            <a:avLst/>
          </a:prstGeom>
        </p:spPr>
        <p:style>
          <a:lnRef idx="2">
            <a:schemeClr val="accent3">
              <a:hueOff val="1355300"/>
              <a:satOff val="50000"/>
              <a:lumOff val="-7353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D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AE6BE2E-6B18-B7E3-56C2-AB80F9F2DC7E}"/>
              </a:ext>
            </a:extLst>
          </p:cNvPr>
          <p:cNvGrpSpPr/>
          <p:nvPr/>
        </p:nvGrpSpPr>
        <p:grpSpPr>
          <a:xfrm>
            <a:off x="781167" y="262531"/>
            <a:ext cx="5689600" cy="836339"/>
            <a:chOff x="406400" y="1644790"/>
            <a:chExt cx="5689600" cy="61992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FD9852FD-9C4A-6425-93D9-633376F8B1DF}"/>
                </a:ext>
              </a:extLst>
            </p:cNvPr>
            <p:cNvSpPr/>
            <p:nvPr/>
          </p:nvSpPr>
          <p:spPr>
            <a:xfrm>
              <a:off x="406400" y="1644790"/>
              <a:ext cx="5689600" cy="61992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1355300"/>
                <a:satOff val="50000"/>
                <a:lumOff val="-7353"/>
                <a:alphaOff val="0"/>
              </a:schemeClr>
            </a:fillRef>
            <a:effectRef idx="0">
              <a:schemeClr val="accent3">
                <a:hueOff val="1355300"/>
                <a:satOff val="50000"/>
                <a:lumOff val="-7353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D"/>
            </a:p>
          </p:txBody>
        </p:sp>
        <p:sp>
          <p:nvSpPr>
            <p:cNvPr id="12" name="Rectangle: Rounded Corners 8">
              <a:extLst>
                <a:ext uri="{FF2B5EF4-FFF2-40B4-BE49-F238E27FC236}">
                  <a16:creationId xmlns:a16="http://schemas.microsoft.com/office/drawing/2014/main" id="{D37AB8B2-1337-B32E-37DA-7AF6BFF8DE79}"/>
                </a:ext>
              </a:extLst>
            </p:cNvPr>
            <p:cNvSpPr txBox="1"/>
            <p:nvPr/>
          </p:nvSpPr>
          <p:spPr>
            <a:xfrm>
              <a:off x="436662" y="1675052"/>
              <a:ext cx="5629076" cy="559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5053" tIns="0" rIns="215053" bIns="0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kern="1200" dirty="0">
                  <a:latin typeface="Gill Sans MT" panose="020B0502020104020203" pitchFamily="34" charset="0"/>
                </a:rPr>
                <a:t>ALUR PROSES INPUT PENGALAMAN BUJK</a:t>
              </a:r>
            </a:p>
          </p:txBody>
        </p:sp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5E614FAC-A385-BFDD-B684-35BC4AD94B72}"/>
              </a:ext>
            </a:extLst>
          </p:cNvPr>
          <p:cNvSpPr/>
          <p:nvPr/>
        </p:nvSpPr>
        <p:spPr>
          <a:xfrm>
            <a:off x="375357" y="3173105"/>
            <a:ext cx="941700" cy="7179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JK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D474C9A-D0D3-4901-77F9-77BBAD792BD4}"/>
              </a:ext>
            </a:extLst>
          </p:cNvPr>
          <p:cNvSpPr/>
          <p:nvPr/>
        </p:nvSpPr>
        <p:spPr>
          <a:xfrm>
            <a:off x="1896149" y="3214943"/>
            <a:ext cx="1485900" cy="717992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n e-SIMPA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540D1A8-2593-D0E4-CC88-FF2A07D6345A}"/>
              </a:ext>
            </a:extLst>
          </p:cNvPr>
          <p:cNvSpPr/>
          <p:nvPr/>
        </p:nvSpPr>
        <p:spPr>
          <a:xfrm>
            <a:off x="4045218" y="3214943"/>
            <a:ext cx="1485900" cy="717992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engecekan</a:t>
            </a:r>
            <a:r>
              <a:rPr lang="en-US" dirty="0"/>
              <a:t> data </a:t>
            </a:r>
            <a:r>
              <a:rPr lang="en-US" dirty="0" err="1"/>
              <a:t>pengalaman</a:t>
            </a:r>
            <a:endParaRPr lang="en-US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9A2A8FF-351B-CC59-0E58-AAABAB841C37}"/>
              </a:ext>
            </a:extLst>
          </p:cNvPr>
          <p:cNvSpPr/>
          <p:nvPr/>
        </p:nvSpPr>
        <p:spPr>
          <a:xfrm>
            <a:off x="6096000" y="3214943"/>
            <a:ext cx="1485900" cy="717992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mport data </a:t>
            </a:r>
            <a:r>
              <a:rPr lang="en-US" dirty="0" err="1"/>
              <a:t>pengalaman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0B9E9B7-8FF3-BC7D-DF9F-4D066ED350AB}"/>
              </a:ext>
            </a:extLst>
          </p:cNvPr>
          <p:cNvSpPr/>
          <p:nvPr/>
        </p:nvSpPr>
        <p:spPr>
          <a:xfrm>
            <a:off x="8146782" y="3214943"/>
            <a:ext cx="1485900" cy="717992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pload </a:t>
            </a:r>
            <a:r>
              <a:rPr lang="en-US" dirty="0" err="1"/>
              <a:t>dokumen</a:t>
            </a:r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374A46E-A535-93E7-26FD-BAD3475865D8}"/>
              </a:ext>
            </a:extLst>
          </p:cNvPr>
          <p:cNvSpPr/>
          <p:nvPr/>
        </p:nvSpPr>
        <p:spPr>
          <a:xfrm>
            <a:off x="10197564" y="3147074"/>
            <a:ext cx="1485900" cy="717992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mit (self declare)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130E78F-D058-956D-126B-60F00FFA691D}"/>
              </a:ext>
            </a:extLst>
          </p:cNvPr>
          <p:cNvSpPr/>
          <p:nvPr/>
        </p:nvSpPr>
        <p:spPr>
          <a:xfrm>
            <a:off x="6071136" y="4522142"/>
            <a:ext cx="1485900" cy="717992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Input data </a:t>
            </a:r>
            <a:r>
              <a:rPr lang="en-US" sz="1600" dirty="0" err="1"/>
              <a:t>pengalaman</a:t>
            </a:r>
            <a:r>
              <a:rPr lang="en-US" sz="1600" dirty="0"/>
              <a:t> </a:t>
            </a:r>
            <a:r>
              <a:rPr lang="en-US" sz="1600" dirty="0" err="1"/>
              <a:t>baru</a:t>
            </a:r>
            <a:endParaRPr lang="en-US" sz="1600" dirty="0"/>
          </a:p>
        </p:txBody>
      </p:sp>
      <p:sp>
        <p:nvSpPr>
          <p:cNvPr id="13" name="Flowchart: Magnetic Disk 12">
            <a:extLst>
              <a:ext uri="{FF2B5EF4-FFF2-40B4-BE49-F238E27FC236}">
                <a16:creationId xmlns:a16="http://schemas.microsoft.com/office/drawing/2014/main" id="{6AC3C981-5D37-36BE-CA28-D92757CCE2AF}"/>
              </a:ext>
            </a:extLst>
          </p:cNvPr>
          <p:cNvSpPr/>
          <p:nvPr/>
        </p:nvSpPr>
        <p:spPr>
          <a:xfrm>
            <a:off x="2782046" y="1841240"/>
            <a:ext cx="825500" cy="484694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KI</a:t>
            </a:r>
          </a:p>
        </p:txBody>
      </p:sp>
      <p:sp>
        <p:nvSpPr>
          <p:cNvPr id="14" name="Flowchart: Magnetic Disk 13">
            <a:extLst>
              <a:ext uri="{FF2B5EF4-FFF2-40B4-BE49-F238E27FC236}">
                <a16:creationId xmlns:a16="http://schemas.microsoft.com/office/drawing/2014/main" id="{E66A3029-E524-3B85-E9AC-DB6125EFE0EE}"/>
              </a:ext>
            </a:extLst>
          </p:cNvPr>
          <p:cNvSpPr/>
          <p:nvPr/>
        </p:nvSpPr>
        <p:spPr>
          <a:xfrm>
            <a:off x="10527764" y="909592"/>
            <a:ext cx="825500" cy="484694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ORTAL</a:t>
            </a:r>
          </a:p>
        </p:txBody>
      </p:sp>
      <p:sp>
        <p:nvSpPr>
          <p:cNvPr id="15" name="Flowchart: Magnetic Disk 14">
            <a:extLst>
              <a:ext uri="{FF2B5EF4-FFF2-40B4-BE49-F238E27FC236}">
                <a16:creationId xmlns:a16="http://schemas.microsoft.com/office/drawing/2014/main" id="{E6485E1C-E8CC-3555-FF80-3013EAB62806}"/>
              </a:ext>
            </a:extLst>
          </p:cNvPr>
          <p:cNvSpPr/>
          <p:nvPr/>
        </p:nvSpPr>
        <p:spPr>
          <a:xfrm>
            <a:off x="10527764" y="2045938"/>
            <a:ext cx="825500" cy="484694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KI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77D8B78-3A69-A10A-B0AD-8425B5F1ACAD}"/>
              </a:ext>
            </a:extLst>
          </p:cNvPr>
          <p:cNvCxnSpPr>
            <a:cxnSpLocks/>
          </p:cNvCxnSpPr>
          <p:nvPr/>
        </p:nvCxnSpPr>
        <p:spPr>
          <a:xfrm>
            <a:off x="1324162" y="3570543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B78FD91-E3DB-0811-2043-74220F337659}"/>
              </a:ext>
            </a:extLst>
          </p:cNvPr>
          <p:cNvCxnSpPr>
            <a:cxnSpLocks/>
          </p:cNvCxnSpPr>
          <p:nvPr/>
        </p:nvCxnSpPr>
        <p:spPr>
          <a:xfrm>
            <a:off x="3382049" y="3570543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61E8805-83BB-D486-CB36-15B38D795665}"/>
              </a:ext>
            </a:extLst>
          </p:cNvPr>
          <p:cNvCxnSpPr>
            <a:cxnSpLocks/>
          </p:cNvCxnSpPr>
          <p:nvPr/>
        </p:nvCxnSpPr>
        <p:spPr>
          <a:xfrm>
            <a:off x="5531118" y="3570543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2BCF1B9-BB3C-6AA9-63ED-38AB4136407F}"/>
              </a:ext>
            </a:extLst>
          </p:cNvPr>
          <p:cNvCxnSpPr>
            <a:cxnSpLocks/>
          </p:cNvCxnSpPr>
          <p:nvPr/>
        </p:nvCxnSpPr>
        <p:spPr>
          <a:xfrm>
            <a:off x="7581900" y="3570543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91E6BE2-70CB-07E0-F3C1-3E5153BD8D81}"/>
              </a:ext>
            </a:extLst>
          </p:cNvPr>
          <p:cNvCxnSpPr>
            <a:cxnSpLocks/>
          </p:cNvCxnSpPr>
          <p:nvPr/>
        </p:nvCxnSpPr>
        <p:spPr>
          <a:xfrm>
            <a:off x="9632682" y="3570543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21223EF7-07BB-B80C-64DC-C2645C4312FD}"/>
              </a:ext>
            </a:extLst>
          </p:cNvPr>
          <p:cNvCxnSpPr>
            <a:cxnSpLocks/>
            <a:stCxn id="4" idx="2"/>
          </p:cNvCxnSpPr>
          <p:nvPr/>
        </p:nvCxnSpPr>
        <p:spPr>
          <a:xfrm rot="16200000" flipH="1">
            <a:off x="3845053" y="2726981"/>
            <a:ext cx="935898" cy="3347806"/>
          </a:xfrm>
          <a:prstGeom prst="bentConnector2">
            <a:avLst/>
          </a:prstGeom>
          <a:ln w="57150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CD71614D-DC4F-DD28-7D56-D9C94A6BA472}"/>
              </a:ext>
            </a:extLst>
          </p:cNvPr>
          <p:cNvCxnSpPr>
            <a:cxnSpLocks/>
            <a:endCxn id="8" idx="2"/>
          </p:cNvCxnSpPr>
          <p:nvPr/>
        </p:nvCxnSpPr>
        <p:spPr>
          <a:xfrm flipV="1">
            <a:off x="7581900" y="3932935"/>
            <a:ext cx="1307832" cy="932452"/>
          </a:xfrm>
          <a:prstGeom prst="bentConnector2">
            <a:avLst/>
          </a:prstGeom>
          <a:ln w="57150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88E9B33-DEFC-3CE9-2686-27E6E75FF9BF}"/>
              </a:ext>
            </a:extLst>
          </p:cNvPr>
          <p:cNvCxnSpPr>
            <a:cxnSpLocks/>
          </p:cNvCxnSpPr>
          <p:nvPr/>
        </p:nvCxnSpPr>
        <p:spPr>
          <a:xfrm>
            <a:off x="4477407" y="2325934"/>
            <a:ext cx="310761" cy="855508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127B9D2-DFCB-0B7E-D19C-17BF98363072}"/>
              </a:ext>
            </a:extLst>
          </p:cNvPr>
          <p:cNvCxnSpPr>
            <a:cxnSpLocks/>
          </p:cNvCxnSpPr>
          <p:nvPr/>
        </p:nvCxnSpPr>
        <p:spPr>
          <a:xfrm>
            <a:off x="10909300" y="2575013"/>
            <a:ext cx="0" cy="577525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389C0D3-6E13-17FF-2C29-8537D99CEA21}"/>
              </a:ext>
            </a:extLst>
          </p:cNvPr>
          <p:cNvCxnSpPr>
            <a:cxnSpLocks/>
          </p:cNvCxnSpPr>
          <p:nvPr/>
        </p:nvCxnSpPr>
        <p:spPr>
          <a:xfrm>
            <a:off x="10940514" y="1454975"/>
            <a:ext cx="0" cy="577525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E726D4A1-BE83-FC74-5BF8-A55FF1365109}"/>
              </a:ext>
            </a:extLst>
          </p:cNvPr>
          <p:cNvSpPr txBox="1"/>
          <p:nvPr/>
        </p:nvSpPr>
        <p:spPr>
          <a:xfrm>
            <a:off x="403914" y="3910248"/>
            <a:ext cx="12496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Memiliki</a:t>
            </a:r>
            <a:r>
              <a:rPr lang="en-US" dirty="0"/>
              <a:t> SBU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7C2642E-2D63-D732-32C0-93CFC2157691}"/>
              </a:ext>
            </a:extLst>
          </p:cNvPr>
          <p:cNvSpPr txBox="1"/>
          <p:nvPr/>
        </p:nvSpPr>
        <p:spPr>
          <a:xfrm>
            <a:off x="8084466" y="956850"/>
            <a:ext cx="24432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put </a:t>
            </a:r>
            <a:r>
              <a:rPr lang="en-US" dirty="0" err="1"/>
              <a:t>permohonan</a:t>
            </a:r>
            <a:r>
              <a:rPr lang="en-US" dirty="0"/>
              <a:t> SBU </a:t>
            </a:r>
          </a:p>
        </p:txBody>
      </p:sp>
      <p:sp>
        <p:nvSpPr>
          <p:cNvPr id="44" name="Flowchart: Magnetic Disk 43">
            <a:extLst>
              <a:ext uri="{FF2B5EF4-FFF2-40B4-BE49-F238E27FC236}">
                <a16:creationId xmlns:a16="http://schemas.microsoft.com/office/drawing/2014/main" id="{5ACA4506-BB4F-5D67-B69D-59885B294BA0}"/>
              </a:ext>
            </a:extLst>
          </p:cNvPr>
          <p:cNvSpPr/>
          <p:nvPr/>
        </p:nvSpPr>
        <p:spPr>
          <a:xfrm>
            <a:off x="3984493" y="1802501"/>
            <a:ext cx="825500" cy="484694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SE</a:t>
            </a:r>
          </a:p>
        </p:txBody>
      </p:sp>
      <p:sp>
        <p:nvSpPr>
          <p:cNvPr id="45" name="Flowchart: Magnetic Disk 44">
            <a:extLst>
              <a:ext uri="{FF2B5EF4-FFF2-40B4-BE49-F238E27FC236}">
                <a16:creationId xmlns:a16="http://schemas.microsoft.com/office/drawing/2014/main" id="{74F246B7-5ACF-9101-7B2D-48E808DDC64C}"/>
              </a:ext>
            </a:extLst>
          </p:cNvPr>
          <p:cNvSpPr/>
          <p:nvPr/>
        </p:nvSpPr>
        <p:spPr>
          <a:xfrm>
            <a:off x="5323161" y="1802501"/>
            <a:ext cx="825500" cy="484694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e-MON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CDDCE36-6AF8-4D6A-0D6F-8CA8BCC3E908}"/>
              </a:ext>
            </a:extLst>
          </p:cNvPr>
          <p:cNvCxnSpPr>
            <a:cxnSpLocks/>
            <a:stCxn id="45" idx="3"/>
          </p:cNvCxnSpPr>
          <p:nvPr/>
        </p:nvCxnSpPr>
        <p:spPr>
          <a:xfrm flipH="1">
            <a:off x="4929051" y="2287195"/>
            <a:ext cx="806860" cy="927748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71F1136-F8C0-F01F-6D7B-363BF07534CF}"/>
              </a:ext>
            </a:extLst>
          </p:cNvPr>
          <p:cNvCxnSpPr>
            <a:cxnSpLocks/>
          </p:cNvCxnSpPr>
          <p:nvPr/>
        </p:nvCxnSpPr>
        <p:spPr>
          <a:xfrm>
            <a:off x="3338238" y="2417827"/>
            <a:ext cx="1307307" cy="827554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BF021911-E8FE-2172-9571-2F92204602F1}"/>
              </a:ext>
            </a:extLst>
          </p:cNvPr>
          <p:cNvSpPr txBox="1"/>
          <p:nvPr/>
        </p:nvSpPr>
        <p:spPr>
          <a:xfrm>
            <a:off x="7842092" y="4973430"/>
            <a:ext cx="4255634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Doku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kontr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sur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perjanji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Adendu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terakhi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kontrak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BAST-1 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beri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acar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sera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terim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Sura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perjanji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KSO (Jik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memili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Mai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Kontrakt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sebaga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Lead KS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ata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Ang. KSO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BOQ/RAB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jik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ad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peca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kontr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menjad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beberap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major ite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pekerjaa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112C0FF-4DCB-0D02-0906-A43166F45F54}"/>
              </a:ext>
            </a:extLst>
          </p:cNvPr>
          <p:cNvSpPr txBox="1"/>
          <p:nvPr/>
        </p:nvSpPr>
        <p:spPr>
          <a:xfrm>
            <a:off x="9804924" y="2621719"/>
            <a:ext cx="10509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as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alama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Flowchart: Magnetic Disk 15">
            <a:extLst>
              <a:ext uri="{FF2B5EF4-FFF2-40B4-BE49-F238E27FC236}">
                <a16:creationId xmlns:a16="http://schemas.microsoft.com/office/drawing/2014/main" id="{C2AA63EC-E2B7-C15B-2791-673D2BD9DAB1}"/>
              </a:ext>
            </a:extLst>
          </p:cNvPr>
          <p:cNvSpPr/>
          <p:nvPr/>
        </p:nvSpPr>
        <p:spPr>
          <a:xfrm>
            <a:off x="6399872" y="1963177"/>
            <a:ext cx="1155695" cy="484694"/>
          </a:xfrm>
          <a:prstGeom prst="flowChartMagneticDisk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b="1" dirty="0">
                <a:solidFill>
                  <a:schemeClr val="tx1"/>
                </a:solidFill>
              </a:rPr>
              <a:t>SIKOMPAK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19060ED-3C0F-BB6E-BECD-F24FF6EC81D1}"/>
              </a:ext>
            </a:extLst>
          </p:cNvPr>
          <p:cNvCxnSpPr>
            <a:cxnSpLocks/>
          </p:cNvCxnSpPr>
          <p:nvPr/>
        </p:nvCxnSpPr>
        <p:spPr>
          <a:xfrm flipH="1">
            <a:off x="5071674" y="2522283"/>
            <a:ext cx="1309947" cy="712579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oogle Shape;94;p13">
            <a:extLst>
              <a:ext uri="{FF2B5EF4-FFF2-40B4-BE49-F238E27FC236}">
                <a16:creationId xmlns:a16="http://schemas.microsoft.com/office/drawing/2014/main" id="{85C2010D-E526-0AB4-E160-6F0CF73CC3A5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39027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D7092B-6642-4810-9FBD-95C04C4D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0C6F2E-8228-9549-A94B-2E36D1CD61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9F89DB5-255B-841D-6A4C-BBE9F4BECC21}"/>
              </a:ext>
            </a:extLst>
          </p:cNvPr>
          <p:cNvSpPr/>
          <p:nvPr/>
        </p:nvSpPr>
        <p:spPr>
          <a:xfrm>
            <a:off x="338666" y="1006469"/>
            <a:ext cx="11514667" cy="5060861"/>
          </a:xfrm>
          <a:prstGeom prst="rect">
            <a:avLst/>
          </a:prstGeom>
        </p:spPr>
        <p:style>
          <a:lnRef idx="2">
            <a:schemeClr val="accent3">
              <a:hueOff val="1355300"/>
              <a:satOff val="50000"/>
              <a:lumOff val="-7353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D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AE6BE2E-6B18-B7E3-56C2-AB80F9F2DC7E}"/>
              </a:ext>
            </a:extLst>
          </p:cNvPr>
          <p:cNvGrpSpPr/>
          <p:nvPr/>
        </p:nvGrpSpPr>
        <p:grpSpPr>
          <a:xfrm>
            <a:off x="781167" y="626325"/>
            <a:ext cx="5689600" cy="828427"/>
            <a:chOff x="406400" y="1644790"/>
            <a:chExt cx="5689600" cy="61992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FD9852FD-9C4A-6425-93D9-633376F8B1DF}"/>
                </a:ext>
              </a:extLst>
            </p:cNvPr>
            <p:cNvSpPr/>
            <p:nvPr/>
          </p:nvSpPr>
          <p:spPr>
            <a:xfrm>
              <a:off x="406400" y="1644790"/>
              <a:ext cx="5689600" cy="61992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1355300"/>
                <a:satOff val="50000"/>
                <a:lumOff val="-7353"/>
                <a:alphaOff val="0"/>
              </a:schemeClr>
            </a:fillRef>
            <a:effectRef idx="0">
              <a:schemeClr val="accent3">
                <a:hueOff val="1355300"/>
                <a:satOff val="50000"/>
                <a:lumOff val="-7353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D"/>
            </a:p>
          </p:txBody>
        </p:sp>
        <p:sp>
          <p:nvSpPr>
            <p:cNvPr id="12" name="Rectangle: Rounded Corners 8">
              <a:extLst>
                <a:ext uri="{FF2B5EF4-FFF2-40B4-BE49-F238E27FC236}">
                  <a16:creationId xmlns:a16="http://schemas.microsoft.com/office/drawing/2014/main" id="{D37AB8B2-1337-B32E-37DA-7AF6BFF8DE79}"/>
                </a:ext>
              </a:extLst>
            </p:cNvPr>
            <p:cNvSpPr txBox="1"/>
            <p:nvPr/>
          </p:nvSpPr>
          <p:spPr>
            <a:xfrm>
              <a:off x="436662" y="1675052"/>
              <a:ext cx="5629076" cy="559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5053" tIns="0" rIns="215053" bIns="0" numCol="1" spcCol="1270" anchor="ctr" anchorCtr="0">
              <a:noAutofit/>
            </a:bodyPr>
            <a:lstStyle/>
            <a:p>
              <a:pPr marL="0" marR="0" lvl="0" indent="0" algn="l" defTabSz="9334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ALUR PROSES INPUT PENGALAMAN PROFESIONAL</a:t>
              </a:r>
            </a:p>
          </p:txBody>
        </p:sp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5E614FAC-A385-BFDD-B684-35BC4AD94B72}"/>
              </a:ext>
            </a:extLst>
          </p:cNvPr>
          <p:cNvSpPr/>
          <p:nvPr/>
        </p:nvSpPr>
        <p:spPr>
          <a:xfrm>
            <a:off x="498662" y="3578737"/>
            <a:ext cx="825500" cy="711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KK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D474C9A-D0D3-4901-77F9-77BBAD792BD4}"/>
              </a:ext>
            </a:extLst>
          </p:cNvPr>
          <p:cNvSpPr/>
          <p:nvPr/>
        </p:nvSpPr>
        <p:spPr>
          <a:xfrm>
            <a:off x="1896149" y="3578737"/>
            <a:ext cx="1485900" cy="7112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n e-SIMPA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540D1A8-2593-D0E4-CC88-FF2A07D6345A}"/>
              </a:ext>
            </a:extLst>
          </p:cNvPr>
          <p:cNvSpPr/>
          <p:nvPr/>
        </p:nvSpPr>
        <p:spPr>
          <a:xfrm>
            <a:off x="4045218" y="3578737"/>
            <a:ext cx="1485900" cy="7112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ecek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alama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9A2A8FF-351B-CC59-0E58-AAABAB841C37}"/>
              </a:ext>
            </a:extLst>
          </p:cNvPr>
          <p:cNvSpPr/>
          <p:nvPr/>
        </p:nvSpPr>
        <p:spPr>
          <a:xfrm>
            <a:off x="6096000" y="3578737"/>
            <a:ext cx="1485900" cy="7112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ort dat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alama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0B9E9B7-8FF3-BC7D-DF9F-4D066ED350AB}"/>
              </a:ext>
            </a:extLst>
          </p:cNvPr>
          <p:cNvSpPr/>
          <p:nvPr/>
        </p:nvSpPr>
        <p:spPr>
          <a:xfrm>
            <a:off x="8146782" y="3578737"/>
            <a:ext cx="1485900" cy="7112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loa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um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erens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374A46E-A535-93E7-26FD-BAD3475865D8}"/>
              </a:ext>
            </a:extLst>
          </p:cNvPr>
          <p:cNvSpPr/>
          <p:nvPr/>
        </p:nvSpPr>
        <p:spPr>
          <a:xfrm>
            <a:off x="10197564" y="3510868"/>
            <a:ext cx="1485900" cy="7112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mit (self declare)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130E78F-D058-956D-126B-60F00FFA691D}"/>
              </a:ext>
            </a:extLst>
          </p:cNvPr>
          <p:cNvSpPr/>
          <p:nvPr/>
        </p:nvSpPr>
        <p:spPr>
          <a:xfrm>
            <a:off x="6071136" y="4885936"/>
            <a:ext cx="1485900" cy="7112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put data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alam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u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lowchart: Magnetic Disk 12">
            <a:extLst>
              <a:ext uri="{FF2B5EF4-FFF2-40B4-BE49-F238E27FC236}">
                <a16:creationId xmlns:a16="http://schemas.microsoft.com/office/drawing/2014/main" id="{6AC3C981-5D37-36BE-CA28-D92757CCE2AF}"/>
              </a:ext>
            </a:extLst>
          </p:cNvPr>
          <p:cNvSpPr/>
          <p:nvPr/>
        </p:nvSpPr>
        <p:spPr>
          <a:xfrm>
            <a:off x="3900252" y="2409732"/>
            <a:ext cx="825500" cy="480109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KI</a:t>
            </a:r>
          </a:p>
        </p:txBody>
      </p:sp>
      <p:sp>
        <p:nvSpPr>
          <p:cNvPr id="14" name="Flowchart: Magnetic Disk 13">
            <a:extLst>
              <a:ext uri="{FF2B5EF4-FFF2-40B4-BE49-F238E27FC236}">
                <a16:creationId xmlns:a16="http://schemas.microsoft.com/office/drawing/2014/main" id="{E66A3029-E524-3B85-E9AC-DB6125EFE0EE}"/>
              </a:ext>
            </a:extLst>
          </p:cNvPr>
          <p:cNvSpPr/>
          <p:nvPr/>
        </p:nvSpPr>
        <p:spPr>
          <a:xfrm>
            <a:off x="10527764" y="1273386"/>
            <a:ext cx="825500" cy="480109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AL</a:t>
            </a:r>
          </a:p>
        </p:txBody>
      </p:sp>
      <p:sp>
        <p:nvSpPr>
          <p:cNvPr id="15" name="Flowchart: Magnetic Disk 14">
            <a:extLst>
              <a:ext uri="{FF2B5EF4-FFF2-40B4-BE49-F238E27FC236}">
                <a16:creationId xmlns:a16="http://schemas.microsoft.com/office/drawing/2014/main" id="{E6485E1C-E8CC-3555-FF80-3013EAB62806}"/>
              </a:ext>
            </a:extLst>
          </p:cNvPr>
          <p:cNvSpPr/>
          <p:nvPr/>
        </p:nvSpPr>
        <p:spPr>
          <a:xfrm>
            <a:off x="10527764" y="2409732"/>
            <a:ext cx="825500" cy="480109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KI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77D8B78-3A69-A10A-B0AD-8425B5F1ACAD}"/>
              </a:ext>
            </a:extLst>
          </p:cNvPr>
          <p:cNvCxnSpPr>
            <a:cxnSpLocks/>
          </p:cNvCxnSpPr>
          <p:nvPr/>
        </p:nvCxnSpPr>
        <p:spPr>
          <a:xfrm>
            <a:off x="1324162" y="3934337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B78FD91-E3DB-0811-2043-74220F337659}"/>
              </a:ext>
            </a:extLst>
          </p:cNvPr>
          <p:cNvCxnSpPr>
            <a:cxnSpLocks/>
          </p:cNvCxnSpPr>
          <p:nvPr/>
        </p:nvCxnSpPr>
        <p:spPr>
          <a:xfrm>
            <a:off x="3382049" y="3934337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61E8805-83BB-D486-CB36-15B38D795665}"/>
              </a:ext>
            </a:extLst>
          </p:cNvPr>
          <p:cNvCxnSpPr>
            <a:cxnSpLocks/>
          </p:cNvCxnSpPr>
          <p:nvPr/>
        </p:nvCxnSpPr>
        <p:spPr>
          <a:xfrm>
            <a:off x="5531118" y="3934337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2BCF1B9-BB3C-6AA9-63ED-38AB4136407F}"/>
              </a:ext>
            </a:extLst>
          </p:cNvPr>
          <p:cNvCxnSpPr>
            <a:cxnSpLocks/>
          </p:cNvCxnSpPr>
          <p:nvPr/>
        </p:nvCxnSpPr>
        <p:spPr>
          <a:xfrm>
            <a:off x="7581900" y="3934337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91E6BE2-70CB-07E0-F3C1-3E5153BD8D81}"/>
              </a:ext>
            </a:extLst>
          </p:cNvPr>
          <p:cNvCxnSpPr>
            <a:cxnSpLocks/>
          </p:cNvCxnSpPr>
          <p:nvPr/>
        </p:nvCxnSpPr>
        <p:spPr>
          <a:xfrm>
            <a:off x="9632682" y="3934337"/>
            <a:ext cx="56488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21223EF7-07BB-B80C-64DC-C2645C4312FD}"/>
              </a:ext>
            </a:extLst>
          </p:cNvPr>
          <p:cNvCxnSpPr>
            <a:cxnSpLocks/>
            <a:stCxn id="4" idx="2"/>
          </p:cNvCxnSpPr>
          <p:nvPr/>
        </p:nvCxnSpPr>
        <p:spPr>
          <a:xfrm rot="16200000" flipH="1">
            <a:off x="3841657" y="3087379"/>
            <a:ext cx="942690" cy="3347806"/>
          </a:xfrm>
          <a:prstGeom prst="bentConnector2">
            <a:avLst/>
          </a:prstGeom>
          <a:ln w="57150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CD71614D-DC4F-DD28-7D56-D9C94A6BA472}"/>
              </a:ext>
            </a:extLst>
          </p:cNvPr>
          <p:cNvCxnSpPr>
            <a:cxnSpLocks/>
            <a:endCxn id="8" idx="2"/>
          </p:cNvCxnSpPr>
          <p:nvPr/>
        </p:nvCxnSpPr>
        <p:spPr>
          <a:xfrm flipV="1">
            <a:off x="7581900" y="4289937"/>
            <a:ext cx="1307832" cy="939244"/>
          </a:xfrm>
          <a:prstGeom prst="bentConnector2">
            <a:avLst/>
          </a:prstGeom>
          <a:ln w="57150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88E9B33-DEFC-3CE9-2686-27E6E75FF9BF}"/>
              </a:ext>
            </a:extLst>
          </p:cNvPr>
          <p:cNvCxnSpPr>
            <a:cxnSpLocks/>
          </p:cNvCxnSpPr>
          <p:nvPr/>
        </p:nvCxnSpPr>
        <p:spPr>
          <a:xfrm>
            <a:off x="4412512" y="2938807"/>
            <a:ext cx="388088" cy="572061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127B9D2-DFCB-0B7E-D19C-17BF98363072}"/>
              </a:ext>
            </a:extLst>
          </p:cNvPr>
          <p:cNvCxnSpPr>
            <a:cxnSpLocks/>
          </p:cNvCxnSpPr>
          <p:nvPr/>
        </p:nvCxnSpPr>
        <p:spPr>
          <a:xfrm>
            <a:off x="10909300" y="2938807"/>
            <a:ext cx="0" cy="572061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389C0D3-6E13-17FF-2C29-8537D99CEA21}"/>
              </a:ext>
            </a:extLst>
          </p:cNvPr>
          <p:cNvCxnSpPr>
            <a:cxnSpLocks/>
          </p:cNvCxnSpPr>
          <p:nvPr/>
        </p:nvCxnSpPr>
        <p:spPr>
          <a:xfrm>
            <a:off x="10940514" y="1818769"/>
            <a:ext cx="0" cy="572061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E726D4A1-BE83-FC74-5BF8-A55FF1365109}"/>
              </a:ext>
            </a:extLst>
          </p:cNvPr>
          <p:cNvSpPr txBox="1"/>
          <p:nvPr/>
        </p:nvSpPr>
        <p:spPr>
          <a:xfrm>
            <a:off x="3242251" y="3134285"/>
            <a:ext cx="1409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ilik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8173E90-DAB2-E780-31F4-8A158814DE79}"/>
              </a:ext>
            </a:extLst>
          </p:cNvPr>
          <p:cNvSpPr txBox="1"/>
          <p:nvPr/>
        </p:nvSpPr>
        <p:spPr>
          <a:xfrm>
            <a:off x="9834066" y="3014608"/>
            <a:ext cx="10509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as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alama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7C2642E-2D63-D732-32C0-93CFC2157691}"/>
              </a:ext>
            </a:extLst>
          </p:cNvPr>
          <p:cNvSpPr txBox="1"/>
          <p:nvPr/>
        </p:nvSpPr>
        <p:spPr>
          <a:xfrm>
            <a:off x="7864341" y="1202379"/>
            <a:ext cx="26731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put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mohon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alam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fessional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1BBD3B-C4F5-C692-F02D-14E1F30AE4E5}"/>
              </a:ext>
            </a:extLst>
          </p:cNvPr>
          <p:cNvSpPr txBox="1"/>
          <p:nvPr/>
        </p:nvSpPr>
        <p:spPr>
          <a:xfrm>
            <a:off x="9042936" y="4492704"/>
            <a:ext cx="20211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>
                <a:solidFill>
                  <a:srgbClr val="FF0000"/>
                </a:solidFill>
              </a:rPr>
              <a:t>Khusus</a:t>
            </a:r>
            <a:r>
              <a:rPr lang="en-US" b="1" dirty="0">
                <a:solidFill>
                  <a:srgbClr val="FF0000"/>
                </a:solidFill>
              </a:rPr>
              <a:t> </a:t>
            </a:r>
            <a:r>
              <a:rPr lang="en-US" b="1" dirty="0" err="1">
                <a:solidFill>
                  <a:srgbClr val="FF0000"/>
                </a:solidFill>
              </a:rPr>
              <a:t>Untuk</a:t>
            </a:r>
            <a:r>
              <a:rPr lang="en-US" b="1" dirty="0">
                <a:solidFill>
                  <a:srgbClr val="FF0000"/>
                </a:solidFill>
              </a:rPr>
              <a:t> ASN:</a:t>
            </a:r>
          </a:p>
          <a:p>
            <a:endParaRPr lang="id-ID" b="1" dirty="0">
              <a:solidFill>
                <a:srgbClr val="FF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3476088-DA87-5CC6-CD7C-4355EAB3D3CB}"/>
              </a:ext>
            </a:extLst>
          </p:cNvPr>
          <p:cNvSpPr txBox="1"/>
          <p:nvPr/>
        </p:nvSpPr>
        <p:spPr>
          <a:xfrm>
            <a:off x="9042936" y="4748001"/>
            <a:ext cx="306418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d-ID" sz="1400" dirty="0"/>
              <a:t>daftar Riwayat hidup / CV yang disetujui oleh atasan langsung / pejabat Pembina kepegawaian dan/atau Surat Keputusan Struktural/ Fungsional/ Penugasan Lainnya</a:t>
            </a:r>
          </a:p>
        </p:txBody>
      </p:sp>
      <p:sp>
        <p:nvSpPr>
          <p:cNvPr id="21" name="Flowchart: Magnetic Disk 20">
            <a:extLst>
              <a:ext uri="{FF2B5EF4-FFF2-40B4-BE49-F238E27FC236}">
                <a16:creationId xmlns:a16="http://schemas.microsoft.com/office/drawing/2014/main" id="{293EBA22-6097-5D86-BDBD-202EDBF69666}"/>
              </a:ext>
            </a:extLst>
          </p:cNvPr>
          <p:cNvSpPr/>
          <p:nvPr/>
        </p:nvSpPr>
        <p:spPr>
          <a:xfrm>
            <a:off x="4988059" y="2395992"/>
            <a:ext cx="1231988" cy="480109"/>
          </a:xfrm>
          <a:prstGeom prst="flowChartMagneticDisk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KOMPAK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A05B56-6760-D830-54C1-E201AD258CE9}"/>
              </a:ext>
            </a:extLst>
          </p:cNvPr>
          <p:cNvCxnSpPr>
            <a:cxnSpLocks/>
          </p:cNvCxnSpPr>
          <p:nvPr/>
        </p:nvCxnSpPr>
        <p:spPr>
          <a:xfrm flipH="1">
            <a:off x="4918453" y="2898366"/>
            <a:ext cx="444894" cy="612502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oogle Shape;94;p13">
            <a:extLst>
              <a:ext uri="{FF2B5EF4-FFF2-40B4-BE49-F238E27FC236}">
                <a16:creationId xmlns:a16="http://schemas.microsoft.com/office/drawing/2014/main" id="{838EBA9A-07FB-3138-FE52-8105216434DA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82915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00FB46-729B-D9FF-40AE-D02AB1ADBF7F}"/>
              </a:ext>
            </a:extLst>
          </p:cNvPr>
          <p:cNvSpPr/>
          <p:nvPr/>
        </p:nvSpPr>
        <p:spPr>
          <a:xfrm>
            <a:off x="7757206" y="4517692"/>
            <a:ext cx="4335734" cy="616588"/>
          </a:xfrm>
          <a:prstGeom prst="rect">
            <a:avLst/>
          </a:prstGeom>
          <a:solidFill>
            <a:srgbClr val="FFFF00"/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84C083-1193-4B13-933D-5072DFF81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>
            <a:extLst>
              <a:ext uri="{FF2B5EF4-FFF2-40B4-BE49-F238E27FC236}">
                <a16:creationId xmlns:a16="http://schemas.microsoft.com/office/drawing/2014/main" id="{839D54BB-974A-956E-1E0C-B09EBE74BE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6CC290E-7458-9CBC-D176-D646C9E506B1}"/>
              </a:ext>
            </a:extLst>
          </p:cNvPr>
          <p:cNvSpPr/>
          <p:nvPr/>
        </p:nvSpPr>
        <p:spPr>
          <a:xfrm>
            <a:off x="311468" y="-9145"/>
            <a:ext cx="12053019" cy="53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300" b="1" spc="-150" dirty="0">
                <a:solidFill>
                  <a:srgbClr val="002060"/>
                </a:solidFill>
                <a:latin typeface="Century Gothic" panose="020B0502020202020204" pitchFamily="34" charset="0"/>
              </a:rPr>
              <a:t>KUALITAS DATA PENGALAMAN YANG TERSUBMIT</a:t>
            </a:r>
            <a:endParaRPr kumimoji="0" lang="en-US" sz="3300" b="1" i="0" u="none" strike="noStrike" kern="1200" cap="none" spc="-15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8CB1625-E409-3BD8-6702-35BA53C76754}"/>
              </a:ext>
            </a:extLst>
          </p:cNvPr>
          <p:cNvSpPr txBox="1"/>
          <p:nvPr/>
        </p:nvSpPr>
        <p:spPr>
          <a:xfrm>
            <a:off x="686753" y="4068494"/>
            <a:ext cx="3106103" cy="369332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Tw Cen MT" panose="020B0602020104020603" pitchFamily="34" charset="0"/>
              </a:rPr>
              <a:t>SELF DECLARE PENGALAMA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819443-0E45-6078-92F0-0CF8BB0296D7}"/>
              </a:ext>
            </a:extLst>
          </p:cNvPr>
          <p:cNvSpPr txBox="1"/>
          <p:nvPr/>
        </p:nvSpPr>
        <p:spPr>
          <a:xfrm>
            <a:off x="700088" y="4482507"/>
            <a:ext cx="610933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742927">
              <a:buAutoNum type="arabicPeriod"/>
            </a:pPr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SIKI</a:t>
            </a:r>
          </a:p>
          <a:p>
            <a:pPr marL="342900" indent="-342900" defTabSz="742927">
              <a:buAutoNum type="arabicPeriod"/>
            </a:pPr>
            <a:r>
              <a:rPr lang="en-US" altLang="ko-KR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E-MON</a:t>
            </a:r>
          </a:p>
          <a:p>
            <a:pPr marL="342900" indent="-342900" defTabSz="742927">
              <a:buAutoNum type="arabicPeriod"/>
            </a:pPr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SPSE</a:t>
            </a:r>
          </a:p>
          <a:p>
            <a:pPr marL="342900" indent="-342900" defTabSz="742927">
              <a:buAutoNum type="arabicPeriod"/>
            </a:pPr>
            <a:r>
              <a:rPr lang="en-US" altLang="ko-KR" sz="1800" b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TAMBAH </a:t>
            </a:r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NGALAMAN (</a:t>
            </a:r>
            <a:r>
              <a:rPr lang="en-US" altLang="ko-KR" sz="18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seluruh</a:t>
            </a:r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data </a:t>
            </a:r>
            <a:r>
              <a:rPr lang="en-US" altLang="ko-KR" sz="18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Isian</a:t>
            </a:r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Manual)</a:t>
            </a:r>
            <a:endParaRPr lang="ko-KR" altLang="en-US" sz="18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2585D09-2D5E-6EDA-22AF-EEE7B7943A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40442" y="857604"/>
            <a:ext cx="2555558" cy="191420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7941FAF-4C4D-3A67-D624-F5C30067EA3F}"/>
              </a:ext>
            </a:extLst>
          </p:cNvPr>
          <p:cNvSpPr txBox="1"/>
          <p:nvPr/>
        </p:nvSpPr>
        <p:spPr>
          <a:xfrm>
            <a:off x="4103370" y="2575770"/>
            <a:ext cx="338709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28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Belum </a:t>
            </a:r>
            <a:r>
              <a:rPr lang="en-US" altLang="ko-KR" sz="2800" b="1" dirty="0" err="1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teruji</a:t>
            </a:r>
            <a:r>
              <a:rPr lang="en-US" altLang="ko-KR" sz="28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???</a:t>
            </a:r>
            <a:endParaRPr lang="ko-KR" altLang="en-US" sz="28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812CF0-EEC4-690A-15A3-F5CE3FB813BC}"/>
              </a:ext>
            </a:extLst>
          </p:cNvPr>
          <p:cNvSpPr txBox="1"/>
          <p:nvPr/>
        </p:nvSpPr>
        <p:spPr>
          <a:xfrm>
            <a:off x="7674884" y="3429000"/>
            <a:ext cx="3403496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w Cen MT" panose="020B0602020104020603" pitchFamily="34" charset="0"/>
              </a:rPr>
              <a:t>UPAYA PENINGKATAN KUALITA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CAD84E-B8DA-2C26-99B0-0F4731D87DDE}"/>
              </a:ext>
            </a:extLst>
          </p:cNvPr>
          <p:cNvSpPr txBox="1"/>
          <p:nvPr/>
        </p:nvSpPr>
        <p:spPr>
          <a:xfrm>
            <a:off x="7986565" y="3933950"/>
            <a:ext cx="618363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742927">
              <a:buAutoNum type="arabicPeriod"/>
            </a:pPr>
            <a:r>
              <a:rPr lang="en-US" altLang="ko-KR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SIKOMPAK</a:t>
            </a:r>
          </a:p>
          <a:p>
            <a:pPr marL="342900" indent="-342900" defTabSz="742927">
              <a:buAutoNum type="arabicPeriod"/>
            </a:pPr>
            <a:r>
              <a:rPr lang="en-US" altLang="ko-KR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UJI PETIK</a:t>
            </a:r>
          </a:p>
          <a:p>
            <a:pPr marL="342900" indent="-342900" defTabSz="742927">
              <a:buAutoNum type="arabicPeriod"/>
            </a:pPr>
            <a:r>
              <a:rPr lang="en-US" altLang="ko-KR" b="1" dirty="0">
                <a:solidFill>
                  <a:srgbClr val="002060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VERIFIKASI DAN VALIDASI</a:t>
            </a:r>
          </a:p>
          <a:p>
            <a:pPr marL="342900" indent="-342900" defTabSz="742927">
              <a:buAutoNum type="arabicPeriod"/>
            </a:pPr>
            <a:r>
              <a:rPr lang="en-US" altLang="ko-KR" b="1" dirty="0">
                <a:solidFill>
                  <a:srgbClr val="002060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TAGING OLEH POKJA</a:t>
            </a:r>
          </a:p>
        </p:txBody>
      </p:sp>
      <p:sp>
        <p:nvSpPr>
          <p:cNvPr id="23" name="Arrow: Curved Down 22">
            <a:extLst>
              <a:ext uri="{FF2B5EF4-FFF2-40B4-BE49-F238E27FC236}">
                <a16:creationId xmlns:a16="http://schemas.microsoft.com/office/drawing/2014/main" id="{39C771E8-E706-86B2-AF5B-E4AC65D39257}"/>
              </a:ext>
            </a:extLst>
          </p:cNvPr>
          <p:cNvSpPr/>
          <p:nvPr/>
        </p:nvSpPr>
        <p:spPr>
          <a:xfrm rot="19061693">
            <a:off x="959395" y="1468327"/>
            <a:ext cx="2373173" cy="1304182"/>
          </a:xfrm>
          <a:prstGeom prst="curvedDownArrow">
            <a:avLst>
              <a:gd name="adj1" fmla="val 11539"/>
              <a:gd name="adj2" fmla="val 50000"/>
              <a:gd name="adj3" fmla="val 31024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Arrow: Curved Down 23">
            <a:extLst>
              <a:ext uri="{FF2B5EF4-FFF2-40B4-BE49-F238E27FC236}">
                <a16:creationId xmlns:a16="http://schemas.microsoft.com/office/drawing/2014/main" id="{2DD97934-DE0C-1176-98FC-46D3340E8296}"/>
              </a:ext>
            </a:extLst>
          </p:cNvPr>
          <p:cNvSpPr/>
          <p:nvPr/>
        </p:nvSpPr>
        <p:spPr>
          <a:xfrm rot="1462520">
            <a:off x="6811252" y="1414297"/>
            <a:ext cx="2373173" cy="1250717"/>
          </a:xfrm>
          <a:prstGeom prst="curvedDownArrow">
            <a:avLst>
              <a:gd name="adj1" fmla="val 11539"/>
              <a:gd name="adj2" fmla="val 50000"/>
              <a:gd name="adj3" fmla="val 31024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2C6A023-8D65-118C-3EF2-8A83A05BA92F}"/>
              </a:ext>
            </a:extLst>
          </p:cNvPr>
          <p:cNvSpPr/>
          <p:nvPr/>
        </p:nvSpPr>
        <p:spPr>
          <a:xfrm>
            <a:off x="9773420" y="6040700"/>
            <a:ext cx="2096076" cy="313768"/>
          </a:xfrm>
          <a:prstGeom prst="rect">
            <a:avLst/>
          </a:prstGeom>
          <a:solidFill>
            <a:srgbClr val="FFFF00"/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rgbClr val="002060"/>
                </a:solidFill>
                <a:latin typeface="Tw Cen MT" panose="020B0602020104020603" pitchFamily="34" charset="0"/>
              </a:rPr>
              <a:t>Rencana</a:t>
            </a:r>
            <a:r>
              <a:rPr lang="en-US" dirty="0">
                <a:solidFill>
                  <a:srgbClr val="002060"/>
                </a:solidFill>
                <a:latin typeface="Tw Cen MT" panose="020B0602020104020603" pitchFamily="34" charset="0"/>
              </a:rPr>
              <a:t> </a:t>
            </a:r>
            <a:r>
              <a:rPr lang="en-US" dirty="0" err="1">
                <a:solidFill>
                  <a:srgbClr val="002060"/>
                </a:solidFill>
                <a:latin typeface="Tw Cen MT" panose="020B0602020104020603" pitchFamily="34" charset="0"/>
              </a:rPr>
              <a:t>kedepan</a:t>
            </a:r>
            <a:endParaRPr lang="en-US" dirty="0">
              <a:solidFill>
                <a:srgbClr val="002060"/>
              </a:solidFill>
              <a:latin typeface="Tw Cen MT" panose="020B0602020104020603" pitchFamily="34" charset="0"/>
            </a:endParaRPr>
          </a:p>
        </p:txBody>
      </p:sp>
      <p:pic>
        <p:nvPicPr>
          <p:cNvPr id="10" name="Google Shape;94;p13">
            <a:extLst>
              <a:ext uri="{FF2B5EF4-FFF2-40B4-BE49-F238E27FC236}">
                <a16:creationId xmlns:a16="http://schemas.microsoft.com/office/drawing/2014/main" id="{F3852AFC-D38C-D6E0-B40E-8DA077DC7A10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361661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F7EBCD7C-090E-4EFA-A7F9-7BA731A1B794}"/>
              </a:ext>
            </a:extLst>
          </p:cNvPr>
          <p:cNvSpPr/>
          <p:nvPr/>
        </p:nvSpPr>
        <p:spPr>
          <a:xfrm>
            <a:off x="2742504" y="0"/>
            <a:ext cx="1497529" cy="68580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540AFA22-B70A-464D-B0D6-ACAD9AFCC592}"/>
              </a:ext>
            </a:extLst>
          </p:cNvPr>
          <p:cNvSpPr txBox="1"/>
          <p:nvPr/>
        </p:nvSpPr>
        <p:spPr>
          <a:xfrm>
            <a:off x="50071" y="126956"/>
            <a:ext cx="2537412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맑은 고딕" panose="020B0503020000020004" pitchFamily="34" charset="-127"/>
                <a:cs typeface="Arial" pitchFamily="34" charset="0"/>
              </a:rPr>
              <a:t>Outline</a:t>
            </a:r>
            <a:endParaRPr kumimoji="0" lang="ko-KR" alt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051DCD3-8D06-4621-98BE-B55DC1389643}"/>
              </a:ext>
            </a:extLst>
          </p:cNvPr>
          <p:cNvSpPr txBox="1"/>
          <p:nvPr/>
        </p:nvSpPr>
        <p:spPr>
          <a:xfrm>
            <a:off x="4620149" y="1668971"/>
            <a:ext cx="8482837" cy="5847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08000" rIns="108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n-NO" altLang="ko-KR" sz="3200" b="1" dirty="0">
                <a:solidFill>
                  <a:srgbClr val="394C79"/>
                </a:solidFill>
                <a:latin typeface="Calibri" panose="020F0502020204030204"/>
                <a:ea typeface="맑은 고딕" panose="020B0503020000020004" pitchFamily="34" charset="-127"/>
                <a:cs typeface="Arial" pitchFamily="34" charset="0"/>
              </a:rPr>
              <a:t>PENGANTAR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86ACED2E-21CC-4289-A68C-38EEBF36915C}"/>
              </a:ext>
            </a:extLst>
          </p:cNvPr>
          <p:cNvGrpSpPr/>
          <p:nvPr/>
        </p:nvGrpSpPr>
        <p:grpSpPr>
          <a:xfrm>
            <a:off x="3018058" y="1576649"/>
            <a:ext cx="958096" cy="780795"/>
            <a:chOff x="5324331" y="1449052"/>
            <a:chExt cx="958096" cy="780795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2009C53F-9F8D-4A49-A933-1F1B4C4FDC13}"/>
                </a:ext>
              </a:extLst>
            </p:cNvPr>
            <p:cNvSpPr/>
            <p:nvPr/>
          </p:nvSpPr>
          <p:spPr>
            <a:xfrm>
              <a:off x="5412981" y="1449052"/>
              <a:ext cx="780795" cy="7807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FBDDB7A7-F78F-4F77-931D-CBBAA1135594}"/>
                </a:ext>
              </a:extLst>
            </p:cNvPr>
            <p:cNvSpPr txBox="1"/>
            <p:nvPr/>
          </p:nvSpPr>
          <p:spPr>
            <a:xfrm>
              <a:off x="5324331" y="1516285"/>
              <a:ext cx="958096" cy="646331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Arial" pitchFamily="34" charset="0"/>
                </a:rPr>
                <a:t>01</a:t>
              </a:r>
              <a:endParaRPr kumimoji="0" lang="ko-KR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28BE8F5-6C3D-4ECC-6FBB-9C7AB9E868ED}"/>
              </a:ext>
            </a:extLst>
          </p:cNvPr>
          <p:cNvGrpSpPr/>
          <p:nvPr/>
        </p:nvGrpSpPr>
        <p:grpSpPr>
          <a:xfrm>
            <a:off x="3018058" y="4038698"/>
            <a:ext cx="958096" cy="780795"/>
            <a:chOff x="5324331" y="1449052"/>
            <a:chExt cx="958096" cy="780795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C442031-13B7-2E10-7D68-24E87CD38AF1}"/>
                </a:ext>
              </a:extLst>
            </p:cNvPr>
            <p:cNvSpPr/>
            <p:nvPr/>
          </p:nvSpPr>
          <p:spPr>
            <a:xfrm>
              <a:off x="5412981" y="1449052"/>
              <a:ext cx="780795" cy="7807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0274060-98C8-DBB2-EAE9-398B2875DF19}"/>
                </a:ext>
              </a:extLst>
            </p:cNvPr>
            <p:cNvSpPr txBox="1"/>
            <p:nvPr/>
          </p:nvSpPr>
          <p:spPr>
            <a:xfrm>
              <a:off x="5324331" y="1516285"/>
              <a:ext cx="958096" cy="646331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Arial" pitchFamily="34" charset="0"/>
                </a:rPr>
                <a:t>03</a:t>
              </a:r>
              <a:endParaRPr kumimoji="0" lang="ko-KR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D93EECD-CEA6-11A9-AD39-B0FF60202C0E}"/>
              </a:ext>
            </a:extLst>
          </p:cNvPr>
          <p:cNvGrpSpPr/>
          <p:nvPr/>
        </p:nvGrpSpPr>
        <p:grpSpPr>
          <a:xfrm>
            <a:off x="3018058" y="2774057"/>
            <a:ext cx="958096" cy="780795"/>
            <a:chOff x="5324331" y="1449052"/>
            <a:chExt cx="958096" cy="780795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3F33639-A6A1-8F7B-B455-FE85452E2199}"/>
                </a:ext>
              </a:extLst>
            </p:cNvPr>
            <p:cNvSpPr/>
            <p:nvPr/>
          </p:nvSpPr>
          <p:spPr>
            <a:xfrm>
              <a:off x="5412981" y="1449052"/>
              <a:ext cx="780795" cy="7807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B4B870F-8CDF-7541-8445-E6E89D47672C}"/>
                </a:ext>
              </a:extLst>
            </p:cNvPr>
            <p:cNvSpPr txBox="1"/>
            <p:nvPr/>
          </p:nvSpPr>
          <p:spPr>
            <a:xfrm>
              <a:off x="5324331" y="1516285"/>
              <a:ext cx="958096" cy="646331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Arial" pitchFamily="34" charset="0"/>
                </a:rPr>
                <a:t>02</a:t>
              </a:r>
              <a:endParaRPr kumimoji="0" lang="ko-KR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7291401-FDD4-AC63-BDBF-5150E7A6CDBF}"/>
              </a:ext>
            </a:extLst>
          </p:cNvPr>
          <p:cNvSpPr txBox="1"/>
          <p:nvPr/>
        </p:nvSpPr>
        <p:spPr>
          <a:xfrm>
            <a:off x="4620149" y="3890486"/>
            <a:ext cx="7060927" cy="107721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08000" rIns="108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1" i="0" u="none" strike="noStrike" kern="1200" cap="none" spc="0" normalizeH="0" baseline="0" noProof="0" dirty="0">
                <a:ln>
                  <a:noFill/>
                </a:ln>
                <a:solidFill>
                  <a:srgbClr val="394C79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rPr>
              <a:t>SISTEM INFORMASI KONSTRUKSI INDONESIA (SIKI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388E7C1-97CD-0940-B65C-9EB01292DEC2}"/>
              </a:ext>
            </a:extLst>
          </p:cNvPr>
          <p:cNvSpPr txBox="1"/>
          <p:nvPr/>
        </p:nvSpPr>
        <p:spPr>
          <a:xfrm>
            <a:off x="4620149" y="2623097"/>
            <a:ext cx="7060927" cy="107721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08000" rIns="108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1" i="0" u="none" strike="noStrike" kern="1200" cap="none" spc="0" normalizeH="0" baseline="0" noProof="0" dirty="0">
                <a:ln>
                  <a:noFill/>
                </a:ln>
                <a:solidFill>
                  <a:srgbClr val="394C79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rPr>
              <a:t>SISTEM INFORMASI MANAJEMEN PENGALAMAN (SIMPAN)</a:t>
            </a:r>
          </a:p>
        </p:txBody>
      </p:sp>
      <p:pic>
        <p:nvPicPr>
          <p:cNvPr id="2" name="Google Shape;94;p13">
            <a:extLst>
              <a:ext uri="{FF2B5EF4-FFF2-40B4-BE49-F238E27FC236}">
                <a16:creationId xmlns:a16="http://schemas.microsoft.com/office/drawing/2014/main" id="{63CE0A2D-6DCC-450D-C5E8-65C1E0A9CCD3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AF4AE4C-F80B-6072-926B-69FDBA0E92BD}"/>
              </a:ext>
            </a:extLst>
          </p:cNvPr>
          <p:cNvGrpSpPr/>
          <p:nvPr/>
        </p:nvGrpSpPr>
        <p:grpSpPr>
          <a:xfrm>
            <a:off x="3018058" y="5306087"/>
            <a:ext cx="958096" cy="780795"/>
            <a:chOff x="5324331" y="1449052"/>
            <a:chExt cx="958096" cy="780795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0322AB15-F32A-B6C4-7F78-B3FC237DF599}"/>
                </a:ext>
              </a:extLst>
            </p:cNvPr>
            <p:cNvSpPr/>
            <p:nvPr/>
          </p:nvSpPr>
          <p:spPr>
            <a:xfrm>
              <a:off x="5412981" y="1449052"/>
              <a:ext cx="780795" cy="7807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0045408-7B3A-DCB6-0F3F-B54EBD26486C}"/>
                </a:ext>
              </a:extLst>
            </p:cNvPr>
            <p:cNvSpPr txBox="1"/>
            <p:nvPr/>
          </p:nvSpPr>
          <p:spPr>
            <a:xfrm>
              <a:off x="5324331" y="1516285"/>
              <a:ext cx="958096" cy="646331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Arial" pitchFamily="34" charset="0"/>
                </a:rPr>
                <a:t>04</a:t>
              </a:r>
              <a:endParaRPr kumimoji="0" lang="ko-KR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F4568DD-2D4B-5874-9993-31CF3170D034}"/>
              </a:ext>
            </a:extLst>
          </p:cNvPr>
          <p:cNvSpPr txBox="1"/>
          <p:nvPr/>
        </p:nvSpPr>
        <p:spPr>
          <a:xfrm>
            <a:off x="4620149" y="5157875"/>
            <a:ext cx="7060927" cy="107721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08000" rIns="108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1" i="0" u="none" strike="noStrike" kern="1200" cap="none" spc="0" normalizeH="0" baseline="0" noProof="0" dirty="0">
                <a:ln>
                  <a:noFill/>
                </a:ln>
                <a:solidFill>
                  <a:srgbClr val="394C79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rPr>
              <a:t>AKSES SIJKT UNTUK PEMERINTAH DAERAH</a:t>
            </a:r>
          </a:p>
        </p:txBody>
      </p:sp>
    </p:spTree>
    <p:extLst>
      <p:ext uri="{BB962C8B-B14F-4D97-AF65-F5344CB8AC3E}">
        <p14:creationId xmlns:p14="http://schemas.microsoft.com/office/powerpoint/2010/main" val="14241952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84C083-1193-4B13-933D-5072DFF81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>
            <a:extLst>
              <a:ext uri="{FF2B5EF4-FFF2-40B4-BE49-F238E27FC236}">
                <a16:creationId xmlns:a16="http://schemas.microsoft.com/office/drawing/2014/main" id="{839D54BB-974A-956E-1E0C-B09EBE74BE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6CC290E-7458-9CBC-D176-D646C9E506B1}"/>
              </a:ext>
            </a:extLst>
          </p:cNvPr>
          <p:cNvSpPr/>
          <p:nvPr/>
        </p:nvSpPr>
        <p:spPr>
          <a:xfrm>
            <a:off x="156677" y="117353"/>
            <a:ext cx="12053019" cy="53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300" b="1" spc="-150" dirty="0">
                <a:solidFill>
                  <a:srgbClr val="002060"/>
                </a:solidFill>
                <a:latin typeface="Century Gothic" panose="020B0502020202020204" pitchFamily="34" charset="0"/>
              </a:rPr>
              <a:t>SUMBER DATA PENGALAMAN (SELF DECLARE)</a:t>
            </a:r>
            <a:endParaRPr kumimoji="0" lang="en-US" sz="3300" b="1" i="0" u="none" strike="noStrike" kern="1200" cap="none" spc="-15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213011-C00F-B643-00F8-0544F56858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6390" y="2476238"/>
            <a:ext cx="11587819" cy="58959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372ABA4-BB38-4AB1-A557-6587F6658E8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78468" b="-28071"/>
          <a:stretch/>
        </p:blipFill>
        <p:spPr>
          <a:xfrm>
            <a:off x="1962617" y="5270767"/>
            <a:ext cx="2495083" cy="7550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B2C67F8-B6B5-8666-9C33-CE798FC01FC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436" t="-9726"/>
          <a:stretch/>
        </p:blipFill>
        <p:spPr>
          <a:xfrm>
            <a:off x="4457700" y="5238626"/>
            <a:ext cx="4700439" cy="64693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18C0294-F2B8-65F9-E8DC-7DE99FD975C6}"/>
              </a:ext>
            </a:extLst>
          </p:cNvPr>
          <p:cNvSpPr/>
          <p:nvPr/>
        </p:nvSpPr>
        <p:spPr>
          <a:xfrm>
            <a:off x="3511832" y="4282072"/>
            <a:ext cx="3046578" cy="53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NAGA KERJA KONSTRUKSI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5656643-EACC-FA20-401F-DC0EAF61F74E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22587" y="3871558"/>
            <a:ext cx="1789245" cy="119283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7D97D9C-A02F-1DC2-2BC5-AF8BA89F20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2423" y="1472279"/>
            <a:ext cx="839795" cy="839795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2C252E5F-6948-BA0C-6648-53860380D78B}"/>
              </a:ext>
            </a:extLst>
          </p:cNvPr>
          <p:cNvSpPr/>
          <p:nvPr/>
        </p:nvSpPr>
        <p:spPr>
          <a:xfrm>
            <a:off x="1262218" y="1682351"/>
            <a:ext cx="2967608" cy="53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ADAN USAHA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BEB7605-4065-F275-B07F-ADBBF2BCD785}"/>
              </a:ext>
            </a:extLst>
          </p:cNvPr>
          <p:cNvSpPr/>
          <p:nvPr/>
        </p:nvSpPr>
        <p:spPr>
          <a:xfrm>
            <a:off x="6566497" y="5238625"/>
            <a:ext cx="2755459" cy="787237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649B2AD-5C59-728B-07C5-979F419DD067}"/>
              </a:ext>
            </a:extLst>
          </p:cNvPr>
          <p:cNvSpPr/>
          <p:nvPr/>
        </p:nvSpPr>
        <p:spPr>
          <a:xfrm>
            <a:off x="9383165" y="2377416"/>
            <a:ext cx="2755459" cy="787237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6430AFD-B07D-A925-0A27-7954265838B5}"/>
              </a:ext>
            </a:extLst>
          </p:cNvPr>
          <p:cNvSpPr txBox="1"/>
          <p:nvPr/>
        </p:nvSpPr>
        <p:spPr>
          <a:xfrm>
            <a:off x="8347655" y="3824256"/>
            <a:ext cx="304657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>
                <a:solidFill>
                  <a:srgbClr val="002060"/>
                </a:solidFill>
                <a:latin typeface="Tw Cen MT" panose="020B0602020104020603" pitchFamily="34" charset="0"/>
              </a:rPr>
              <a:t>Digunakan</a:t>
            </a:r>
            <a:r>
              <a:rPr lang="en-US" b="1" dirty="0">
                <a:solidFill>
                  <a:srgbClr val="002060"/>
                </a:solidFill>
                <a:latin typeface="Tw Cen MT" panose="020B0602020104020603" pitchFamily="34" charset="0"/>
              </a:rPr>
              <a:t> </a:t>
            </a:r>
            <a:r>
              <a:rPr lang="en-US" b="1" dirty="0" err="1">
                <a:solidFill>
                  <a:srgbClr val="002060"/>
                </a:solidFill>
                <a:latin typeface="Tw Cen MT" panose="020B0602020104020603" pitchFamily="34" charset="0"/>
              </a:rPr>
              <a:t>untuk</a:t>
            </a:r>
            <a:r>
              <a:rPr lang="en-US" b="1" dirty="0">
                <a:solidFill>
                  <a:srgbClr val="002060"/>
                </a:solidFill>
                <a:latin typeface="Tw Cen MT" panose="020B0602020104020603" pitchFamily="34" charset="0"/>
              </a:rPr>
              <a:t> </a:t>
            </a:r>
            <a:r>
              <a:rPr lang="en-US" b="1" dirty="0" err="1">
                <a:solidFill>
                  <a:srgbClr val="002060"/>
                </a:solidFill>
                <a:latin typeface="Tw Cen MT" panose="020B0602020104020603" pitchFamily="34" charset="0"/>
              </a:rPr>
              <a:t>pengalaman</a:t>
            </a:r>
            <a:r>
              <a:rPr lang="en-US" b="1" dirty="0">
                <a:solidFill>
                  <a:srgbClr val="002060"/>
                </a:solidFill>
                <a:latin typeface="Tw Cen MT" panose="020B0602020104020603" pitchFamily="34" charset="0"/>
              </a:rPr>
              <a:t> </a:t>
            </a:r>
            <a:r>
              <a:rPr lang="en-US" b="1" dirty="0" err="1">
                <a:solidFill>
                  <a:srgbClr val="002060"/>
                </a:solidFill>
                <a:latin typeface="Tw Cen MT" panose="020B0602020104020603" pitchFamily="34" charset="0"/>
              </a:rPr>
              <a:t>pekerjaan</a:t>
            </a:r>
            <a:r>
              <a:rPr lang="en-US" b="1" dirty="0">
                <a:solidFill>
                  <a:srgbClr val="002060"/>
                </a:solidFill>
                <a:latin typeface="Tw Cen MT" panose="020B0602020104020603" pitchFamily="34" charset="0"/>
              </a:rPr>
              <a:t> PUPR </a:t>
            </a:r>
            <a:r>
              <a:rPr lang="en-US" b="1" dirty="0" err="1">
                <a:solidFill>
                  <a:srgbClr val="002060"/>
                </a:solidFill>
                <a:latin typeface="Tw Cen MT" panose="020B0602020104020603" pitchFamily="34" charset="0"/>
              </a:rPr>
              <a:t>mulai</a:t>
            </a:r>
            <a:r>
              <a:rPr lang="en-US" b="1" dirty="0">
                <a:solidFill>
                  <a:srgbClr val="002060"/>
                </a:solidFill>
                <a:latin typeface="Tw Cen MT" panose="020B0602020104020603" pitchFamily="34" charset="0"/>
              </a:rPr>
              <a:t> </a:t>
            </a:r>
            <a:r>
              <a:rPr lang="en-US" b="1" dirty="0" err="1">
                <a:solidFill>
                  <a:srgbClr val="002060"/>
                </a:solidFill>
                <a:latin typeface="Tw Cen MT" panose="020B0602020104020603" pitchFamily="34" charset="0"/>
              </a:rPr>
              <a:t>tahun</a:t>
            </a:r>
            <a:r>
              <a:rPr lang="en-US" b="1" dirty="0">
                <a:solidFill>
                  <a:srgbClr val="002060"/>
                </a:solidFill>
                <a:latin typeface="Tw Cen MT" panose="020B0602020104020603" pitchFamily="34" charset="0"/>
              </a:rPr>
              <a:t> </a:t>
            </a:r>
            <a:r>
              <a:rPr lang="en-US" b="1" dirty="0" err="1">
                <a:solidFill>
                  <a:srgbClr val="002060"/>
                </a:solidFill>
                <a:latin typeface="Tw Cen MT" panose="020B0602020104020603" pitchFamily="34" charset="0"/>
              </a:rPr>
              <a:t>anggaran</a:t>
            </a:r>
            <a:r>
              <a:rPr lang="en-US" b="1" dirty="0">
                <a:solidFill>
                  <a:srgbClr val="002060"/>
                </a:solidFill>
                <a:latin typeface="Tw Cen MT" panose="020B0602020104020603" pitchFamily="34" charset="0"/>
              </a:rPr>
              <a:t> 2023</a:t>
            </a:r>
          </a:p>
        </p:txBody>
      </p:sp>
      <p:sp>
        <p:nvSpPr>
          <p:cNvPr id="33" name="Arrow: Bent 32">
            <a:extLst>
              <a:ext uri="{FF2B5EF4-FFF2-40B4-BE49-F238E27FC236}">
                <a16:creationId xmlns:a16="http://schemas.microsoft.com/office/drawing/2014/main" id="{87E94C8D-EA60-C80C-939E-92BC6AA45C5F}"/>
              </a:ext>
            </a:extLst>
          </p:cNvPr>
          <p:cNvSpPr/>
          <p:nvPr/>
        </p:nvSpPr>
        <p:spPr>
          <a:xfrm>
            <a:off x="7543800" y="4233830"/>
            <a:ext cx="803855" cy="715360"/>
          </a:xfrm>
          <a:prstGeom prst="bentArrow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4" name="Arrow: Bent 33">
            <a:extLst>
              <a:ext uri="{FF2B5EF4-FFF2-40B4-BE49-F238E27FC236}">
                <a16:creationId xmlns:a16="http://schemas.microsoft.com/office/drawing/2014/main" id="{472B29B5-0FEF-8BEB-5143-ED684740DE9C}"/>
              </a:ext>
            </a:extLst>
          </p:cNvPr>
          <p:cNvSpPr/>
          <p:nvPr/>
        </p:nvSpPr>
        <p:spPr>
          <a:xfrm rot="10800000">
            <a:off x="11334769" y="3383752"/>
            <a:ext cx="669440" cy="1057043"/>
          </a:xfrm>
          <a:prstGeom prst="bentArrow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6" name="Google Shape;94;p13">
            <a:extLst>
              <a:ext uri="{FF2B5EF4-FFF2-40B4-BE49-F238E27FC236}">
                <a16:creationId xmlns:a16="http://schemas.microsoft.com/office/drawing/2014/main" id="{04FEF384-633F-D57E-52FC-8A2A8387AFCF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69990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7B18B81-89ED-F2D4-2246-7EE743546EF8}"/>
              </a:ext>
            </a:extLst>
          </p:cNvPr>
          <p:cNvSpPr txBox="1"/>
          <p:nvPr/>
        </p:nvSpPr>
        <p:spPr>
          <a:xfrm>
            <a:off x="959909" y="58829"/>
            <a:ext cx="741927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/>
              <a:t>PENCATATAN STATUS TENAGA TETAP PADA BUJK </a:t>
            </a:r>
          </a:p>
          <a:p>
            <a:pPr algn="ctr"/>
            <a:r>
              <a:rPr lang="en-US" sz="2800" b="1" dirty="0"/>
              <a:t>MELALUI E-SIMPAN</a:t>
            </a:r>
            <a:endParaRPr lang="id-ID" sz="2800" b="1" dirty="0"/>
          </a:p>
        </p:txBody>
      </p:sp>
      <p:pic>
        <p:nvPicPr>
          <p:cNvPr id="4" name="Picture 3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53F6A85-BE19-1935-A9BA-69737CA3BA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20" y="1322742"/>
            <a:ext cx="6944810" cy="461874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15E3B4-59E2-7C98-4EAC-80DEDA1C0EBD}"/>
              </a:ext>
            </a:extLst>
          </p:cNvPr>
          <p:cNvSpPr txBox="1"/>
          <p:nvPr/>
        </p:nvSpPr>
        <p:spPr>
          <a:xfrm>
            <a:off x="7709763" y="1676566"/>
            <a:ext cx="378389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</a:rPr>
              <a:t>Input :</a:t>
            </a:r>
          </a:p>
          <a:p>
            <a:r>
              <a:rPr lang="en-US" sz="3200" dirty="0"/>
              <a:t>NPWP badan </a:t>
            </a:r>
            <a:r>
              <a:rPr lang="en-US" sz="3200" dirty="0" err="1"/>
              <a:t>usaha</a:t>
            </a:r>
            <a:r>
              <a:rPr lang="en-US" sz="3200" dirty="0"/>
              <a:t> , </a:t>
            </a:r>
            <a:r>
              <a:rPr lang="en-US" sz="3200" dirty="0" err="1"/>
              <a:t>nama</a:t>
            </a:r>
            <a:r>
              <a:rPr lang="en-US" sz="3200" dirty="0"/>
              <a:t> badan </a:t>
            </a:r>
            <a:r>
              <a:rPr lang="en-US" sz="3200" dirty="0" err="1"/>
              <a:t>usaha</a:t>
            </a:r>
            <a:r>
              <a:rPr lang="en-US" sz="3200" dirty="0"/>
              <a:t> dan NIB badan </a:t>
            </a:r>
            <a:r>
              <a:rPr lang="en-US" sz="3200" dirty="0" err="1"/>
              <a:t>usaha</a:t>
            </a:r>
            <a:endParaRPr lang="id-ID" sz="3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1ACE55-C050-C52C-FE70-A460EE71EF76}"/>
              </a:ext>
            </a:extLst>
          </p:cNvPr>
          <p:cNvSpPr txBox="1"/>
          <p:nvPr/>
        </p:nvSpPr>
        <p:spPr>
          <a:xfrm>
            <a:off x="2631341" y="3958492"/>
            <a:ext cx="2241319" cy="6306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3.117.519.3-024.000</a:t>
            </a:r>
          </a:p>
          <a:p>
            <a:r>
              <a:rPr lang="en-US" dirty="0"/>
              <a:t>AULIA MULTI SARANA</a:t>
            </a:r>
          </a:p>
          <a:p>
            <a:r>
              <a:rPr lang="en-US" dirty="0"/>
              <a:t>9120004612871</a:t>
            </a:r>
            <a:endParaRPr lang="id-ID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5C67532-FDB9-4569-5F1F-A81AE61E7F69}"/>
              </a:ext>
            </a:extLst>
          </p:cNvPr>
          <p:cNvSpPr/>
          <p:nvPr/>
        </p:nvSpPr>
        <p:spPr>
          <a:xfrm>
            <a:off x="359595" y="3322177"/>
            <a:ext cx="5903088" cy="2929116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5" name="Google Shape;94;p13">
            <a:extLst>
              <a:ext uri="{FF2B5EF4-FFF2-40B4-BE49-F238E27FC236}">
                <a16:creationId xmlns:a16="http://schemas.microsoft.com/office/drawing/2014/main" id="{0A5F78D3-7C5B-5C9A-8EFA-775BE7C23035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C818444-898C-2F22-83F5-ACC582D69A5B}"/>
              </a:ext>
            </a:extLst>
          </p:cNvPr>
          <p:cNvSpPr txBox="1"/>
          <p:nvPr/>
        </p:nvSpPr>
        <p:spPr>
          <a:xfrm>
            <a:off x="7840540" y="4367092"/>
            <a:ext cx="34487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 err="1">
                <a:solidFill>
                  <a:srgbClr val="FF0000"/>
                </a:solidFill>
              </a:rPr>
              <a:t>Klik</a:t>
            </a:r>
            <a:r>
              <a:rPr lang="en-US" sz="1800" b="1" dirty="0">
                <a:solidFill>
                  <a:srgbClr val="FF0000"/>
                </a:solidFill>
              </a:rPr>
              <a:t> Update Badan Usaha 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CC4119-7937-0BB2-4F5E-FC41B4C5FC45}"/>
              </a:ext>
            </a:extLst>
          </p:cNvPr>
          <p:cNvSpPr txBox="1"/>
          <p:nvPr/>
        </p:nvSpPr>
        <p:spPr>
          <a:xfrm>
            <a:off x="7854332" y="4786735"/>
            <a:ext cx="317950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800" dirty="0" err="1"/>
              <a:t>Berhasil</a:t>
            </a:r>
            <a:r>
              <a:rPr lang="en-US" sz="1800" dirty="0"/>
              <a:t> </a:t>
            </a:r>
            <a:r>
              <a:rPr lang="en-US" sz="1800" dirty="0" err="1"/>
              <a:t>jika</a:t>
            </a:r>
            <a:r>
              <a:rPr lang="en-US" sz="1800" dirty="0"/>
              <a:t> Tenaga </a:t>
            </a:r>
            <a:r>
              <a:rPr lang="en-US" sz="1800" dirty="0" err="1"/>
              <a:t>kerja</a:t>
            </a:r>
            <a:r>
              <a:rPr lang="en-US" sz="1800" dirty="0"/>
              <a:t> </a:t>
            </a:r>
            <a:r>
              <a:rPr lang="en-US" sz="1800" dirty="0" err="1"/>
              <a:t>tidak</a:t>
            </a:r>
            <a:r>
              <a:rPr lang="en-US" sz="1800" dirty="0"/>
              <a:t> </a:t>
            </a:r>
            <a:r>
              <a:rPr lang="en-US" sz="1800" dirty="0" err="1"/>
              <a:t>terikan</a:t>
            </a:r>
            <a:r>
              <a:rPr lang="en-US" sz="1800" dirty="0"/>
              <a:t> di BU lain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Gagal</a:t>
            </a:r>
            <a:r>
              <a:rPr lang="en-US" dirty="0"/>
              <a:t>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tenaga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 </a:t>
            </a:r>
            <a:r>
              <a:rPr lang="en-US" dirty="0" err="1"/>
              <a:t>terikan</a:t>
            </a:r>
            <a:r>
              <a:rPr lang="en-US" dirty="0"/>
              <a:t> di BU lain</a:t>
            </a:r>
            <a:endParaRPr lang="id-ID" sz="1800" dirty="0"/>
          </a:p>
        </p:txBody>
      </p:sp>
    </p:spTree>
    <p:extLst>
      <p:ext uri="{BB962C8B-B14F-4D97-AF65-F5344CB8AC3E}">
        <p14:creationId xmlns:p14="http://schemas.microsoft.com/office/powerpoint/2010/main" val="322358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" grpId="0"/>
      <p:bldP spid="9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84C083-1193-4B13-933D-5072DFF81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>
            <a:extLst>
              <a:ext uri="{FF2B5EF4-FFF2-40B4-BE49-F238E27FC236}">
                <a16:creationId xmlns:a16="http://schemas.microsoft.com/office/drawing/2014/main" id="{839D54BB-974A-956E-1E0C-B09EBE74BE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B13228E-3404-DE88-7465-E66536770D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9150" y="2678662"/>
            <a:ext cx="2015490" cy="14554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AAA08F5-B0ED-8A44-5351-95C994EA78E7}"/>
              </a:ext>
            </a:extLst>
          </p:cNvPr>
          <p:cNvSpPr txBox="1"/>
          <p:nvPr/>
        </p:nvSpPr>
        <p:spPr>
          <a:xfrm>
            <a:off x="1002030" y="1687867"/>
            <a:ext cx="3387090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28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LUPA AKUN TENAGA KERJA</a:t>
            </a:r>
            <a:endParaRPr lang="ko-KR" altLang="en-US" sz="28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781D1D-64B3-4D57-D7E4-E79FB5B10DD0}"/>
              </a:ext>
            </a:extLst>
          </p:cNvPr>
          <p:cNvSpPr txBox="1"/>
          <p:nvPr/>
        </p:nvSpPr>
        <p:spPr>
          <a:xfrm>
            <a:off x="185467" y="4287272"/>
            <a:ext cx="384551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Jenis</a:t>
            </a:r>
            <a:r>
              <a:rPr lang="en-US" sz="1400" dirty="0"/>
              <a:t> AKUN </a:t>
            </a:r>
            <a:r>
              <a:rPr lang="en-US" sz="1400" dirty="0" err="1"/>
              <a:t>ada</a:t>
            </a:r>
            <a:r>
              <a:rPr lang="en-US" sz="1400" dirty="0"/>
              <a:t> 2:</a:t>
            </a:r>
          </a:p>
          <a:p>
            <a:pPr marL="228600" indent="-228600">
              <a:buAutoNum type="arabicPeriod"/>
            </a:pPr>
            <a:r>
              <a:rPr lang="en-US" sz="1400" dirty="0"/>
              <a:t>SIKI : </a:t>
            </a:r>
            <a:r>
              <a:rPr lang="en-US" sz="1400" dirty="0" err="1"/>
              <a:t>akun</a:t>
            </a:r>
            <a:r>
              <a:rPr lang="en-US" sz="1400" dirty="0"/>
              <a:t> yang </a:t>
            </a:r>
            <a:r>
              <a:rPr lang="en-US" sz="1400" dirty="0" err="1"/>
              <a:t>dikirimkan</a:t>
            </a:r>
            <a:r>
              <a:rPr lang="en-US" sz="1400" dirty="0"/>
              <a:t> </a:t>
            </a:r>
            <a:r>
              <a:rPr lang="en-US" sz="1400" dirty="0" err="1"/>
              <a:t>saat</a:t>
            </a:r>
            <a:r>
              <a:rPr lang="en-US" sz="1400" dirty="0"/>
              <a:t> </a:t>
            </a:r>
            <a:r>
              <a:rPr lang="en-US" sz="1400" dirty="0" err="1"/>
              <a:t>permohonan</a:t>
            </a:r>
            <a:r>
              <a:rPr lang="en-US" sz="1400" dirty="0"/>
              <a:t> SKA / SKT </a:t>
            </a:r>
            <a:r>
              <a:rPr lang="en-US" sz="1400" dirty="0" err="1"/>
              <a:t>terbitan</a:t>
            </a:r>
            <a:r>
              <a:rPr lang="en-US" sz="1400" dirty="0"/>
              <a:t> LPJK </a:t>
            </a:r>
            <a:r>
              <a:rPr lang="en-US" sz="1400" dirty="0" err="1"/>
              <a:t>ke</a:t>
            </a:r>
            <a:r>
              <a:rPr lang="en-US" sz="1400" dirty="0"/>
              <a:t> email </a:t>
            </a:r>
            <a:r>
              <a:rPr lang="en-US" sz="1400" dirty="0" err="1"/>
              <a:t>pemohon</a:t>
            </a:r>
            <a:r>
              <a:rPr lang="en-US" sz="1400" dirty="0"/>
              <a:t> </a:t>
            </a:r>
            <a:r>
              <a:rPr lang="en-US" sz="1400" dirty="0" err="1"/>
              <a:t>untuk</a:t>
            </a:r>
            <a:r>
              <a:rPr lang="en-US" sz="1400" dirty="0"/>
              <a:t> download SKA/SKT di SIKI </a:t>
            </a:r>
            <a:r>
              <a:rPr lang="en-US" sz="1400" dirty="0" err="1"/>
              <a:t>Clinet</a:t>
            </a:r>
            <a:endParaRPr lang="en-US" sz="1400" dirty="0"/>
          </a:p>
          <a:p>
            <a:pPr marL="228600" indent="-228600">
              <a:buAutoNum type="arabicPeriod"/>
            </a:pPr>
            <a:r>
              <a:rPr lang="en-US" sz="1400" dirty="0"/>
              <a:t>SIMPAN : </a:t>
            </a:r>
            <a:r>
              <a:rPr lang="en-US" sz="1400" dirty="0" err="1"/>
              <a:t>bagi</a:t>
            </a:r>
            <a:r>
              <a:rPr lang="en-US" sz="1400" dirty="0"/>
              <a:t> yang </a:t>
            </a:r>
            <a:r>
              <a:rPr lang="en-US" sz="1400" dirty="0" err="1"/>
              <a:t>belum</a:t>
            </a:r>
            <a:r>
              <a:rPr lang="en-US" sz="1400" dirty="0"/>
              <a:t> punya </a:t>
            </a:r>
            <a:r>
              <a:rPr lang="en-US" sz="1400" dirty="0" err="1"/>
              <a:t>akun</a:t>
            </a:r>
            <a:r>
              <a:rPr lang="en-US" sz="1400" dirty="0"/>
              <a:t> SIKI, </a:t>
            </a:r>
            <a:r>
              <a:rPr lang="en-US" sz="1400" dirty="0" err="1"/>
              <a:t>dimohonkan</a:t>
            </a:r>
            <a:r>
              <a:rPr lang="en-US" sz="1400" dirty="0"/>
              <a:t> </a:t>
            </a:r>
            <a:r>
              <a:rPr lang="en-US" sz="1400" dirty="0" err="1"/>
              <a:t>melalui</a:t>
            </a:r>
            <a:r>
              <a:rPr lang="en-US" sz="1400" dirty="0"/>
              <a:t> SIMPAN</a:t>
            </a:r>
          </a:p>
          <a:p>
            <a:pPr marL="457200" indent="-228600">
              <a:buAutoNum type="alphaLcPeriod"/>
            </a:pPr>
            <a:r>
              <a:rPr lang="en-US" sz="1400" dirty="0"/>
              <a:t>SIMPAN </a:t>
            </a:r>
            <a:r>
              <a:rPr lang="en-US" sz="1400" dirty="0" err="1"/>
              <a:t>dengan</a:t>
            </a:r>
            <a:r>
              <a:rPr lang="en-US" sz="1400" dirty="0"/>
              <a:t> no NIK</a:t>
            </a:r>
          </a:p>
          <a:p>
            <a:pPr marL="457200" indent="-228600">
              <a:buAutoNum type="alphaLcPeriod"/>
            </a:pPr>
            <a:r>
              <a:rPr lang="en-US" sz="1400" dirty="0"/>
              <a:t>SIMPAN </a:t>
            </a:r>
            <a:r>
              <a:rPr lang="en-US" sz="1400" dirty="0" err="1"/>
              <a:t>dengan</a:t>
            </a:r>
            <a:r>
              <a:rPr lang="en-US" sz="1400" dirty="0"/>
              <a:t> no SKK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184092D-0B30-99B1-9392-28F3E88C7D1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05396" y="1425260"/>
            <a:ext cx="6902921" cy="499938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C1DB8BD-6FD0-2057-9EBC-4CDB085DD716}"/>
              </a:ext>
            </a:extLst>
          </p:cNvPr>
          <p:cNvSpPr txBox="1"/>
          <p:nvPr/>
        </p:nvSpPr>
        <p:spPr>
          <a:xfrm>
            <a:off x="5005397" y="850922"/>
            <a:ext cx="6902920" cy="369332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r>
              <a:rPr lang="en-US" dirty="0"/>
              <a:t>https://siki.pu.go.id/perubahan-tkk/</a:t>
            </a:r>
          </a:p>
        </p:txBody>
      </p:sp>
      <p:pic>
        <p:nvPicPr>
          <p:cNvPr id="16" name="Google Shape;94;p13">
            <a:extLst>
              <a:ext uri="{FF2B5EF4-FFF2-40B4-BE49-F238E27FC236}">
                <a16:creationId xmlns:a16="http://schemas.microsoft.com/office/drawing/2014/main" id="{47334A2D-CBD1-A310-9551-250161BAE681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25BA2A2-18B5-4E8E-DF70-3F01E617B31F}"/>
              </a:ext>
            </a:extLst>
          </p:cNvPr>
          <p:cNvCxnSpPr>
            <a:cxnSpLocks/>
          </p:cNvCxnSpPr>
          <p:nvPr/>
        </p:nvCxnSpPr>
        <p:spPr>
          <a:xfrm rot="10800000" flipV="1">
            <a:off x="4937760" y="1005840"/>
            <a:ext cx="1" cy="3931920"/>
          </a:xfrm>
          <a:prstGeom prst="bentConnector3">
            <a:avLst>
              <a:gd name="adj1" fmla="val 2286010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38674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84C083-1193-4B13-933D-5072DFF81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>
            <a:extLst>
              <a:ext uri="{FF2B5EF4-FFF2-40B4-BE49-F238E27FC236}">
                <a16:creationId xmlns:a16="http://schemas.microsoft.com/office/drawing/2014/main" id="{839D54BB-974A-956E-1E0C-B09EBE74BE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B13228E-3404-DE88-7465-E66536770D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0985" y="1724555"/>
            <a:ext cx="2015490" cy="14554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AAA08F5-B0ED-8A44-5351-95C994EA78E7}"/>
              </a:ext>
            </a:extLst>
          </p:cNvPr>
          <p:cNvSpPr txBox="1"/>
          <p:nvPr/>
        </p:nvSpPr>
        <p:spPr>
          <a:xfrm>
            <a:off x="408906" y="882883"/>
            <a:ext cx="3387090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28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LUPA AKUN </a:t>
            </a:r>
          </a:p>
          <a:p>
            <a:pPr defTabSz="742927"/>
            <a:r>
              <a:rPr lang="en-US" altLang="ko-KR" sz="28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BADAN USAHA</a:t>
            </a:r>
            <a:endParaRPr lang="ko-KR" altLang="en-US" sz="28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B22F86-C190-D6D9-5FD8-8EAB24884432}"/>
              </a:ext>
            </a:extLst>
          </p:cNvPr>
          <p:cNvSpPr txBox="1"/>
          <p:nvPr/>
        </p:nvSpPr>
        <p:spPr>
          <a:xfrm>
            <a:off x="6556618" y="4004172"/>
            <a:ext cx="61093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0188" indent="-230188">
              <a:buFont typeface="Arial" panose="020B0604020202020204" pitchFamily="34" charset="0"/>
              <a:buChar char="•"/>
            </a:pPr>
            <a:r>
              <a:rPr lang="en-US" sz="1800" dirty="0">
                <a:hlinkClick r:id="rId8"/>
              </a:rPr>
              <a:t>simpan@pu.go.id</a:t>
            </a:r>
            <a:endParaRPr lang="en-US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A279EA-4AB9-8169-A2DE-10839595034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71250" y="1580042"/>
            <a:ext cx="876919" cy="8769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3210DB4-4762-2C80-1AED-6F9281833FD0}"/>
              </a:ext>
            </a:extLst>
          </p:cNvPr>
          <p:cNvSpPr txBox="1"/>
          <p:nvPr/>
        </p:nvSpPr>
        <p:spPr>
          <a:xfrm>
            <a:off x="6585217" y="1587540"/>
            <a:ext cx="4719945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742927"/>
            <a:r>
              <a:rPr lang="en-US" altLang="ko-KR" sz="2800" b="1" dirty="0" err="1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Klik</a:t>
            </a:r>
            <a:r>
              <a:rPr lang="en-US" altLang="ko-KR" sz="28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forget password pada menu login</a:t>
            </a:r>
            <a:endParaRPr lang="ko-KR" altLang="en-US" sz="28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13392F8-A9BD-9E56-6B19-42664AE208F0}"/>
              </a:ext>
            </a:extLst>
          </p:cNvPr>
          <p:cNvSpPr txBox="1"/>
          <p:nvPr/>
        </p:nvSpPr>
        <p:spPr>
          <a:xfrm>
            <a:off x="6585217" y="2536728"/>
            <a:ext cx="610933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742927"/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Link </a:t>
            </a:r>
            <a:r>
              <a:rPr lang="en-US" altLang="ko-KR" sz="18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perubahan</a:t>
            </a:r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password </a:t>
            </a:r>
            <a:r>
              <a:rPr lang="en-US" altLang="ko-KR" sz="18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akan</a:t>
            </a:r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altLang="ko-KR" sz="18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dikirim</a:t>
            </a:r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altLang="ko-KR" sz="18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ke</a:t>
            </a:r>
            <a:r>
              <a:rPr lang="en-US" altLang="ko-KR" sz="1800" b="1" dirty="0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email BUJK </a:t>
            </a:r>
            <a:r>
              <a:rPr lang="en-US" altLang="ko-KR" sz="1800" b="1" dirty="0" err="1">
                <a:solidFill>
                  <a:schemeClr val="accent2"/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terdaftar</a:t>
            </a:r>
            <a:endParaRPr lang="ko-KR" altLang="en-US" sz="1800" b="1" dirty="0">
              <a:solidFill>
                <a:schemeClr val="accent2"/>
              </a:solidFill>
              <a:latin typeface="Tw Cen MT" panose="020B0602020104020603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A3196B3-5181-066C-CD98-02E2E55DE31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62480" y="3185783"/>
            <a:ext cx="1359527" cy="135952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A1A0D3D-81CC-A4AF-81C3-67FE23EB3378}"/>
              </a:ext>
            </a:extLst>
          </p:cNvPr>
          <p:cNvSpPr txBox="1"/>
          <p:nvPr/>
        </p:nvSpPr>
        <p:spPr>
          <a:xfrm>
            <a:off x="6580752" y="3413332"/>
            <a:ext cx="61550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2800" b="1" dirty="0" err="1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Hubungi</a:t>
            </a:r>
            <a:r>
              <a:rPr lang="en-US" altLang="ko-KR" sz="2800" b="1" dirty="0">
                <a:solidFill>
                  <a:srgbClr val="4472C4">
                    <a:lumMod val="75000"/>
                  </a:srgbClr>
                </a:solidFill>
                <a:latin typeface="Tw Cen MT" panose="020B0602020104020603" pitchFamily="34" charset="0"/>
                <a:ea typeface="Century Gothic" charset="0"/>
                <a:cs typeface="Century Gothic" charset="0"/>
              </a:rPr>
              <a:t> LPJK</a:t>
            </a:r>
            <a:endParaRPr lang="en-US" sz="2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F86046-6939-9BA0-F0F8-4C554EE51C64}"/>
              </a:ext>
            </a:extLst>
          </p:cNvPr>
          <p:cNvSpPr txBox="1"/>
          <p:nvPr/>
        </p:nvSpPr>
        <p:spPr>
          <a:xfrm>
            <a:off x="165058" y="3357378"/>
            <a:ext cx="466837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/>
              <a:t>Jenis</a:t>
            </a:r>
            <a:r>
              <a:rPr lang="en-US" sz="1600" dirty="0"/>
              <a:t> AKUN </a:t>
            </a:r>
            <a:r>
              <a:rPr lang="en-US" sz="1600" dirty="0" err="1"/>
              <a:t>ada</a:t>
            </a:r>
            <a:r>
              <a:rPr lang="en-US" sz="1600" dirty="0"/>
              <a:t> 2:</a:t>
            </a:r>
          </a:p>
          <a:p>
            <a:pPr marL="342900" indent="-342900">
              <a:buAutoNum type="arabicPeriod"/>
            </a:pPr>
            <a:r>
              <a:rPr lang="en-US" sz="1600" dirty="0"/>
              <a:t>SIKI : </a:t>
            </a:r>
          </a:p>
          <a:p>
            <a:pPr marL="688975" indent="-342900">
              <a:buAutoNum type="alphaLcPeriod"/>
            </a:pPr>
            <a:r>
              <a:rPr lang="en-US" sz="1600" dirty="0" err="1"/>
              <a:t>akun</a:t>
            </a:r>
            <a:r>
              <a:rPr lang="en-US" sz="1600" dirty="0"/>
              <a:t> yang </a:t>
            </a:r>
            <a:r>
              <a:rPr lang="en-US" sz="1600" dirty="0" err="1"/>
              <a:t>dikirimkan</a:t>
            </a:r>
            <a:r>
              <a:rPr lang="en-US" sz="1600" dirty="0"/>
              <a:t> </a:t>
            </a:r>
            <a:r>
              <a:rPr lang="en-US" sz="1600" dirty="0" err="1"/>
              <a:t>saat</a:t>
            </a:r>
            <a:r>
              <a:rPr lang="en-US" sz="1600" dirty="0"/>
              <a:t> </a:t>
            </a:r>
            <a:r>
              <a:rPr lang="en-US" sz="1600" dirty="0" err="1"/>
              <a:t>permohonan</a:t>
            </a:r>
            <a:r>
              <a:rPr lang="en-US" sz="1600" dirty="0"/>
              <a:t> SBU </a:t>
            </a:r>
            <a:r>
              <a:rPr lang="en-US" sz="1600" dirty="0" err="1"/>
              <a:t>terbitan</a:t>
            </a:r>
            <a:r>
              <a:rPr lang="en-US" sz="1600" dirty="0"/>
              <a:t> LPJK </a:t>
            </a:r>
            <a:r>
              <a:rPr lang="en-US" sz="1600" dirty="0" err="1"/>
              <a:t>ke</a:t>
            </a:r>
            <a:r>
              <a:rPr lang="en-US" sz="1600" dirty="0"/>
              <a:t> email </a:t>
            </a:r>
            <a:r>
              <a:rPr lang="en-US" sz="1600" dirty="0" err="1"/>
              <a:t>pemohon</a:t>
            </a:r>
            <a:r>
              <a:rPr lang="en-US" sz="1600" dirty="0"/>
              <a:t> </a:t>
            </a:r>
            <a:r>
              <a:rPr lang="en-US" sz="1600" dirty="0" err="1"/>
              <a:t>untuk</a:t>
            </a:r>
            <a:r>
              <a:rPr lang="en-US" sz="1600" dirty="0"/>
              <a:t> download </a:t>
            </a:r>
            <a:r>
              <a:rPr lang="en-US" sz="1600" b="1" dirty="0"/>
              <a:t>SBU </a:t>
            </a:r>
            <a:r>
              <a:rPr lang="en-US" sz="1600" b="1" dirty="0" err="1"/>
              <a:t>elektronik</a:t>
            </a:r>
            <a:r>
              <a:rPr lang="en-US" sz="1600" b="1" dirty="0"/>
              <a:t> </a:t>
            </a:r>
            <a:r>
              <a:rPr lang="en-US" sz="1600" dirty="0"/>
              <a:t>di SIKI Client</a:t>
            </a:r>
          </a:p>
          <a:p>
            <a:pPr marL="688975" indent="-342900">
              <a:buAutoNum type="alphaLcPeriod"/>
            </a:pPr>
            <a:r>
              <a:rPr lang="en-US" sz="1600" dirty="0"/>
              <a:t>Akun yang </a:t>
            </a:r>
            <a:r>
              <a:rPr lang="en-US" sz="1600" dirty="0" err="1"/>
              <a:t>dapat</a:t>
            </a:r>
            <a:r>
              <a:rPr lang="en-US" sz="1600" dirty="0"/>
              <a:t> </a:t>
            </a:r>
            <a:r>
              <a:rPr lang="en-US" sz="1600" dirty="0" err="1"/>
              <a:t>dimohon</a:t>
            </a:r>
            <a:r>
              <a:rPr lang="en-US" sz="1600" dirty="0"/>
              <a:t> </a:t>
            </a:r>
            <a:r>
              <a:rPr lang="en-US" sz="1600" dirty="0" err="1"/>
              <a:t>ke</a:t>
            </a:r>
            <a:r>
              <a:rPr lang="en-US" sz="1600" dirty="0"/>
              <a:t> LPJK </a:t>
            </a:r>
            <a:r>
              <a:rPr lang="en-US" sz="1600" dirty="0" err="1"/>
              <a:t>melalui</a:t>
            </a:r>
            <a:r>
              <a:rPr lang="en-US" sz="1600" dirty="0"/>
              <a:t> </a:t>
            </a:r>
            <a:r>
              <a:rPr lang="en-US" sz="1600" dirty="0" err="1"/>
              <a:t>bagi</a:t>
            </a:r>
            <a:r>
              <a:rPr lang="en-US" sz="1600" dirty="0"/>
              <a:t> </a:t>
            </a:r>
            <a:r>
              <a:rPr lang="en-US" sz="1600" dirty="0" err="1"/>
              <a:t>pemilik</a:t>
            </a:r>
            <a:r>
              <a:rPr lang="en-US" sz="1600" dirty="0"/>
              <a:t> </a:t>
            </a:r>
            <a:r>
              <a:rPr lang="en-US" sz="1600" b="1" dirty="0"/>
              <a:t>SBU </a:t>
            </a:r>
            <a:r>
              <a:rPr lang="en-US" sz="1600" b="1" dirty="0" err="1"/>
              <a:t>belum</a:t>
            </a:r>
            <a:r>
              <a:rPr lang="en-US" sz="1600" b="1" dirty="0"/>
              <a:t> </a:t>
            </a:r>
            <a:r>
              <a:rPr lang="en-US" sz="1600" b="1" dirty="0" err="1"/>
              <a:t>elektronik</a:t>
            </a:r>
            <a:endParaRPr lang="en-US" sz="1600" b="1" dirty="0"/>
          </a:p>
          <a:p>
            <a:pPr marL="346075" indent="-346075">
              <a:tabLst>
                <a:tab pos="346075" algn="l"/>
              </a:tabLst>
            </a:pPr>
            <a:r>
              <a:rPr lang="en-US" sz="1600" dirty="0"/>
              <a:t>2.   SIMPAN : </a:t>
            </a:r>
            <a:r>
              <a:rPr lang="en-US" sz="1600" dirty="0" err="1"/>
              <a:t>bagi</a:t>
            </a:r>
            <a:r>
              <a:rPr lang="en-US" sz="1600" dirty="0"/>
              <a:t> </a:t>
            </a:r>
            <a:r>
              <a:rPr lang="en-US" sz="1600" dirty="0" err="1"/>
              <a:t>pemilik</a:t>
            </a:r>
            <a:r>
              <a:rPr lang="en-US" sz="1600" dirty="0"/>
              <a:t> SBU KBLI 2020 </a:t>
            </a:r>
            <a:r>
              <a:rPr lang="en-US" sz="1600" dirty="0" err="1"/>
              <a:t>atau</a:t>
            </a:r>
            <a:r>
              <a:rPr lang="en-US" sz="1600" dirty="0"/>
              <a:t>                        KP BUJKA dan PMA </a:t>
            </a:r>
            <a:r>
              <a:rPr lang="en-US" sz="1600" dirty="0" err="1"/>
              <a:t>baru</a:t>
            </a:r>
            <a:r>
              <a:rPr lang="en-US" sz="1600" dirty="0"/>
              <a:t>:</a:t>
            </a:r>
          </a:p>
          <a:p>
            <a:pPr marL="571500" indent="-228600">
              <a:buFontTx/>
              <a:buAutoNum type="alphaLcPeriod"/>
            </a:pPr>
            <a:r>
              <a:rPr lang="en-US" sz="1600" dirty="0"/>
              <a:t>SIMPAN No SBU KBLI 2020</a:t>
            </a:r>
          </a:p>
          <a:p>
            <a:pPr marL="571500" indent="-228600">
              <a:buAutoNum type="alphaLcPeriod"/>
            </a:pPr>
            <a:r>
              <a:rPr lang="en-US" sz="1600" dirty="0"/>
              <a:t>SIMPAN PMA/KP BUJKA</a:t>
            </a:r>
          </a:p>
        </p:txBody>
      </p:sp>
      <p:pic>
        <p:nvPicPr>
          <p:cNvPr id="6" name="Google Shape;94;p13">
            <a:extLst>
              <a:ext uri="{FF2B5EF4-FFF2-40B4-BE49-F238E27FC236}">
                <a16:creationId xmlns:a16="http://schemas.microsoft.com/office/drawing/2014/main" id="{FA3DC90D-99C2-8322-5201-985CB5B8F03E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422209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50FEDC4D-A483-4D67-820B-8BF61E512323}"/>
              </a:ext>
            </a:extLst>
          </p:cNvPr>
          <p:cNvSpPr/>
          <p:nvPr/>
        </p:nvSpPr>
        <p:spPr>
          <a:xfrm>
            <a:off x="809626" y="529056"/>
            <a:ext cx="5029200" cy="5633638"/>
          </a:xfrm>
          <a:custGeom>
            <a:avLst/>
            <a:gdLst>
              <a:gd name="connsiteX0" fmla="*/ 2251214 w 4546203"/>
              <a:gd name="connsiteY0" fmla="*/ 4846657 h 5092591"/>
              <a:gd name="connsiteX1" fmla="*/ 2251214 w 4546203"/>
              <a:gd name="connsiteY1" fmla="*/ 4907544 h 5092591"/>
              <a:gd name="connsiteX2" fmla="*/ 2330407 w 4546203"/>
              <a:gd name="connsiteY2" fmla="*/ 4907544 h 5092591"/>
              <a:gd name="connsiteX3" fmla="*/ 2330407 w 4546203"/>
              <a:gd name="connsiteY3" fmla="*/ 4846657 h 5092591"/>
              <a:gd name="connsiteX4" fmla="*/ 2251214 w 4546203"/>
              <a:gd name="connsiteY4" fmla="*/ 4846657 h 5092591"/>
              <a:gd name="connsiteX5" fmla="*/ 2445813 w 4546203"/>
              <a:gd name="connsiteY5" fmla="*/ 4838698 h 5092591"/>
              <a:gd name="connsiteX6" fmla="*/ 2365824 w 4546203"/>
              <a:gd name="connsiteY6" fmla="*/ 4843474 h 5092591"/>
              <a:gd name="connsiteX7" fmla="*/ 2369008 w 4546203"/>
              <a:gd name="connsiteY7" fmla="*/ 4907146 h 5092591"/>
              <a:gd name="connsiteX8" fmla="*/ 2450588 w 4546203"/>
              <a:gd name="connsiteY8" fmla="*/ 4902370 h 5092591"/>
              <a:gd name="connsiteX9" fmla="*/ 2445813 w 4546203"/>
              <a:gd name="connsiteY9" fmla="*/ 4838698 h 5092591"/>
              <a:gd name="connsiteX10" fmla="*/ 2019208 w 4546203"/>
              <a:gd name="connsiteY10" fmla="*/ 4832729 h 5092591"/>
              <a:gd name="connsiteX11" fmla="*/ 2012841 w 4546203"/>
              <a:gd name="connsiteY11" fmla="*/ 4895605 h 5092591"/>
              <a:gd name="connsiteX12" fmla="*/ 2094421 w 4546203"/>
              <a:gd name="connsiteY12" fmla="*/ 4902768 h 5092591"/>
              <a:gd name="connsiteX13" fmla="*/ 2099196 w 4546203"/>
              <a:gd name="connsiteY13" fmla="*/ 4839494 h 5092591"/>
              <a:gd name="connsiteX14" fmla="*/ 2019208 w 4546203"/>
              <a:gd name="connsiteY14" fmla="*/ 4832729 h 5092591"/>
              <a:gd name="connsiteX15" fmla="*/ 2251612 w 4546203"/>
              <a:gd name="connsiteY15" fmla="*/ 4753934 h 5092591"/>
              <a:gd name="connsiteX16" fmla="*/ 2251612 w 4546203"/>
              <a:gd name="connsiteY16" fmla="*/ 4814821 h 5092591"/>
              <a:gd name="connsiteX17" fmla="*/ 2328019 w 4546203"/>
              <a:gd name="connsiteY17" fmla="*/ 4814821 h 5092591"/>
              <a:gd name="connsiteX18" fmla="*/ 2328019 w 4546203"/>
              <a:gd name="connsiteY18" fmla="*/ 4753934 h 5092591"/>
              <a:gd name="connsiteX19" fmla="*/ 2251612 w 4546203"/>
              <a:gd name="connsiteY19" fmla="*/ 4753934 h 5092591"/>
              <a:gd name="connsiteX20" fmla="*/ 2029157 w 4546203"/>
              <a:gd name="connsiteY20" fmla="*/ 4740404 h 5092591"/>
              <a:gd name="connsiteX21" fmla="*/ 2022392 w 4546203"/>
              <a:gd name="connsiteY21" fmla="*/ 4803678 h 5092591"/>
              <a:gd name="connsiteX22" fmla="*/ 2101186 w 4546203"/>
              <a:gd name="connsiteY22" fmla="*/ 4811239 h 5092591"/>
              <a:gd name="connsiteX23" fmla="*/ 2105564 w 4546203"/>
              <a:gd name="connsiteY23" fmla="*/ 4747965 h 5092591"/>
              <a:gd name="connsiteX24" fmla="*/ 2029157 w 4546203"/>
              <a:gd name="connsiteY24" fmla="*/ 4740404 h 5092591"/>
              <a:gd name="connsiteX25" fmla="*/ 2252408 w 4546203"/>
              <a:gd name="connsiteY25" fmla="*/ 4661609 h 5092591"/>
              <a:gd name="connsiteX26" fmla="*/ 2252408 w 4546203"/>
              <a:gd name="connsiteY26" fmla="*/ 4722894 h 5092591"/>
              <a:gd name="connsiteX27" fmla="*/ 2324835 w 4546203"/>
              <a:gd name="connsiteY27" fmla="*/ 4722894 h 5092591"/>
              <a:gd name="connsiteX28" fmla="*/ 2324835 w 4546203"/>
              <a:gd name="connsiteY28" fmla="*/ 4661609 h 5092591"/>
              <a:gd name="connsiteX29" fmla="*/ 2252408 w 4546203"/>
              <a:gd name="connsiteY29" fmla="*/ 4661609 h 5092591"/>
              <a:gd name="connsiteX30" fmla="*/ 2144961 w 4546203"/>
              <a:gd name="connsiteY30" fmla="*/ 4660017 h 5092591"/>
              <a:gd name="connsiteX31" fmla="*/ 2141777 w 4546203"/>
              <a:gd name="connsiteY31" fmla="*/ 4721302 h 5092591"/>
              <a:gd name="connsiteX32" fmla="*/ 2217388 w 4546203"/>
              <a:gd name="connsiteY32" fmla="*/ 4721302 h 5092591"/>
              <a:gd name="connsiteX33" fmla="*/ 2217388 w 4546203"/>
              <a:gd name="connsiteY33" fmla="*/ 4660017 h 5092591"/>
              <a:gd name="connsiteX34" fmla="*/ 2144961 w 4546203"/>
              <a:gd name="connsiteY34" fmla="*/ 4660017 h 5092591"/>
              <a:gd name="connsiteX35" fmla="*/ 2431088 w 4546203"/>
              <a:gd name="connsiteY35" fmla="*/ 4654844 h 5092591"/>
              <a:gd name="connsiteX36" fmla="*/ 2357467 w 4546203"/>
              <a:gd name="connsiteY36" fmla="*/ 4660017 h 5092591"/>
              <a:gd name="connsiteX37" fmla="*/ 2361049 w 4546203"/>
              <a:gd name="connsiteY37" fmla="*/ 4723292 h 5092591"/>
              <a:gd name="connsiteX38" fmla="*/ 2436660 w 4546203"/>
              <a:gd name="connsiteY38" fmla="*/ 4718119 h 5092591"/>
              <a:gd name="connsiteX39" fmla="*/ 2431088 w 4546203"/>
              <a:gd name="connsiteY39" fmla="*/ 4654844 h 5092591"/>
              <a:gd name="connsiteX40" fmla="*/ 2150930 w 4546203"/>
              <a:gd name="connsiteY40" fmla="*/ 4567295 h 5092591"/>
              <a:gd name="connsiteX41" fmla="*/ 2146951 w 4546203"/>
              <a:gd name="connsiteY41" fmla="*/ 4628580 h 5092591"/>
              <a:gd name="connsiteX42" fmla="*/ 2219378 w 4546203"/>
              <a:gd name="connsiteY42" fmla="*/ 4631763 h 5092591"/>
              <a:gd name="connsiteX43" fmla="*/ 2219378 w 4546203"/>
              <a:gd name="connsiteY43" fmla="*/ 4567295 h 5092591"/>
              <a:gd name="connsiteX44" fmla="*/ 2150930 w 4546203"/>
              <a:gd name="connsiteY44" fmla="*/ 4567295 h 5092591"/>
              <a:gd name="connsiteX45" fmla="*/ 2424323 w 4546203"/>
              <a:gd name="connsiteY45" fmla="*/ 4562918 h 5092591"/>
              <a:gd name="connsiteX46" fmla="*/ 2353488 w 4546203"/>
              <a:gd name="connsiteY46" fmla="*/ 4567295 h 5092591"/>
              <a:gd name="connsiteX47" fmla="*/ 2357467 w 4546203"/>
              <a:gd name="connsiteY47" fmla="*/ 4630967 h 5092591"/>
              <a:gd name="connsiteX48" fmla="*/ 2429497 w 4546203"/>
              <a:gd name="connsiteY48" fmla="*/ 4626192 h 5092591"/>
              <a:gd name="connsiteX49" fmla="*/ 2424323 w 4546203"/>
              <a:gd name="connsiteY49" fmla="*/ 4562918 h 5092591"/>
              <a:gd name="connsiteX50" fmla="*/ 2049452 w 4546203"/>
              <a:gd name="connsiteY50" fmla="*/ 4556550 h 5092591"/>
              <a:gd name="connsiteX51" fmla="*/ 2042687 w 4546203"/>
              <a:gd name="connsiteY51" fmla="*/ 4619427 h 5092591"/>
              <a:gd name="connsiteX52" fmla="*/ 2114717 w 4546203"/>
              <a:gd name="connsiteY52" fmla="*/ 4626590 h 5092591"/>
              <a:gd name="connsiteX53" fmla="*/ 2119492 w 4546203"/>
              <a:gd name="connsiteY53" fmla="*/ 4563315 h 5092591"/>
              <a:gd name="connsiteX54" fmla="*/ 2049452 w 4546203"/>
              <a:gd name="connsiteY54" fmla="*/ 4556550 h 5092591"/>
              <a:gd name="connsiteX55" fmla="*/ 2897488 w 4546203"/>
              <a:gd name="connsiteY55" fmla="*/ 4513571 h 5092591"/>
              <a:gd name="connsiteX56" fmla="*/ 2847744 w 4546203"/>
              <a:gd name="connsiteY56" fmla="*/ 4528693 h 5092591"/>
              <a:gd name="connsiteX57" fmla="*/ 2859683 w 4546203"/>
              <a:gd name="connsiteY57" fmla="*/ 4567295 h 5092591"/>
              <a:gd name="connsiteX58" fmla="*/ 2910223 w 4546203"/>
              <a:gd name="connsiteY58" fmla="*/ 4551775 h 5092591"/>
              <a:gd name="connsiteX59" fmla="*/ 2897488 w 4546203"/>
              <a:gd name="connsiteY59" fmla="*/ 4513571 h 5092591"/>
              <a:gd name="connsiteX60" fmla="*/ 1790386 w 4546203"/>
              <a:gd name="connsiteY60" fmla="*/ 4506408 h 5092591"/>
              <a:gd name="connsiteX61" fmla="*/ 1779641 w 4546203"/>
              <a:gd name="connsiteY61" fmla="*/ 4549785 h 5092591"/>
              <a:gd name="connsiteX62" fmla="*/ 1872364 w 4546203"/>
              <a:gd name="connsiteY62" fmla="*/ 4570080 h 5092591"/>
              <a:gd name="connsiteX63" fmla="*/ 1881119 w 4546203"/>
              <a:gd name="connsiteY63" fmla="*/ 4525908 h 5092591"/>
              <a:gd name="connsiteX64" fmla="*/ 1790386 w 4546203"/>
              <a:gd name="connsiteY64" fmla="*/ 4506408 h 5092591"/>
              <a:gd name="connsiteX65" fmla="*/ 3136658 w 4546203"/>
              <a:gd name="connsiteY65" fmla="*/ 4499245 h 5092591"/>
              <a:gd name="connsiteX66" fmla="*/ 3148995 w 4546203"/>
              <a:gd name="connsiteY66" fmla="*/ 4525908 h 5092591"/>
              <a:gd name="connsiteX67" fmla="*/ 3106414 w 4546203"/>
              <a:gd name="connsiteY67" fmla="*/ 4531877 h 5092591"/>
              <a:gd name="connsiteX68" fmla="*/ 3096863 w 4546203"/>
              <a:gd name="connsiteY68" fmla="*/ 4534662 h 5092591"/>
              <a:gd name="connsiteX69" fmla="*/ 2926936 w 4546203"/>
              <a:gd name="connsiteY69" fmla="*/ 4597142 h 5092591"/>
              <a:gd name="connsiteX70" fmla="*/ 2917784 w 4546203"/>
              <a:gd name="connsiteY70" fmla="*/ 4602714 h 5092591"/>
              <a:gd name="connsiteX71" fmla="*/ 2920569 w 4546203"/>
              <a:gd name="connsiteY71" fmla="*/ 4609479 h 5092591"/>
              <a:gd name="connsiteX72" fmla="*/ 3112383 w 4546203"/>
              <a:gd name="connsiteY72" fmla="*/ 4539439 h 5092591"/>
              <a:gd name="connsiteX73" fmla="*/ 3126311 w 4546203"/>
              <a:gd name="connsiteY73" fmla="*/ 4570877 h 5092591"/>
              <a:gd name="connsiteX74" fmla="*/ 2931314 w 4546203"/>
              <a:gd name="connsiteY74" fmla="*/ 4642907 h 5092591"/>
              <a:gd name="connsiteX75" fmla="*/ 2918977 w 4546203"/>
              <a:gd name="connsiteY75" fmla="*/ 4609876 h 5092591"/>
              <a:gd name="connsiteX76" fmla="*/ 2888335 w 4546203"/>
              <a:gd name="connsiteY76" fmla="*/ 4617040 h 5092591"/>
              <a:gd name="connsiteX77" fmla="*/ 2881570 w 4546203"/>
              <a:gd name="connsiteY77" fmla="*/ 4593560 h 5092591"/>
              <a:gd name="connsiteX78" fmla="*/ 3136658 w 4546203"/>
              <a:gd name="connsiteY78" fmla="*/ 4499245 h 5092591"/>
              <a:gd name="connsiteX79" fmla="*/ 2955987 w 4546203"/>
              <a:gd name="connsiteY79" fmla="*/ 4494470 h 5092591"/>
              <a:gd name="connsiteX80" fmla="*/ 2905845 w 4546203"/>
              <a:gd name="connsiteY80" fmla="*/ 4511184 h 5092591"/>
              <a:gd name="connsiteX81" fmla="*/ 2919376 w 4546203"/>
              <a:gd name="connsiteY81" fmla="*/ 4549387 h 5092591"/>
              <a:gd name="connsiteX82" fmla="*/ 2969119 w 4546203"/>
              <a:gd name="connsiteY82" fmla="*/ 4532275 h 5092591"/>
              <a:gd name="connsiteX83" fmla="*/ 2955987 w 4546203"/>
              <a:gd name="connsiteY83" fmla="*/ 4494470 h 5092591"/>
              <a:gd name="connsiteX84" fmla="*/ 2254398 w 4546203"/>
              <a:gd name="connsiteY84" fmla="*/ 4476562 h 5092591"/>
              <a:gd name="connsiteX85" fmla="*/ 2254398 w 4546203"/>
              <a:gd name="connsiteY85" fmla="*/ 4538244 h 5092591"/>
              <a:gd name="connsiteX86" fmla="*/ 2320060 w 4546203"/>
              <a:gd name="connsiteY86" fmla="*/ 4538244 h 5092591"/>
              <a:gd name="connsiteX87" fmla="*/ 2320060 w 4546203"/>
              <a:gd name="connsiteY87" fmla="*/ 4476562 h 5092591"/>
              <a:gd name="connsiteX88" fmla="*/ 2254398 w 4546203"/>
              <a:gd name="connsiteY88" fmla="*/ 4476562 h 5092591"/>
              <a:gd name="connsiteX89" fmla="*/ 3013292 w 4546203"/>
              <a:gd name="connsiteY89" fmla="*/ 4472980 h 5092591"/>
              <a:gd name="connsiteX90" fmla="*/ 2964344 w 4546203"/>
              <a:gd name="connsiteY90" fmla="*/ 4491286 h 5092591"/>
              <a:gd name="connsiteX91" fmla="*/ 2977874 w 4546203"/>
              <a:gd name="connsiteY91" fmla="*/ 4529489 h 5092591"/>
              <a:gd name="connsiteX92" fmla="*/ 3028016 w 4546203"/>
              <a:gd name="connsiteY92" fmla="*/ 4510388 h 5092591"/>
              <a:gd name="connsiteX93" fmla="*/ 3013292 w 4546203"/>
              <a:gd name="connsiteY93" fmla="*/ 4472980 h 5092591"/>
              <a:gd name="connsiteX94" fmla="*/ 2156104 w 4546203"/>
              <a:gd name="connsiteY94" fmla="*/ 4472582 h 5092591"/>
              <a:gd name="connsiteX95" fmla="*/ 2152920 w 4546203"/>
              <a:gd name="connsiteY95" fmla="*/ 4537051 h 5092591"/>
              <a:gd name="connsiteX96" fmla="*/ 2222164 w 4546203"/>
              <a:gd name="connsiteY96" fmla="*/ 4537051 h 5092591"/>
              <a:gd name="connsiteX97" fmla="*/ 2222164 w 4546203"/>
              <a:gd name="connsiteY97" fmla="*/ 4475766 h 5092591"/>
              <a:gd name="connsiteX98" fmla="*/ 2156104 w 4546203"/>
              <a:gd name="connsiteY98" fmla="*/ 4472582 h 5092591"/>
              <a:gd name="connsiteX99" fmla="*/ 2059401 w 4546203"/>
              <a:gd name="connsiteY99" fmla="*/ 4465021 h 5092591"/>
              <a:gd name="connsiteX100" fmla="*/ 2052636 w 4546203"/>
              <a:gd name="connsiteY100" fmla="*/ 4528295 h 5092591"/>
              <a:gd name="connsiteX101" fmla="*/ 2121482 w 4546203"/>
              <a:gd name="connsiteY101" fmla="*/ 4534265 h 5092591"/>
              <a:gd name="connsiteX102" fmla="*/ 2126257 w 4546203"/>
              <a:gd name="connsiteY102" fmla="*/ 4470990 h 5092591"/>
              <a:gd name="connsiteX103" fmla="*/ 2059401 w 4546203"/>
              <a:gd name="connsiteY103" fmla="*/ 4465021 h 5092591"/>
              <a:gd name="connsiteX104" fmla="*/ 2881172 w 4546203"/>
              <a:gd name="connsiteY104" fmla="*/ 4462236 h 5092591"/>
              <a:gd name="connsiteX105" fmla="*/ 2833020 w 4546203"/>
              <a:gd name="connsiteY105" fmla="*/ 4477358 h 5092591"/>
              <a:gd name="connsiteX106" fmla="*/ 2842571 w 4546203"/>
              <a:gd name="connsiteY106" fmla="*/ 4511184 h 5092591"/>
              <a:gd name="connsiteX107" fmla="*/ 2891917 w 4546203"/>
              <a:gd name="connsiteY107" fmla="*/ 4496061 h 5092591"/>
              <a:gd name="connsiteX108" fmla="*/ 2881172 w 4546203"/>
              <a:gd name="connsiteY108" fmla="*/ 4462236 h 5092591"/>
              <a:gd name="connsiteX109" fmla="*/ 3070199 w 4546203"/>
              <a:gd name="connsiteY109" fmla="*/ 4449899 h 5092591"/>
              <a:gd name="connsiteX110" fmla="*/ 3021649 w 4546203"/>
              <a:gd name="connsiteY110" fmla="*/ 4470195 h 5092591"/>
              <a:gd name="connsiteX111" fmla="*/ 3036373 w 4546203"/>
              <a:gd name="connsiteY111" fmla="*/ 4507602 h 5092591"/>
              <a:gd name="connsiteX112" fmla="*/ 3085719 w 4546203"/>
              <a:gd name="connsiteY112" fmla="*/ 4486908 h 5092591"/>
              <a:gd name="connsiteX113" fmla="*/ 3070199 w 4546203"/>
              <a:gd name="connsiteY113" fmla="*/ 4449899 h 5092591"/>
              <a:gd name="connsiteX114" fmla="*/ 2937283 w 4546203"/>
              <a:gd name="connsiteY114" fmla="*/ 4443134 h 5092591"/>
              <a:gd name="connsiteX115" fmla="*/ 2889131 w 4546203"/>
              <a:gd name="connsiteY115" fmla="*/ 4460644 h 5092591"/>
              <a:gd name="connsiteX116" fmla="*/ 2900672 w 4546203"/>
              <a:gd name="connsiteY116" fmla="*/ 4493276 h 5092591"/>
              <a:gd name="connsiteX117" fmla="*/ 2949620 w 4546203"/>
              <a:gd name="connsiteY117" fmla="*/ 4476562 h 5092591"/>
              <a:gd name="connsiteX118" fmla="*/ 2937283 w 4546203"/>
              <a:gd name="connsiteY118" fmla="*/ 4443134 h 5092591"/>
              <a:gd name="connsiteX119" fmla="*/ 1805906 w 4546203"/>
              <a:gd name="connsiteY119" fmla="*/ 4442736 h 5092591"/>
              <a:gd name="connsiteX120" fmla="*/ 1795161 w 4546203"/>
              <a:gd name="connsiteY120" fmla="*/ 4486510 h 5092591"/>
              <a:gd name="connsiteX121" fmla="*/ 1885098 w 4546203"/>
              <a:gd name="connsiteY121" fmla="*/ 4506010 h 5092591"/>
              <a:gd name="connsiteX122" fmla="*/ 1893455 w 4546203"/>
              <a:gd name="connsiteY122" fmla="*/ 4461838 h 5092591"/>
              <a:gd name="connsiteX123" fmla="*/ 1805906 w 4546203"/>
              <a:gd name="connsiteY123" fmla="*/ 4442736 h 5092591"/>
              <a:gd name="connsiteX124" fmla="*/ 3125515 w 4546203"/>
              <a:gd name="connsiteY124" fmla="*/ 4426022 h 5092591"/>
              <a:gd name="connsiteX125" fmla="*/ 3078158 w 4546203"/>
              <a:gd name="connsiteY125" fmla="*/ 4447113 h 5092591"/>
              <a:gd name="connsiteX126" fmla="*/ 3093678 w 4546203"/>
              <a:gd name="connsiteY126" fmla="*/ 4484123 h 5092591"/>
              <a:gd name="connsiteX127" fmla="*/ 3142626 w 4546203"/>
              <a:gd name="connsiteY127" fmla="*/ 4461838 h 5092591"/>
              <a:gd name="connsiteX128" fmla="*/ 3125515 w 4546203"/>
              <a:gd name="connsiteY128" fmla="*/ 4426022 h 5092591"/>
              <a:gd name="connsiteX129" fmla="*/ 1534503 w 4546203"/>
              <a:gd name="connsiteY129" fmla="*/ 4425226 h 5092591"/>
              <a:gd name="connsiteX130" fmla="*/ 1518187 w 4546203"/>
              <a:gd name="connsiteY130" fmla="*/ 4467011 h 5092591"/>
              <a:gd name="connsiteX131" fmla="*/ 1607328 w 4546203"/>
              <a:gd name="connsiteY131" fmla="*/ 4499643 h 5092591"/>
              <a:gd name="connsiteX132" fmla="*/ 1621654 w 4546203"/>
              <a:gd name="connsiteY132" fmla="*/ 4457062 h 5092591"/>
              <a:gd name="connsiteX133" fmla="*/ 1534503 w 4546203"/>
              <a:gd name="connsiteY133" fmla="*/ 4425226 h 5092591"/>
              <a:gd name="connsiteX134" fmla="*/ 2993394 w 4546203"/>
              <a:gd name="connsiteY134" fmla="*/ 4422440 h 5092591"/>
              <a:gd name="connsiteX135" fmla="*/ 2945640 w 4546203"/>
              <a:gd name="connsiteY135" fmla="*/ 4440746 h 5092591"/>
              <a:gd name="connsiteX136" fmla="*/ 2958375 w 4546203"/>
              <a:gd name="connsiteY136" fmla="*/ 4473378 h 5092591"/>
              <a:gd name="connsiteX137" fmla="*/ 3006527 w 4546203"/>
              <a:gd name="connsiteY137" fmla="*/ 4455072 h 5092591"/>
              <a:gd name="connsiteX138" fmla="*/ 2993394 w 4546203"/>
              <a:gd name="connsiteY138" fmla="*/ 4422440 h 5092591"/>
              <a:gd name="connsiteX139" fmla="*/ 1680949 w 4546203"/>
              <a:gd name="connsiteY139" fmla="*/ 4407318 h 5092591"/>
              <a:gd name="connsiteX140" fmla="*/ 1667817 w 4546203"/>
              <a:gd name="connsiteY140" fmla="*/ 4450297 h 5092591"/>
              <a:gd name="connsiteX141" fmla="*/ 1755764 w 4546203"/>
              <a:gd name="connsiteY141" fmla="*/ 4475766 h 5092591"/>
              <a:gd name="connsiteX142" fmla="*/ 1767305 w 4546203"/>
              <a:gd name="connsiteY142" fmla="*/ 4431991 h 5092591"/>
              <a:gd name="connsiteX143" fmla="*/ 1680949 w 4546203"/>
              <a:gd name="connsiteY143" fmla="*/ 4407318 h 5092591"/>
              <a:gd name="connsiteX144" fmla="*/ 3048710 w 4546203"/>
              <a:gd name="connsiteY144" fmla="*/ 4400155 h 5092591"/>
              <a:gd name="connsiteX145" fmla="*/ 3001752 w 4546203"/>
              <a:gd name="connsiteY145" fmla="*/ 4420451 h 5092591"/>
              <a:gd name="connsiteX146" fmla="*/ 3014884 w 4546203"/>
              <a:gd name="connsiteY146" fmla="*/ 4452685 h 5092591"/>
              <a:gd name="connsiteX147" fmla="*/ 3062638 w 4546203"/>
              <a:gd name="connsiteY147" fmla="*/ 4433185 h 5092591"/>
              <a:gd name="connsiteX148" fmla="*/ 3048710 w 4546203"/>
              <a:gd name="connsiteY148" fmla="*/ 4400155 h 5092591"/>
              <a:gd name="connsiteX149" fmla="*/ 2161277 w 4546203"/>
              <a:gd name="connsiteY149" fmla="*/ 4383043 h 5092591"/>
              <a:gd name="connsiteX150" fmla="*/ 2158094 w 4546203"/>
              <a:gd name="connsiteY150" fmla="*/ 4444328 h 5092591"/>
              <a:gd name="connsiteX151" fmla="*/ 2224153 w 4546203"/>
              <a:gd name="connsiteY151" fmla="*/ 4444328 h 5092591"/>
              <a:gd name="connsiteX152" fmla="*/ 2224153 w 4546203"/>
              <a:gd name="connsiteY152" fmla="*/ 4383043 h 5092591"/>
              <a:gd name="connsiteX153" fmla="*/ 2161277 w 4546203"/>
              <a:gd name="connsiteY153" fmla="*/ 4383043 h 5092591"/>
              <a:gd name="connsiteX154" fmla="*/ 2411191 w 4546203"/>
              <a:gd name="connsiteY154" fmla="*/ 4378666 h 5092591"/>
              <a:gd name="connsiteX155" fmla="*/ 2346723 w 4546203"/>
              <a:gd name="connsiteY155" fmla="*/ 4382247 h 5092591"/>
              <a:gd name="connsiteX156" fmla="*/ 2349906 w 4546203"/>
              <a:gd name="connsiteY156" fmla="*/ 4445920 h 5092591"/>
              <a:gd name="connsiteX157" fmla="*/ 2415170 w 4546203"/>
              <a:gd name="connsiteY157" fmla="*/ 4441940 h 5092591"/>
              <a:gd name="connsiteX158" fmla="*/ 2411191 w 4546203"/>
              <a:gd name="connsiteY158" fmla="*/ 4378666 h 5092591"/>
              <a:gd name="connsiteX159" fmla="*/ 3103229 w 4546203"/>
              <a:gd name="connsiteY159" fmla="*/ 4376676 h 5092591"/>
              <a:gd name="connsiteX160" fmla="*/ 3056669 w 4546203"/>
              <a:gd name="connsiteY160" fmla="*/ 4397369 h 5092591"/>
              <a:gd name="connsiteX161" fmla="*/ 3070995 w 4546203"/>
              <a:gd name="connsiteY161" fmla="*/ 4430001 h 5092591"/>
              <a:gd name="connsiteX162" fmla="*/ 3118351 w 4546203"/>
              <a:gd name="connsiteY162" fmla="*/ 4408512 h 5092591"/>
              <a:gd name="connsiteX163" fmla="*/ 3103229 w 4546203"/>
              <a:gd name="connsiteY163" fmla="*/ 4376676 h 5092591"/>
              <a:gd name="connsiteX164" fmla="*/ 1411933 w 4546203"/>
              <a:gd name="connsiteY164" fmla="*/ 4372696 h 5092591"/>
              <a:gd name="connsiteX165" fmla="*/ 1392832 w 4546203"/>
              <a:gd name="connsiteY165" fmla="*/ 4413287 h 5092591"/>
              <a:gd name="connsiteX166" fmla="*/ 1479187 w 4546203"/>
              <a:gd name="connsiteY166" fmla="*/ 4451491 h 5092591"/>
              <a:gd name="connsiteX167" fmla="*/ 1496697 w 4546203"/>
              <a:gd name="connsiteY167" fmla="*/ 4410104 h 5092591"/>
              <a:gd name="connsiteX168" fmla="*/ 1411933 w 4546203"/>
              <a:gd name="connsiteY168" fmla="*/ 4372696 h 5092591"/>
              <a:gd name="connsiteX169" fmla="*/ 1558778 w 4546203"/>
              <a:gd name="connsiteY169" fmla="*/ 4364339 h 5092591"/>
              <a:gd name="connsiteX170" fmla="*/ 1542462 w 4546203"/>
              <a:gd name="connsiteY170" fmla="*/ 4406522 h 5092591"/>
              <a:gd name="connsiteX171" fmla="*/ 1628817 w 4546203"/>
              <a:gd name="connsiteY171" fmla="*/ 4437961 h 5092591"/>
              <a:gd name="connsiteX172" fmla="*/ 1642746 w 4546203"/>
              <a:gd name="connsiteY172" fmla="*/ 4394982 h 5092591"/>
              <a:gd name="connsiteX173" fmla="*/ 1558778 w 4546203"/>
              <a:gd name="connsiteY173" fmla="*/ 4364339 h 5092591"/>
              <a:gd name="connsiteX174" fmla="*/ 2904253 w 4546203"/>
              <a:gd name="connsiteY174" fmla="*/ 4347227 h 5092591"/>
              <a:gd name="connsiteX175" fmla="*/ 2858489 w 4546203"/>
              <a:gd name="connsiteY175" fmla="*/ 4362350 h 5092591"/>
              <a:gd name="connsiteX176" fmla="*/ 2887539 w 4546203"/>
              <a:gd name="connsiteY176" fmla="*/ 4452287 h 5092591"/>
              <a:gd name="connsiteX177" fmla="*/ 2935691 w 4546203"/>
              <a:gd name="connsiteY177" fmla="*/ 4435573 h 5092591"/>
              <a:gd name="connsiteX178" fmla="*/ 2904253 w 4546203"/>
              <a:gd name="connsiteY178" fmla="*/ 4347227 h 5092591"/>
              <a:gd name="connsiteX179" fmla="*/ 2956783 w 4546203"/>
              <a:gd name="connsiteY179" fmla="*/ 4327330 h 5092591"/>
              <a:gd name="connsiteX180" fmla="*/ 2911416 w 4546203"/>
              <a:gd name="connsiteY180" fmla="*/ 4344442 h 5092591"/>
              <a:gd name="connsiteX181" fmla="*/ 2943253 w 4546203"/>
              <a:gd name="connsiteY181" fmla="*/ 4433185 h 5092591"/>
              <a:gd name="connsiteX182" fmla="*/ 2991007 w 4546203"/>
              <a:gd name="connsiteY182" fmla="*/ 4415277 h 5092591"/>
              <a:gd name="connsiteX183" fmla="*/ 2956783 w 4546203"/>
              <a:gd name="connsiteY183" fmla="*/ 4327330 h 5092591"/>
              <a:gd name="connsiteX184" fmla="*/ 1836150 w 4546203"/>
              <a:gd name="connsiteY184" fmla="*/ 4315789 h 5092591"/>
              <a:gd name="connsiteX185" fmla="*/ 1826599 w 4546203"/>
              <a:gd name="connsiteY185" fmla="*/ 4359564 h 5092591"/>
              <a:gd name="connsiteX186" fmla="*/ 1909771 w 4546203"/>
              <a:gd name="connsiteY186" fmla="*/ 4377870 h 5092591"/>
              <a:gd name="connsiteX187" fmla="*/ 1918128 w 4546203"/>
              <a:gd name="connsiteY187" fmla="*/ 4333299 h 5092591"/>
              <a:gd name="connsiteX188" fmla="*/ 1836150 w 4546203"/>
              <a:gd name="connsiteY188" fmla="*/ 4315789 h 5092591"/>
              <a:gd name="connsiteX189" fmla="*/ 3009313 w 4546203"/>
              <a:gd name="connsiteY189" fmla="*/ 4306239 h 5092591"/>
              <a:gd name="connsiteX190" fmla="*/ 2964344 w 4546203"/>
              <a:gd name="connsiteY190" fmla="*/ 4324544 h 5092591"/>
              <a:gd name="connsiteX191" fmla="*/ 2998966 w 4546203"/>
              <a:gd name="connsiteY191" fmla="*/ 4412094 h 5092591"/>
              <a:gd name="connsiteX192" fmla="*/ 3045924 w 4546203"/>
              <a:gd name="connsiteY192" fmla="*/ 4392992 h 5092591"/>
              <a:gd name="connsiteX193" fmla="*/ 3009313 w 4546203"/>
              <a:gd name="connsiteY193" fmla="*/ 4306239 h 5092591"/>
              <a:gd name="connsiteX194" fmla="*/ 2166848 w 4546203"/>
              <a:gd name="connsiteY194" fmla="*/ 4291116 h 5092591"/>
              <a:gd name="connsiteX195" fmla="*/ 2163267 w 4546203"/>
              <a:gd name="connsiteY195" fmla="*/ 4352003 h 5092591"/>
              <a:gd name="connsiteX196" fmla="*/ 2226143 w 4546203"/>
              <a:gd name="connsiteY196" fmla="*/ 4352003 h 5092591"/>
              <a:gd name="connsiteX197" fmla="*/ 2225745 w 4546203"/>
              <a:gd name="connsiteY197" fmla="*/ 4291116 h 5092591"/>
              <a:gd name="connsiteX198" fmla="*/ 2166848 w 4546203"/>
              <a:gd name="connsiteY198" fmla="*/ 4291116 h 5092591"/>
              <a:gd name="connsiteX199" fmla="*/ 2297619 w 4546203"/>
              <a:gd name="connsiteY199" fmla="*/ 4290519 h 5092591"/>
              <a:gd name="connsiteX200" fmla="*/ 2259173 w 4546203"/>
              <a:gd name="connsiteY200" fmla="*/ 4292310 h 5092591"/>
              <a:gd name="connsiteX201" fmla="*/ 2255592 w 4546203"/>
              <a:gd name="connsiteY201" fmla="*/ 4293902 h 5092591"/>
              <a:gd name="connsiteX202" fmla="*/ 2255592 w 4546203"/>
              <a:gd name="connsiteY202" fmla="*/ 4353197 h 5092591"/>
              <a:gd name="connsiteX203" fmla="*/ 2316478 w 4546203"/>
              <a:gd name="connsiteY203" fmla="*/ 4353197 h 5092591"/>
              <a:gd name="connsiteX204" fmla="*/ 2297619 w 4546203"/>
              <a:gd name="connsiteY204" fmla="*/ 4290519 h 5092591"/>
              <a:gd name="connsiteX205" fmla="*/ 3061046 w 4546203"/>
              <a:gd name="connsiteY205" fmla="*/ 4283555 h 5092591"/>
              <a:gd name="connsiteX206" fmla="*/ 3016874 w 4546203"/>
              <a:gd name="connsiteY206" fmla="*/ 4303453 h 5092591"/>
              <a:gd name="connsiteX207" fmla="*/ 3053883 w 4546203"/>
              <a:gd name="connsiteY207" fmla="*/ 4390206 h 5092591"/>
              <a:gd name="connsiteX208" fmla="*/ 3100046 w 4546203"/>
              <a:gd name="connsiteY208" fmla="*/ 4369115 h 5092591"/>
              <a:gd name="connsiteX209" fmla="*/ 3061046 w 4546203"/>
              <a:gd name="connsiteY209" fmla="*/ 4283555 h 5092591"/>
              <a:gd name="connsiteX210" fmla="*/ 1719948 w 4546203"/>
              <a:gd name="connsiteY210" fmla="*/ 4283157 h 5092591"/>
              <a:gd name="connsiteX211" fmla="*/ 1706816 w 4546203"/>
              <a:gd name="connsiteY211" fmla="*/ 4326136 h 5092591"/>
              <a:gd name="connsiteX212" fmla="*/ 1788794 w 4546203"/>
              <a:gd name="connsiteY212" fmla="*/ 4350013 h 5092591"/>
              <a:gd name="connsiteX213" fmla="*/ 1800733 w 4546203"/>
              <a:gd name="connsiteY213" fmla="*/ 4306239 h 5092591"/>
              <a:gd name="connsiteX214" fmla="*/ 1719948 w 4546203"/>
              <a:gd name="connsiteY214" fmla="*/ 4283157 h 5092591"/>
              <a:gd name="connsiteX215" fmla="*/ 2079299 w 4546203"/>
              <a:gd name="connsiteY215" fmla="*/ 4281167 h 5092591"/>
              <a:gd name="connsiteX216" fmla="*/ 2072534 w 4546203"/>
              <a:gd name="connsiteY216" fmla="*/ 4344442 h 5092591"/>
              <a:gd name="connsiteX217" fmla="*/ 2135012 w 4546203"/>
              <a:gd name="connsiteY217" fmla="*/ 4350013 h 5092591"/>
              <a:gd name="connsiteX218" fmla="*/ 2139390 w 4546203"/>
              <a:gd name="connsiteY218" fmla="*/ 4287137 h 5092591"/>
              <a:gd name="connsiteX219" fmla="*/ 2079299 w 4546203"/>
              <a:gd name="connsiteY219" fmla="*/ 4281167 h 5092591"/>
              <a:gd name="connsiteX220" fmla="*/ 2819489 w 4546203"/>
              <a:gd name="connsiteY220" fmla="*/ 4267637 h 5092591"/>
              <a:gd name="connsiteX221" fmla="*/ 2775715 w 4546203"/>
              <a:gd name="connsiteY221" fmla="*/ 4281167 h 5092591"/>
              <a:gd name="connsiteX222" fmla="*/ 2801980 w 4546203"/>
              <a:gd name="connsiteY222" fmla="*/ 4371104 h 5092591"/>
              <a:gd name="connsiteX223" fmla="*/ 2848142 w 4546203"/>
              <a:gd name="connsiteY223" fmla="*/ 4357574 h 5092591"/>
              <a:gd name="connsiteX224" fmla="*/ 2819489 w 4546203"/>
              <a:gd name="connsiteY224" fmla="*/ 4267637 h 5092591"/>
              <a:gd name="connsiteX225" fmla="*/ 1467647 w 4546203"/>
              <a:gd name="connsiteY225" fmla="*/ 4254106 h 5092591"/>
              <a:gd name="connsiteX226" fmla="*/ 1448545 w 4546203"/>
              <a:gd name="connsiteY226" fmla="*/ 4295096 h 5092591"/>
              <a:gd name="connsiteX227" fmla="*/ 1529727 w 4546203"/>
              <a:gd name="connsiteY227" fmla="*/ 4330911 h 5092591"/>
              <a:gd name="connsiteX228" fmla="*/ 1546839 w 4546203"/>
              <a:gd name="connsiteY228" fmla="*/ 4289524 h 5092591"/>
              <a:gd name="connsiteX229" fmla="*/ 1467647 w 4546203"/>
              <a:gd name="connsiteY229" fmla="*/ 4254106 h 5092591"/>
              <a:gd name="connsiteX230" fmla="*/ 1851670 w 4546203"/>
              <a:gd name="connsiteY230" fmla="*/ 4251719 h 5092591"/>
              <a:gd name="connsiteX231" fmla="*/ 1842120 w 4546203"/>
              <a:gd name="connsiteY231" fmla="*/ 4295494 h 5092591"/>
              <a:gd name="connsiteX232" fmla="*/ 1922108 w 4546203"/>
              <a:gd name="connsiteY232" fmla="*/ 4313401 h 5092591"/>
              <a:gd name="connsiteX233" fmla="*/ 1930863 w 4546203"/>
              <a:gd name="connsiteY233" fmla="*/ 4268831 h 5092591"/>
              <a:gd name="connsiteX234" fmla="*/ 1851670 w 4546203"/>
              <a:gd name="connsiteY234" fmla="*/ 4251719 h 5092591"/>
              <a:gd name="connsiteX235" fmla="*/ 2870029 w 4546203"/>
              <a:gd name="connsiteY235" fmla="*/ 4250525 h 5092591"/>
              <a:gd name="connsiteX236" fmla="*/ 2826653 w 4546203"/>
              <a:gd name="connsiteY236" fmla="*/ 4265647 h 5092591"/>
              <a:gd name="connsiteX237" fmla="*/ 2856101 w 4546203"/>
              <a:gd name="connsiteY237" fmla="*/ 4355186 h 5092591"/>
              <a:gd name="connsiteX238" fmla="*/ 2901468 w 4546203"/>
              <a:gd name="connsiteY238" fmla="*/ 4338870 h 5092591"/>
              <a:gd name="connsiteX239" fmla="*/ 2870029 w 4546203"/>
              <a:gd name="connsiteY239" fmla="*/ 4250525 h 5092591"/>
              <a:gd name="connsiteX240" fmla="*/ 1606134 w 4546203"/>
              <a:gd name="connsiteY240" fmla="*/ 4242964 h 5092591"/>
              <a:gd name="connsiteX241" fmla="*/ 1589818 w 4546203"/>
              <a:gd name="connsiteY241" fmla="*/ 4284749 h 5092591"/>
              <a:gd name="connsiteX242" fmla="*/ 1670204 w 4546203"/>
              <a:gd name="connsiteY242" fmla="*/ 4314198 h 5092591"/>
              <a:gd name="connsiteX243" fmla="*/ 1684929 w 4546203"/>
              <a:gd name="connsiteY243" fmla="*/ 4271616 h 5092591"/>
              <a:gd name="connsiteX244" fmla="*/ 1606134 w 4546203"/>
              <a:gd name="connsiteY244" fmla="*/ 4242964 h 5092591"/>
              <a:gd name="connsiteX245" fmla="*/ 2919773 w 4546203"/>
              <a:gd name="connsiteY245" fmla="*/ 4232219 h 5092591"/>
              <a:gd name="connsiteX246" fmla="*/ 2877192 w 4546203"/>
              <a:gd name="connsiteY246" fmla="*/ 4248137 h 5092591"/>
              <a:gd name="connsiteX247" fmla="*/ 2909029 w 4546203"/>
              <a:gd name="connsiteY247" fmla="*/ 4336881 h 5092591"/>
              <a:gd name="connsiteX248" fmla="*/ 2953997 w 4546203"/>
              <a:gd name="connsiteY248" fmla="*/ 4320167 h 5092591"/>
              <a:gd name="connsiteX249" fmla="*/ 2919773 w 4546203"/>
              <a:gd name="connsiteY249" fmla="*/ 4232219 h 5092591"/>
              <a:gd name="connsiteX250" fmla="*/ 1739846 w 4546203"/>
              <a:gd name="connsiteY250" fmla="*/ 4221077 h 5092591"/>
              <a:gd name="connsiteX251" fmla="*/ 1726315 w 4546203"/>
              <a:gd name="connsiteY251" fmla="*/ 4264055 h 5092591"/>
              <a:gd name="connsiteX252" fmla="*/ 1806304 w 4546203"/>
              <a:gd name="connsiteY252" fmla="*/ 4286341 h 5092591"/>
              <a:gd name="connsiteX253" fmla="*/ 1817446 w 4546203"/>
              <a:gd name="connsiteY253" fmla="*/ 4242964 h 5092591"/>
              <a:gd name="connsiteX254" fmla="*/ 1739846 w 4546203"/>
              <a:gd name="connsiteY254" fmla="*/ 4221077 h 5092591"/>
              <a:gd name="connsiteX255" fmla="*/ 2969915 w 4546203"/>
              <a:gd name="connsiteY255" fmla="*/ 4211924 h 5092591"/>
              <a:gd name="connsiteX256" fmla="*/ 2927732 w 4546203"/>
              <a:gd name="connsiteY256" fmla="*/ 4229831 h 5092591"/>
              <a:gd name="connsiteX257" fmla="*/ 2961956 w 4546203"/>
              <a:gd name="connsiteY257" fmla="*/ 4317381 h 5092591"/>
              <a:gd name="connsiteX258" fmla="*/ 3006527 w 4546203"/>
              <a:gd name="connsiteY258" fmla="*/ 4298677 h 5092591"/>
              <a:gd name="connsiteX259" fmla="*/ 2969915 w 4546203"/>
              <a:gd name="connsiteY259" fmla="*/ 4211924 h 5092591"/>
              <a:gd name="connsiteX260" fmla="*/ 2171624 w 4546203"/>
              <a:gd name="connsiteY260" fmla="*/ 4197995 h 5092591"/>
              <a:gd name="connsiteX261" fmla="*/ 2168838 w 4546203"/>
              <a:gd name="connsiteY261" fmla="*/ 4259678 h 5092591"/>
              <a:gd name="connsiteX262" fmla="*/ 2228133 w 4546203"/>
              <a:gd name="connsiteY262" fmla="*/ 4259678 h 5092591"/>
              <a:gd name="connsiteX263" fmla="*/ 2227735 w 4546203"/>
              <a:gd name="connsiteY263" fmla="*/ 4197995 h 5092591"/>
              <a:gd name="connsiteX264" fmla="*/ 2171624 w 4546203"/>
              <a:gd name="connsiteY264" fmla="*/ 4197995 h 5092591"/>
              <a:gd name="connsiteX265" fmla="*/ 2396069 w 4546203"/>
              <a:gd name="connsiteY265" fmla="*/ 4194016 h 5092591"/>
              <a:gd name="connsiteX266" fmla="*/ 2341947 w 4546203"/>
              <a:gd name="connsiteY266" fmla="*/ 4197995 h 5092591"/>
              <a:gd name="connsiteX267" fmla="*/ 2341549 w 4546203"/>
              <a:gd name="connsiteY267" fmla="*/ 4261270 h 5092591"/>
              <a:gd name="connsiteX268" fmla="*/ 2401640 w 4546203"/>
              <a:gd name="connsiteY268" fmla="*/ 4257688 h 5092591"/>
              <a:gd name="connsiteX269" fmla="*/ 2396069 w 4546203"/>
              <a:gd name="connsiteY269" fmla="*/ 4194016 h 5092591"/>
              <a:gd name="connsiteX270" fmla="*/ 2089248 w 4546203"/>
              <a:gd name="connsiteY270" fmla="*/ 4189638 h 5092591"/>
              <a:gd name="connsiteX271" fmla="*/ 2082483 w 4546203"/>
              <a:gd name="connsiteY271" fmla="*/ 4252515 h 5092591"/>
              <a:gd name="connsiteX272" fmla="*/ 2141777 w 4546203"/>
              <a:gd name="connsiteY272" fmla="*/ 4258086 h 5092591"/>
              <a:gd name="connsiteX273" fmla="*/ 2146155 w 4546203"/>
              <a:gd name="connsiteY273" fmla="*/ 4194812 h 5092591"/>
              <a:gd name="connsiteX274" fmla="*/ 2089248 w 4546203"/>
              <a:gd name="connsiteY274" fmla="*/ 4189638 h 5092591"/>
              <a:gd name="connsiteX275" fmla="*/ 2687767 w 4546203"/>
              <a:gd name="connsiteY275" fmla="*/ 4183669 h 5092591"/>
              <a:gd name="connsiteX276" fmla="*/ 2649962 w 4546203"/>
              <a:gd name="connsiteY276" fmla="*/ 4193618 h 5092591"/>
              <a:gd name="connsiteX277" fmla="*/ 2659911 w 4546203"/>
              <a:gd name="connsiteY277" fmla="*/ 4233811 h 5092591"/>
              <a:gd name="connsiteX278" fmla="*/ 2697716 w 4546203"/>
              <a:gd name="connsiteY278" fmla="*/ 4224260 h 5092591"/>
              <a:gd name="connsiteX279" fmla="*/ 2687767 w 4546203"/>
              <a:gd name="connsiteY279" fmla="*/ 4183669 h 5092591"/>
              <a:gd name="connsiteX280" fmla="*/ 1630011 w 4546203"/>
              <a:gd name="connsiteY280" fmla="*/ 4182077 h 5092591"/>
              <a:gd name="connsiteX281" fmla="*/ 1614093 w 4546203"/>
              <a:gd name="connsiteY281" fmla="*/ 4223862 h 5092591"/>
              <a:gd name="connsiteX282" fmla="*/ 1691296 w 4546203"/>
              <a:gd name="connsiteY282" fmla="*/ 4252515 h 5092591"/>
              <a:gd name="connsiteX283" fmla="*/ 1706020 w 4546203"/>
              <a:gd name="connsiteY283" fmla="*/ 4209934 h 5092591"/>
              <a:gd name="connsiteX284" fmla="*/ 1630011 w 4546203"/>
              <a:gd name="connsiteY284" fmla="*/ 4182077 h 5092591"/>
              <a:gd name="connsiteX285" fmla="*/ 2788449 w 4546203"/>
              <a:gd name="connsiteY285" fmla="*/ 4170139 h 5092591"/>
              <a:gd name="connsiteX286" fmla="*/ 2747062 w 4546203"/>
              <a:gd name="connsiteY286" fmla="*/ 4183271 h 5092591"/>
              <a:gd name="connsiteX287" fmla="*/ 2773725 w 4546203"/>
              <a:gd name="connsiteY287" fmla="*/ 4273208 h 5092591"/>
              <a:gd name="connsiteX288" fmla="*/ 2817102 w 4546203"/>
              <a:gd name="connsiteY288" fmla="*/ 4259678 h 5092591"/>
              <a:gd name="connsiteX289" fmla="*/ 2788449 w 4546203"/>
              <a:gd name="connsiteY289" fmla="*/ 4170139 h 5092591"/>
              <a:gd name="connsiteX290" fmla="*/ 2836203 w 4546203"/>
              <a:gd name="connsiteY290" fmla="*/ 4154220 h 5092591"/>
              <a:gd name="connsiteX291" fmla="*/ 2794817 w 4546203"/>
              <a:gd name="connsiteY291" fmla="*/ 4167751 h 5092591"/>
              <a:gd name="connsiteX292" fmla="*/ 2824265 w 4546203"/>
              <a:gd name="connsiteY292" fmla="*/ 4257688 h 5092591"/>
              <a:gd name="connsiteX293" fmla="*/ 2867244 w 4546203"/>
              <a:gd name="connsiteY293" fmla="*/ 4242168 h 5092591"/>
              <a:gd name="connsiteX294" fmla="*/ 2836203 w 4546203"/>
              <a:gd name="connsiteY294" fmla="*/ 4154220 h 5092591"/>
              <a:gd name="connsiteX295" fmla="*/ 2599820 w 4546203"/>
              <a:gd name="connsiteY295" fmla="*/ 4145864 h 5092591"/>
              <a:gd name="connsiteX296" fmla="*/ 2563209 w 4546203"/>
              <a:gd name="connsiteY296" fmla="*/ 4152629 h 5092591"/>
              <a:gd name="connsiteX297" fmla="*/ 2571168 w 4546203"/>
              <a:gd name="connsiteY297" fmla="*/ 4194016 h 5092591"/>
              <a:gd name="connsiteX298" fmla="*/ 2608575 w 4546203"/>
              <a:gd name="connsiteY298" fmla="*/ 4186454 h 5092591"/>
              <a:gd name="connsiteX299" fmla="*/ 2599820 w 4546203"/>
              <a:gd name="connsiteY299" fmla="*/ 4145864 h 5092591"/>
              <a:gd name="connsiteX300" fmla="*/ 1522962 w 4546203"/>
              <a:gd name="connsiteY300" fmla="*/ 4135915 h 5092591"/>
              <a:gd name="connsiteX301" fmla="*/ 1504258 w 4546203"/>
              <a:gd name="connsiteY301" fmla="*/ 4176506 h 5092591"/>
              <a:gd name="connsiteX302" fmla="*/ 1579471 w 4546203"/>
              <a:gd name="connsiteY302" fmla="*/ 4209934 h 5092591"/>
              <a:gd name="connsiteX303" fmla="*/ 1596981 w 4546203"/>
              <a:gd name="connsiteY303" fmla="*/ 4168547 h 5092591"/>
              <a:gd name="connsiteX304" fmla="*/ 1522962 w 4546203"/>
              <a:gd name="connsiteY304" fmla="*/ 4135915 h 5092591"/>
              <a:gd name="connsiteX305" fmla="*/ 2773725 w 4546203"/>
              <a:gd name="connsiteY305" fmla="*/ 4125568 h 5092591"/>
              <a:gd name="connsiteX306" fmla="*/ 2734328 w 4546203"/>
              <a:gd name="connsiteY306" fmla="*/ 4138700 h 5092591"/>
              <a:gd name="connsiteX307" fmla="*/ 2745073 w 4546203"/>
              <a:gd name="connsiteY307" fmla="*/ 4175312 h 5092591"/>
              <a:gd name="connsiteX308" fmla="*/ 2786062 w 4546203"/>
              <a:gd name="connsiteY308" fmla="*/ 4162976 h 5092591"/>
              <a:gd name="connsiteX309" fmla="*/ 2773725 w 4546203"/>
              <a:gd name="connsiteY309" fmla="*/ 4125568 h 5092591"/>
              <a:gd name="connsiteX310" fmla="*/ 1883507 w 4546203"/>
              <a:gd name="connsiteY310" fmla="*/ 4125170 h 5092591"/>
              <a:gd name="connsiteX311" fmla="*/ 1872762 w 4546203"/>
              <a:gd name="connsiteY311" fmla="*/ 4168945 h 5092591"/>
              <a:gd name="connsiteX312" fmla="*/ 1947577 w 4546203"/>
              <a:gd name="connsiteY312" fmla="*/ 4185659 h 5092591"/>
              <a:gd name="connsiteX313" fmla="*/ 1956332 w 4546203"/>
              <a:gd name="connsiteY313" fmla="*/ 4141088 h 5092591"/>
              <a:gd name="connsiteX314" fmla="*/ 1883507 w 4546203"/>
              <a:gd name="connsiteY314" fmla="*/ 4125170 h 5092591"/>
              <a:gd name="connsiteX315" fmla="*/ 1996525 w 4546203"/>
              <a:gd name="connsiteY315" fmla="*/ 4124374 h 5092591"/>
              <a:gd name="connsiteX316" fmla="*/ 1982199 w 4546203"/>
              <a:gd name="connsiteY316" fmla="*/ 4207546 h 5092591"/>
              <a:gd name="connsiteX317" fmla="*/ 2047463 w 4546203"/>
              <a:gd name="connsiteY317" fmla="*/ 4217097 h 5092591"/>
              <a:gd name="connsiteX318" fmla="*/ 2058605 w 4546203"/>
              <a:gd name="connsiteY318" fmla="*/ 4133527 h 5092591"/>
              <a:gd name="connsiteX319" fmla="*/ 1996525 w 4546203"/>
              <a:gd name="connsiteY319" fmla="*/ 4124374 h 5092591"/>
              <a:gd name="connsiteX320" fmla="*/ 1653888 w 4546203"/>
              <a:gd name="connsiteY320" fmla="*/ 4120792 h 5092591"/>
              <a:gd name="connsiteX321" fmla="*/ 1637572 w 4546203"/>
              <a:gd name="connsiteY321" fmla="*/ 4162976 h 5092591"/>
              <a:gd name="connsiteX322" fmla="*/ 1712785 w 4546203"/>
              <a:gd name="connsiteY322" fmla="*/ 4190036 h 5092591"/>
              <a:gd name="connsiteX323" fmla="*/ 1726713 w 4546203"/>
              <a:gd name="connsiteY323" fmla="*/ 4147455 h 5092591"/>
              <a:gd name="connsiteX324" fmla="*/ 1653888 w 4546203"/>
              <a:gd name="connsiteY324" fmla="*/ 4120792 h 5092591"/>
              <a:gd name="connsiteX325" fmla="*/ 2930518 w 4546203"/>
              <a:gd name="connsiteY325" fmla="*/ 4117609 h 5092591"/>
              <a:gd name="connsiteX326" fmla="*/ 2890325 w 4546203"/>
              <a:gd name="connsiteY326" fmla="*/ 4133925 h 5092591"/>
              <a:gd name="connsiteX327" fmla="*/ 2924549 w 4546203"/>
              <a:gd name="connsiteY327" fmla="*/ 4221872 h 5092591"/>
              <a:gd name="connsiteX328" fmla="*/ 2967130 w 4546203"/>
              <a:gd name="connsiteY328" fmla="*/ 4204362 h 5092591"/>
              <a:gd name="connsiteX329" fmla="*/ 2930518 w 4546203"/>
              <a:gd name="connsiteY329" fmla="*/ 4117609 h 5092591"/>
              <a:gd name="connsiteX330" fmla="*/ 2820683 w 4546203"/>
              <a:gd name="connsiteY330" fmla="*/ 4110446 h 5092591"/>
              <a:gd name="connsiteX331" fmla="*/ 2780888 w 4546203"/>
              <a:gd name="connsiteY331" fmla="*/ 4123976 h 5092591"/>
              <a:gd name="connsiteX332" fmla="*/ 2792827 w 4546203"/>
              <a:gd name="connsiteY332" fmla="*/ 4160588 h 5092591"/>
              <a:gd name="connsiteX333" fmla="*/ 2833418 w 4546203"/>
              <a:gd name="connsiteY333" fmla="*/ 4146261 h 5092591"/>
              <a:gd name="connsiteX334" fmla="*/ 2820683 w 4546203"/>
              <a:gd name="connsiteY334" fmla="*/ 4110446 h 5092591"/>
              <a:gd name="connsiteX335" fmla="*/ 2256786 w 4546203"/>
              <a:gd name="connsiteY335" fmla="*/ 4107660 h 5092591"/>
              <a:gd name="connsiteX336" fmla="*/ 2256786 w 4546203"/>
              <a:gd name="connsiteY336" fmla="*/ 4168547 h 5092591"/>
              <a:gd name="connsiteX337" fmla="*/ 2310111 w 4546203"/>
              <a:gd name="connsiteY337" fmla="*/ 4168547 h 5092591"/>
              <a:gd name="connsiteX338" fmla="*/ 2310111 w 4546203"/>
              <a:gd name="connsiteY338" fmla="*/ 4107660 h 5092591"/>
              <a:gd name="connsiteX339" fmla="*/ 2256786 w 4546203"/>
              <a:gd name="connsiteY339" fmla="*/ 4107660 h 5092591"/>
              <a:gd name="connsiteX340" fmla="*/ 2177593 w 4546203"/>
              <a:gd name="connsiteY340" fmla="*/ 4104079 h 5092591"/>
              <a:gd name="connsiteX341" fmla="*/ 2173613 w 4546203"/>
              <a:gd name="connsiteY341" fmla="*/ 4167751 h 5092591"/>
              <a:gd name="connsiteX342" fmla="*/ 2230123 w 4546203"/>
              <a:gd name="connsiteY342" fmla="*/ 4167751 h 5092591"/>
              <a:gd name="connsiteX343" fmla="*/ 2230123 w 4546203"/>
              <a:gd name="connsiteY343" fmla="*/ 4106466 h 5092591"/>
              <a:gd name="connsiteX344" fmla="*/ 2177593 w 4546203"/>
              <a:gd name="connsiteY344" fmla="*/ 4104079 h 5092591"/>
              <a:gd name="connsiteX345" fmla="*/ 2389701 w 4546203"/>
              <a:gd name="connsiteY345" fmla="*/ 4102089 h 5092591"/>
              <a:gd name="connsiteX346" fmla="*/ 2335580 w 4546203"/>
              <a:gd name="connsiteY346" fmla="*/ 4105671 h 5092591"/>
              <a:gd name="connsiteX347" fmla="*/ 2338764 w 4546203"/>
              <a:gd name="connsiteY347" fmla="*/ 4169343 h 5092591"/>
              <a:gd name="connsiteX348" fmla="*/ 2394875 w 4546203"/>
              <a:gd name="connsiteY348" fmla="*/ 4165363 h 5092591"/>
              <a:gd name="connsiteX349" fmla="*/ 2389701 w 4546203"/>
              <a:gd name="connsiteY349" fmla="*/ 4102089 h 5092591"/>
              <a:gd name="connsiteX350" fmla="*/ 2514260 w 4546203"/>
              <a:gd name="connsiteY350" fmla="*/ 4101293 h 5092591"/>
              <a:gd name="connsiteX351" fmla="*/ 2478843 w 4546203"/>
              <a:gd name="connsiteY351" fmla="*/ 4105671 h 5092591"/>
              <a:gd name="connsiteX352" fmla="*/ 2485210 w 4546203"/>
              <a:gd name="connsiteY352" fmla="*/ 4147455 h 5092591"/>
              <a:gd name="connsiteX353" fmla="*/ 2521025 w 4546203"/>
              <a:gd name="connsiteY353" fmla="*/ 4141486 h 5092591"/>
              <a:gd name="connsiteX354" fmla="*/ 2514260 w 4546203"/>
              <a:gd name="connsiteY354" fmla="*/ 4101293 h 5092591"/>
              <a:gd name="connsiteX355" fmla="*/ 1067705 w 4546203"/>
              <a:gd name="connsiteY355" fmla="*/ 4101293 h 5092591"/>
              <a:gd name="connsiteX356" fmla="*/ 1037859 w 4546203"/>
              <a:gd name="connsiteY356" fmla="*/ 4140292 h 5092591"/>
              <a:gd name="connsiteX357" fmla="*/ 1081235 w 4546203"/>
              <a:gd name="connsiteY357" fmla="*/ 4172128 h 5092591"/>
              <a:gd name="connsiteX358" fmla="*/ 1109888 w 4546203"/>
              <a:gd name="connsiteY358" fmla="*/ 4133129 h 5092591"/>
              <a:gd name="connsiteX359" fmla="*/ 1067705 w 4546203"/>
              <a:gd name="connsiteY359" fmla="*/ 4101293 h 5092591"/>
              <a:gd name="connsiteX360" fmla="*/ 2975885 w 4546203"/>
              <a:gd name="connsiteY360" fmla="*/ 4097711 h 5092591"/>
              <a:gd name="connsiteX361" fmla="*/ 2936487 w 4546203"/>
              <a:gd name="connsiteY361" fmla="*/ 4115619 h 5092591"/>
              <a:gd name="connsiteX362" fmla="*/ 2973497 w 4546203"/>
              <a:gd name="connsiteY362" fmla="*/ 4201975 h 5092591"/>
              <a:gd name="connsiteX363" fmla="*/ 3015282 w 4546203"/>
              <a:gd name="connsiteY363" fmla="*/ 4183271 h 5092591"/>
              <a:gd name="connsiteX364" fmla="*/ 2975885 w 4546203"/>
              <a:gd name="connsiteY364" fmla="*/ 4097711 h 5092591"/>
              <a:gd name="connsiteX365" fmla="*/ 1779243 w 4546203"/>
              <a:gd name="connsiteY365" fmla="*/ 4096120 h 5092591"/>
              <a:gd name="connsiteX366" fmla="*/ 1766111 w 4546203"/>
              <a:gd name="connsiteY366" fmla="*/ 4139099 h 5092591"/>
              <a:gd name="connsiteX367" fmla="*/ 1839732 w 4546203"/>
              <a:gd name="connsiteY367" fmla="*/ 4159792 h 5092591"/>
              <a:gd name="connsiteX368" fmla="*/ 1850875 w 4546203"/>
              <a:gd name="connsiteY368" fmla="*/ 4116415 h 5092591"/>
              <a:gd name="connsiteX369" fmla="*/ 1779243 w 4546203"/>
              <a:gd name="connsiteY369" fmla="*/ 4096120 h 5092591"/>
              <a:gd name="connsiteX370" fmla="*/ 2866050 w 4546203"/>
              <a:gd name="connsiteY370" fmla="*/ 4093334 h 5092591"/>
              <a:gd name="connsiteX371" fmla="*/ 2827448 w 4546203"/>
              <a:gd name="connsiteY371" fmla="*/ 4108058 h 5092591"/>
              <a:gd name="connsiteX372" fmla="*/ 2840581 w 4546203"/>
              <a:gd name="connsiteY372" fmla="*/ 4144272 h 5092591"/>
              <a:gd name="connsiteX373" fmla="*/ 2880774 w 4546203"/>
              <a:gd name="connsiteY373" fmla="*/ 4128354 h 5092591"/>
              <a:gd name="connsiteX374" fmla="*/ 2866050 w 4546203"/>
              <a:gd name="connsiteY374" fmla="*/ 4093334 h 5092591"/>
              <a:gd name="connsiteX375" fmla="*/ 3548537 w 4546203"/>
              <a:gd name="connsiteY375" fmla="*/ 4083783 h 5092591"/>
              <a:gd name="connsiteX376" fmla="*/ 3509538 w 4546203"/>
              <a:gd name="connsiteY376" fmla="*/ 4115619 h 5092591"/>
              <a:gd name="connsiteX377" fmla="*/ 3533017 w 4546203"/>
              <a:gd name="connsiteY377" fmla="*/ 4145068 h 5092591"/>
              <a:gd name="connsiteX378" fmla="*/ 3572813 w 4546203"/>
              <a:gd name="connsiteY378" fmla="*/ 4112436 h 5092591"/>
              <a:gd name="connsiteX379" fmla="*/ 3548537 w 4546203"/>
              <a:gd name="connsiteY379" fmla="*/ 4083783 h 5092591"/>
              <a:gd name="connsiteX380" fmla="*/ 1550819 w 4546203"/>
              <a:gd name="connsiteY380" fmla="*/ 4077018 h 5092591"/>
              <a:gd name="connsiteX381" fmla="*/ 1531717 w 4546203"/>
              <a:gd name="connsiteY381" fmla="*/ 4117211 h 5092591"/>
              <a:gd name="connsiteX382" fmla="*/ 1604542 w 4546203"/>
              <a:gd name="connsiteY382" fmla="*/ 4149843 h 5092591"/>
              <a:gd name="connsiteX383" fmla="*/ 1622052 w 4546203"/>
              <a:gd name="connsiteY383" fmla="*/ 4108058 h 5092591"/>
              <a:gd name="connsiteX384" fmla="*/ 1550819 w 4546203"/>
              <a:gd name="connsiteY384" fmla="*/ 4077018 h 5092591"/>
              <a:gd name="connsiteX385" fmla="*/ 2911814 w 4546203"/>
              <a:gd name="connsiteY385" fmla="*/ 4075028 h 5092591"/>
              <a:gd name="connsiteX386" fmla="*/ 2873213 w 4546203"/>
              <a:gd name="connsiteY386" fmla="*/ 4090946 h 5092591"/>
              <a:gd name="connsiteX387" fmla="*/ 2887539 w 4546203"/>
              <a:gd name="connsiteY387" fmla="*/ 4127160 h 5092591"/>
              <a:gd name="connsiteX388" fmla="*/ 2926936 w 4546203"/>
              <a:gd name="connsiteY388" fmla="*/ 4110446 h 5092591"/>
              <a:gd name="connsiteX389" fmla="*/ 2911814 w 4546203"/>
              <a:gd name="connsiteY389" fmla="*/ 4075028 h 5092591"/>
              <a:gd name="connsiteX390" fmla="*/ 2757409 w 4546203"/>
              <a:gd name="connsiteY390" fmla="*/ 4073038 h 5092591"/>
              <a:gd name="connsiteX391" fmla="*/ 2718808 w 4546203"/>
              <a:gd name="connsiteY391" fmla="*/ 4084977 h 5092591"/>
              <a:gd name="connsiteX392" fmla="*/ 2729155 w 4546203"/>
              <a:gd name="connsiteY392" fmla="*/ 4119997 h 5092591"/>
              <a:gd name="connsiteX393" fmla="*/ 2768552 w 4546203"/>
              <a:gd name="connsiteY393" fmla="*/ 4108058 h 5092591"/>
              <a:gd name="connsiteX394" fmla="*/ 2757409 w 4546203"/>
              <a:gd name="connsiteY394" fmla="*/ 4073038 h 5092591"/>
              <a:gd name="connsiteX395" fmla="*/ 2801980 w 4546203"/>
              <a:gd name="connsiteY395" fmla="*/ 4057916 h 5092591"/>
              <a:gd name="connsiteX396" fmla="*/ 2763776 w 4546203"/>
              <a:gd name="connsiteY396" fmla="*/ 4071447 h 5092591"/>
              <a:gd name="connsiteX397" fmla="*/ 2775715 w 4546203"/>
              <a:gd name="connsiteY397" fmla="*/ 4106068 h 5092591"/>
              <a:gd name="connsiteX398" fmla="*/ 2814316 w 4546203"/>
              <a:gd name="connsiteY398" fmla="*/ 4092538 h 5092591"/>
              <a:gd name="connsiteX399" fmla="*/ 2801980 w 4546203"/>
              <a:gd name="connsiteY399" fmla="*/ 4057916 h 5092591"/>
              <a:gd name="connsiteX400" fmla="*/ 2956783 w 4546203"/>
              <a:gd name="connsiteY400" fmla="*/ 4055528 h 5092591"/>
              <a:gd name="connsiteX401" fmla="*/ 2918580 w 4546203"/>
              <a:gd name="connsiteY401" fmla="*/ 4072640 h 5092591"/>
              <a:gd name="connsiteX402" fmla="*/ 2934100 w 4546203"/>
              <a:gd name="connsiteY402" fmla="*/ 4107660 h 5092591"/>
              <a:gd name="connsiteX403" fmla="*/ 2973497 w 4546203"/>
              <a:gd name="connsiteY403" fmla="*/ 4090548 h 5092591"/>
              <a:gd name="connsiteX404" fmla="*/ 2956783 w 4546203"/>
              <a:gd name="connsiteY404" fmla="*/ 4055528 h 5092591"/>
              <a:gd name="connsiteX405" fmla="*/ 1008410 w 4546203"/>
              <a:gd name="connsiteY405" fmla="*/ 4053539 h 5092591"/>
              <a:gd name="connsiteX406" fmla="*/ 977370 w 4546203"/>
              <a:gd name="connsiteY406" fmla="*/ 4091344 h 5092591"/>
              <a:gd name="connsiteX407" fmla="*/ 1019155 w 4546203"/>
              <a:gd name="connsiteY407" fmla="*/ 4125170 h 5092591"/>
              <a:gd name="connsiteX408" fmla="*/ 1049399 w 4546203"/>
              <a:gd name="connsiteY408" fmla="*/ 4086966 h 5092591"/>
              <a:gd name="connsiteX409" fmla="*/ 1008410 w 4546203"/>
              <a:gd name="connsiteY409" fmla="*/ 4053539 h 5092591"/>
              <a:gd name="connsiteX410" fmla="*/ 1111082 w 4546203"/>
              <a:gd name="connsiteY410" fmla="*/ 4045182 h 5092591"/>
              <a:gd name="connsiteX411" fmla="*/ 1081235 w 4546203"/>
              <a:gd name="connsiteY411" fmla="*/ 4084181 h 5092591"/>
              <a:gd name="connsiteX412" fmla="*/ 1123020 w 4546203"/>
              <a:gd name="connsiteY412" fmla="*/ 4115221 h 5092591"/>
              <a:gd name="connsiteX413" fmla="*/ 1151673 w 4546203"/>
              <a:gd name="connsiteY413" fmla="*/ 4075824 h 5092591"/>
              <a:gd name="connsiteX414" fmla="*/ 1111082 w 4546203"/>
              <a:gd name="connsiteY414" fmla="*/ 4045182 h 5092591"/>
              <a:gd name="connsiteX415" fmla="*/ 2846152 w 4546203"/>
              <a:gd name="connsiteY415" fmla="*/ 4041600 h 5092591"/>
              <a:gd name="connsiteX416" fmla="*/ 2808745 w 4546203"/>
              <a:gd name="connsiteY416" fmla="*/ 4056722 h 5092591"/>
              <a:gd name="connsiteX417" fmla="*/ 2821081 w 4546203"/>
              <a:gd name="connsiteY417" fmla="*/ 4090946 h 5092591"/>
              <a:gd name="connsiteX418" fmla="*/ 2860081 w 4546203"/>
              <a:gd name="connsiteY418" fmla="*/ 4076222 h 5092591"/>
              <a:gd name="connsiteX419" fmla="*/ 2846152 w 4546203"/>
              <a:gd name="connsiteY419" fmla="*/ 4041600 h 5092591"/>
              <a:gd name="connsiteX420" fmla="*/ 3512722 w 4546203"/>
              <a:gd name="connsiteY420" fmla="*/ 4040008 h 5092591"/>
              <a:gd name="connsiteX421" fmla="*/ 3474518 w 4546203"/>
              <a:gd name="connsiteY421" fmla="*/ 4071447 h 5092591"/>
              <a:gd name="connsiteX422" fmla="*/ 3495610 w 4546203"/>
              <a:gd name="connsiteY422" fmla="*/ 4097314 h 5092591"/>
              <a:gd name="connsiteX423" fmla="*/ 3534211 w 4546203"/>
              <a:gd name="connsiteY423" fmla="*/ 4065875 h 5092591"/>
              <a:gd name="connsiteX424" fmla="*/ 3512722 w 4546203"/>
              <a:gd name="connsiteY424" fmla="*/ 4040008 h 5092591"/>
              <a:gd name="connsiteX425" fmla="*/ 2889927 w 4546203"/>
              <a:gd name="connsiteY425" fmla="*/ 4024090 h 5092591"/>
              <a:gd name="connsiteX426" fmla="*/ 2852917 w 4546203"/>
              <a:gd name="connsiteY426" fmla="*/ 4039610 h 5092591"/>
              <a:gd name="connsiteX427" fmla="*/ 2866448 w 4546203"/>
              <a:gd name="connsiteY427" fmla="*/ 4073834 h 5092591"/>
              <a:gd name="connsiteX428" fmla="*/ 2904651 w 4546203"/>
              <a:gd name="connsiteY428" fmla="*/ 4057518 h 5092591"/>
              <a:gd name="connsiteX429" fmla="*/ 2889927 w 4546203"/>
              <a:gd name="connsiteY429" fmla="*/ 4024090 h 5092591"/>
              <a:gd name="connsiteX430" fmla="*/ 2629667 w 4546203"/>
              <a:gd name="connsiteY430" fmla="*/ 4019713 h 5092591"/>
              <a:gd name="connsiteX431" fmla="*/ 2595841 w 4546203"/>
              <a:gd name="connsiteY431" fmla="*/ 4027672 h 5092591"/>
              <a:gd name="connsiteX432" fmla="*/ 2605391 w 4546203"/>
              <a:gd name="connsiteY432" fmla="*/ 4067865 h 5092591"/>
              <a:gd name="connsiteX433" fmla="*/ 2639615 w 4546203"/>
              <a:gd name="connsiteY433" fmla="*/ 4060304 h 5092591"/>
              <a:gd name="connsiteX434" fmla="*/ 2629667 w 4546203"/>
              <a:gd name="connsiteY434" fmla="*/ 4019713 h 5092591"/>
              <a:gd name="connsiteX435" fmla="*/ 2183562 w 4546203"/>
              <a:gd name="connsiteY435" fmla="*/ 4012152 h 5092591"/>
              <a:gd name="connsiteX436" fmla="*/ 2179583 w 4546203"/>
              <a:gd name="connsiteY436" fmla="*/ 4075426 h 5092591"/>
              <a:gd name="connsiteX437" fmla="*/ 2232908 w 4546203"/>
              <a:gd name="connsiteY437" fmla="*/ 4078212 h 5092591"/>
              <a:gd name="connsiteX438" fmla="*/ 2232908 w 4546203"/>
              <a:gd name="connsiteY438" fmla="*/ 4014539 h 5092591"/>
              <a:gd name="connsiteX439" fmla="*/ 2183562 w 4546203"/>
              <a:gd name="connsiteY439" fmla="*/ 4012152 h 5092591"/>
              <a:gd name="connsiteX440" fmla="*/ 2382538 w 4546203"/>
              <a:gd name="connsiteY440" fmla="*/ 4010162 h 5092591"/>
              <a:gd name="connsiteX441" fmla="*/ 2334386 w 4546203"/>
              <a:gd name="connsiteY441" fmla="*/ 4013346 h 5092591"/>
              <a:gd name="connsiteX442" fmla="*/ 2334386 w 4546203"/>
              <a:gd name="connsiteY442" fmla="*/ 4076620 h 5092591"/>
              <a:gd name="connsiteX443" fmla="*/ 2387712 w 4546203"/>
              <a:gd name="connsiteY443" fmla="*/ 4073834 h 5092591"/>
              <a:gd name="connsiteX444" fmla="*/ 2382538 w 4546203"/>
              <a:gd name="connsiteY444" fmla="*/ 4010162 h 5092591"/>
              <a:gd name="connsiteX445" fmla="*/ 2109145 w 4546203"/>
              <a:gd name="connsiteY445" fmla="*/ 4005387 h 5092591"/>
              <a:gd name="connsiteX446" fmla="*/ 2102380 w 4546203"/>
              <a:gd name="connsiteY446" fmla="*/ 4068661 h 5092591"/>
              <a:gd name="connsiteX447" fmla="*/ 2155308 w 4546203"/>
              <a:gd name="connsiteY447" fmla="*/ 4073436 h 5092591"/>
              <a:gd name="connsiteX448" fmla="*/ 2159685 w 4546203"/>
              <a:gd name="connsiteY448" fmla="*/ 4010162 h 5092591"/>
              <a:gd name="connsiteX449" fmla="*/ 2109145 w 4546203"/>
              <a:gd name="connsiteY449" fmla="*/ 4005387 h 5092591"/>
              <a:gd name="connsiteX450" fmla="*/ 2933702 w 4546203"/>
              <a:gd name="connsiteY450" fmla="*/ 4004988 h 5092591"/>
              <a:gd name="connsiteX451" fmla="*/ 2897090 w 4546203"/>
              <a:gd name="connsiteY451" fmla="*/ 4021305 h 5092591"/>
              <a:gd name="connsiteX452" fmla="*/ 2912212 w 4546203"/>
              <a:gd name="connsiteY452" fmla="*/ 4055528 h 5092591"/>
              <a:gd name="connsiteX453" fmla="*/ 2949620 w 4546203"/>
              <a:gd name="connsiteY453" fmla="*/ 4037621 h 5092591"/>
              <a:gd name="connsiteX454" fmla="*/ 2933702 w 4546203"/>
              <a:gd name="connsiteY454" fmla="*/ 4004988 h 5092591"/>
              <a:gd name="connsiteX455" fmla="*/ 951503 w 4546203"/>
              <a:gd name="connsiteY455" fmla="*/ 4003397 h 5092591"/>
              <a:gd name="connsiteX456" fmla="*/ 918473 w 4546203"/>
              <a:gd name="connsiteY456" fmla="*/ 4039610 h 5092591"/>
              <a:gd name="connsiteX457" fmla="*/ 959064 w 4546203"/>
              <a:gd name="connsiteY457" fmla="*/ 4075426 h 5092591"/>
              <a:gd name="connsiteX458" fmla="*/ 990900 w 4546203"/>
              <a:gd name="connsiteY458" fmla="*/ 4037621 h 5092591"/>
              <a:gd name="connsiteX459" fmla="*/ 951503 w 4546203"/>
              <a:gd name="connsiteY459" fmla="*/ 4003397 h 5092591"/>
              <a:gd name="connsiteX460" fmla="*/ 1701643 w 4546203"/>
              <a:gd name="connsiteY460" fmla="*/ 3999815 h 5092591"/>
              <a:gd name="connsiteX461" fmla="*/ 1685724 w 4546203"/>
              <a:gd name="connsiteY461" fmla="*/ 4041600 h 5092591"/>
              <a:gd name="connsiteX462" fmla="*/ 1754570 w 4546203"/>
              <a:gd name="connsiteY462" fmla="*/ 4066671 h 5092591"/>
              <a:gd name="connsiteX463" fmla="*/ 1768896 w 4546203"/>
              <a:gd name="connsiteY463" fmla="*/ 4024090 h 5092591"/>
              <a:gd name="connsiteX464" fmla="*/ 1701643 w 4546203"/>
              <a:gd name="connsiteY464" fmla="*/ 3999815 h 5092591"/>
              <a:gd name="connsiteX465" fmla="*/ 1054175 w 4546203"/>
              <a:gd name="connsiteY465" fmla="*/ 3999019 h 5092591"/>
              <a:gd name="connsiteX466" fmla="*/ 1022737 w 4546203"/>
              <a:gd name="connsiteY466" fmla="*/ 4036825 h 5092591"/>
              <a:gd name="connsiteX467" fmla="*/ 1062930 w 4546203"/>
              <a:gd name="connsiteY467" fmla="*/ 4069457 h 5092591"/>
              <a:gd name="connsiteX468" fmla="*/ 1093572 w 4546203"/>
              <a:gd name="connsiteY468" fmla="*/ 4031253 h 5092591"/>
              <a:gd name="connsiteX469" fmla="*/ 1054175 w 4546203"/>
              <a:gd name="connsiteY469" fmla="*/ 3999019 h 5092591"/>
              <a:gd name="connsiteX470" fmla="*/ 1914149 w 4546203"/>
              <a:gd name="connsiteY470" fmla="*/ 3997825 h 5092591"/>
              <a:gd name="connsiteX471" fmla="*/ 1903404 w 4546203"/>
              <a:gd name="connsiteY471" fmla="*/ 4041998 h 5092591"/>
              <a:gd name="connsiteX472" fmla="*/ 1972648 w 4546203"/>
              <a:gd name="connsiteY472" fmla="*/ 4056722 h 5092591"/>
              <a:gd name="connsiteX473" fmla="*/ 1980607 w 4546203"/>
              <a:gd name="connsiteY473" fmla="*/ 4012550 h 5092591"/>
              <a:gd name="connsiteX474" fmla="*/ 1914149 w 4546203"/>
              <a:gd name="connsiteY474" fmla="*/ 3997825 h 5092591"/>
              <a:gd name="connsiteX475" fmla="*/ 2515056 w 4546203"/>
              <a:gd name="connsiteY475" fmla="*/ 3993846 h 5092591"/>
              <a:gd name="connsiteX476" fmla="*/ 2482026 w 4546203"/>
              <a:gd name="connsiteY476" fmla="*/ 3999417 h 5092591"/>
              <a:gd name="connsiteX477" fmla="*/ 2487996 w 4546203"/>
              <a:gd name="connsiteY477" fmla="*/ 4040008 h 5092591"/>
              <a:gd name="connsiteX478" fmla="*/ 2521821 w 4546203"/>
              <a:gd name="connsiteY478" fmla="*/ 4035233 h 5092591"/>
              <a:gd name="connsiteX479" fmla="*/ 2515056 w 4546203"/>
              <a:gd name="connsiteY479" fmla="*/ 3993846 h 5092591"/>
              <a:gd name="connsiteX480" fmla="*/ 1266681 w 4546203"/>
              <a:gd name="connsiteY480" fmla="*/ 3993050 h 5092591"/>
              <a:gd name="connsiteX481" fmla="*/ 1253947 w 4546203"/>
              <a:gd name="connsiteY481" fmla="*/ 4010958 h 5092591"/>
              <a:gd name="connsiteX482" fmla="*/ 1340302 w 4546203"/>
              <a:gd name="connsiteY482" fmla="*/ 4067069 h 5092591"/>
              <a:gd name="connsiteX483" fmla="*/ 1350251 w 4546203"/>
              <a:gd name="connsiteY483" fmla="*/ 4047569 h 5092591"/>
              <a:gd name="connsiteX484" fmla="*/ 1266681 w 4546203"/>
              <a:gd name="connsiteY484" fmla="*/ 3993050 h 5092591"/>
              <a:gd name="connsiteX485" fmla="*/ 3163718 w 4546203"/>
              <a:gd name="connsiteY485" fmla="*/ 3989866 h 5092591"/>
              <a:gd name="connsiteX486" fmla="*/ 3135861 w 4546203"/>
              <a:gd name="connsiteY486" fmla="*/ 4006978 h 5092591"/>
              <a:gd name="connsiteX487" fmla="*/ 3154565 w 4546203"/>
              <a:gd name="connsiteY487" fmla="*/ 4038019 h 5092591"/>
              <a:gd name="connsiteX488" fmla="*/ 3183218 w 4546203"/>
              <a:gd name="connsiteY488" fmla="*/ 4020509 h 5092591"/>
              <a:gd name="connsiteX489" fmla="*/ 3163718 w 4546203"/>
              <a:gd name="connsiteY489" fmla="*/ 3989866 h 5092591"/>
              <a:gd name="connsiteX490" fmla="*/ 1154459 w 4546203"/>
              <a:gd name="connsiteY490" fmla="*/ 3989070 h 5092591"/>
              <a:gd name="connsiteX491" fmla="*/ 1125010 w 4546203"/>
              <a:gd name="connsiteY491" fmla="*/ 4027672 h 5092591"/>
              <a:gd name="connsiteX492" fmla="*/ 1164805 w 4546203"/>
              <a:gd name="connsiteY492" fmla="*/ 4057518 h 5092591"/>
              <a:gd name="connsiteX493" fmla="*/ 1193458 w 4546203"/>
              <a:gd name="connsiteY493" fmla="*/ 4018519 h 5092591"/>
              <a:gd name="connsiteX494" fmla="*/ 1154459 w 4546203"/>
              <a:gd name="connsiteY494" fmla="*/ 3989070 h 5092591"/>
              <a:gd name="connsiteX495" fmla="*/ 2726369 w 4546203"/>
              <a:gd name="connsiteY495" fmla="*/ 3975938 h 5092591"/>
              <a:gd name="connsiteX496" fmla="*/ 2690155 w 4546203"/>
              <a:gd name="connsiteY496" fmla="*/ 3987479 h 5092591"/>
              <a:gd name="connsiteX497" fmla="*/ 2716818 w 4546203"/>
              <a:gd name="connsiteY497" fmla="*/ 4077416 h 5092591"/>
              <a:gd name="connsiteX498" fmla="*/ 2755419 w 4546203"/>
              <a:gd name="connsiteY498" fmla="*/ 4065875 h 5092591"/>
              <a:gd name="connsiteX499" fmla="*/ 2726369 w 4546203"/>
              <a:gd name="connsiteY499" fmla="*/ 3975938 h 5092591"/>
              <a:gd name="connsiteX500" fmla="*/ 1818640 w 4546203"/>
              <a:gd name="connsiteY500" fmla="*/ 3971561 h 5092591"/>
              <a:gd name="connsiteX501" fmla="*/ 1805508 w 4546203"/>
              <a:gd name="connsiteY501" fmla="*/ 4014142 h 5092591"/>
              <a:gd name="connsiteX502" fmla="*/ 1873160 w 4546203"/>
              <a:gd name="connsiteY502" fmla="*/ 4033641 h 5092591"/>
              <a:gd name="connsiteX503" fmla="*/ 1884700 w 4546203"/>
              <a:gd name="connsiteY503" fmla="*/ 3990264 h 5092591"/>
              <a:gd name="connsiteX504" fmla="*/ 1818640 w 4546203"/>
              <a:gd name="connsiteY504" fmla="*/ 3971561 h 5092591"/>
              <a:gd name="connsiteX505" fmla="*/ 3108801 w 4546203"/>
              <a:gd name="connsiteY505" fmla="*/ 3966387 h 5092591"/>
              <a:gd name="connsiteX506" fmla="*/ 3081342 w 4546203"/>
              <a:gd name="connsiteY506" fmla="*/ 3983101 h 5092591"/>
              <a:gd name="connsiteX507" fmla="*/ 3099648 w 4546203"/>
              <a:gd name="connsiteY507" fmla="*/ 4014142 h 5092591"/>
              <a:gd name="connsiteX508" fmla="*/ 3127106 w 4546203"/>
              <a:gd name="connsiteY508" fmla="*/ 3997825 h 5092591"/>
              <a:gd name="connsiteX509" fmla="*/ 3108801 w 4546203"/>
              <a:gd name="connsiteY509" fmla="*/ 3966387 h 5092591"/>
              <a:gd name="connsiteX510" fmla="*/ 2768154 w 4546203"/>
              <a:gd name="connsiteY510" fmla="*/ 3961612 h 5092591"/>
              <a:gd name="connsiteX511" fmla="*/ 2732338 w 4546203"/>
              <a:gd name="connsiteY511" fmla="*/ 3973948 h 5092591"/>
              <a:gd name="connsiteX512" fmla="*/ 2761389 w 4546203"/>
              <a:gd name="connsiteY512" fmla="*/ 4063487 h 5092591"/>
              <a:gd name="connsiteX513" fmla="*/ 2799592 w 4546203"/>
              <a:gd name="connsiteY513" fmla="*/ 4050753 h 5092591"/>
              <a:gd name="connsiteX514" fmla="*/ 2768154 w 4546203"/>
              <a:gd name="connsiteY514" fmla="*/ 3961612 h 5092591"/>
              <a:gd name="connsiteX515" fmla="*/ 1606532 w 4546203"/>
              <a:gd name="connsiteY515" fmla="*/ 3958428 h 5092591"/>
              <a:gd name="connsiteX516" fmla="*/ 1587430 w 4546203"/>
              <a:gd name="connsiteY516" fmla="*/ 3999019 h 5092591"/>
              <a:gd name="connsiteX517" fmla="*/ 1654684 w 4546203"/>
              <a:gd name="connsiteY517" fmla="*/ 4028866 h 5092591"/>
              <a:gd name="connsiteX518" fmla="*/ 1672194 w 4546203"/>
              <a:gd name="connsiteY518" fmla="*/ 3987479 h 5092591"/>
              <a:gd name="connsiteX519" fmla="*/ 1606532 w 4546203"/>
              <a:gd name="connsiteY519" fmla="*/ 3958428 h 5092591"/>
              <a:gd name="connsiteX520" fmla="*/ 897780 w 4546203"/>
              <a:gd name="connsiteY520" fmla="*/ 3953653 h 5092591"/>
              <a:gd name="connsiteX521" fmla="*/ 861566 w 4546203"/>
              <a:gd name="connsiteY521" fmla="*/ 3986683 h 5092591"/>
              <a:gd name="connsiteX522" fmla="*/ 900565 w 4546203"/>
              <a:gd name="connsiteY522" fmla="*/ 4022896 h 5092591"/>
              <a:gd name="connsiteX523" fmla="*/ 933595 w 4546203"/>
              <a:gd name="connsiteY523" fmla="*/ 3987479 h 5092591"/>
              <a:gd name="connsiteX524" fmla="*/ 897780 w 4546203"/>
              <a:gd name="connsiteY524" fmla="*/ 3953653 h 5092591"/>
              <a:gd name="connsiteX525" fmla="*/ 998859 w 4546203"/>
              <a:gd name="connsiteY525" fmla="*/ 3950867 h 5092591"/>
              <a:gd name="connsiteX526" fmla="*/ 966227 w 4546203"/>
              <a:gd name="connsiteY526" fmla="*/ 3987479 h 5092591"/>
              <a:gd name="connsiteX527" fmla="*/ 1004829 w 4546203"/>
              <a:gd name="connsiteY527" fmla="*/ 4021703 h 5092591"/>
              <a:gd name="connsiteX528" fmla="*/ 1037063 w 4546203"/>
              <a:gd name="connsiteY528" fmla="*/ 3984693 h 5092591"/>
              <a:gd name="connsiteX529" fmla="*/ 998859 w 4546203"/>
              <a:gd name="connsiteY529" fmla="*/ 3950867 h 5092591"/>
              <a:gd name="connsiteX530" fmla="*/ 1099541 w 4546203"/>
              <a:gd name="connsiteY530" fmla="*/ 3944898 h 5092591"/>
              <a:gd name="connsiteX531" fmla="*/ 1068103 w 4546203"/>
              <a:gd name="connsiteY531" fmla="*/ 3982305 h 5092591"/>
              <a:gd name="connsiteX532" fmla="*/ 1107102 w 4546203"/>
              <a:gd name="connsiteY532" fmla="*/ 4013743 h 5092591"/>
              <a:gd name="connsiteX533" fmla="*/ 1137347 w 4546203"/>
              <a:gd name="connsiteY533" fmla="*/ 3975540 h 5092591"/>
              <a:gd name="connsiteX534" fmla="*/ 1099541 w 4546203"/>
              <a:gd name="connsiteY534" fmla="*/ 3944898 h 5092591"/>
              <a:gd name="connsiteX535" fmla="*/ 3234553 w 4546203"/>
              <a:gd name="connsiteY535" fmla="*/ 3943704 h 5092591"/>
              <a:gd name="connsiteX536" fmla="*/ 3207493 w 4546203"/>
              <a:gd name="connsiteY536" fmla="*/ 3962010 h 5092591"/>
              <a:gd name="connsiteX537" fmla="*/ 3227788 w 4546203"/>
              <a:gd name="connsiteY537" fmla="*/ 3992652 h 5092591"/>
              <a:gd name="connsiteX538" fmla="*/ 3254849 w 4546203"/>
              <a:gd name="connsiteY538" fmla="*/ 3971959 h 5092591"/>
              <a:gd name="connsiteX539" fmla="*/ 3234553 w 4546203"/>
              <a:gd name="connsiteY539" fmla="*/ 3943704 h 5092591"/>
              <a:gd name="connsiteX540" fmla="*/ 2712441 w 4546203"/>
              <a:gd name="connsiteY540" fmla="*/ 3932959 h 5092591"/>
              <a:gd name="connsiteX541" fmla="*/ 2677819 w 4546203"/>
              <a:gd name="connsiteY541" fmla="*/ 3943704 h 5092591"/>
              <a:gd name="connsiteX542" fmla="*/ 2688165 w 4546203"/>
              <a:gd name="connsiteY542" fmla="*/ 3979122 h 5092591"/>
              <a:gd name="connsiteX543" fmla="*/ 2723981 w 4546203"/>
              <a:gd name="connsiteY543" fmla="*/ 3967979 h 5092591"/>
              <a:gd name="connsiteX544" fmla="*/ 2712441 w 4546203"/>
              <a:gd name="connsiteY544" fmla="*/ 3932959 h 5092591"/>
              <a:gd name="connsiteX545" fmla="*/ 1197835 w 4546203"/>
              <a:gd name="connsiteY545" fmla="*/ 3932561 h 5092591"/>
              <a:gd name="connsiteX546" fmla="*/ 1168387 w 4546203"/>
              <a:gd name="connsiteY546" fmla="*/ 3971561 h 5092591"/>
              <a:gd name="connsiteX547" fmla="*/ 1206590 w 4546203"/>
              <a:gd name="connsiteY547" fmla="*/ 4000611 h 5092591"/>
              <a:gd name="connsiteX548" fmla="*/ 1235243 w 4546203"/>
              <a:gd name="connsiteY548" fmla="*/ 3960816 h 5092591"/>
              <a:gd name="connsiteX549" fmla="*/ 1197835 w 4546203"/>
              <a:gd name="connsiteY549" fmla="*/ 3932561 h 5092591"/>
              <a:gd name="connsiteX550" fmla="*/ 2850928 w 4546203"/>
              <a:gd name="connsiteY550" fmla="*/ 3929378 h 5092591"/>
              <a:gd name="connsiteX551" fmla="*/ 2815908 w 4546203"/>
              <a:gd name="connsiteY551" fmla="*/ 3944500 h 5092591"/>
              <a:gd name="connsiteX552" fmla="*/ 2850132 w 4546203"/>
              <a:gd name="connsiteY552" fmla="*/ 4032049 h 5092591"/>
              <a:gd name="connsiteX553" fmla="*/ 2887539 w 4546203"/>
              <a:gd name="connsiteY553" fmla="*/ 4016131 h 5092591"/>
              <a:gd name="connsiteX554" fmla="*/ 2850928 w 4546203"/>
              <a:gd name="connsiteY554" fmla="*/ 3929378 h 5092591"/>
              <a:gd name="connsiteX555" fmla="*/ 3171677 w 4546203"/>
              <a:gd name="connsiteY555" fmla="*/ 3928184 h 5092591"/>
              <a:gd name="connsiteX556" fmla="*/ 3145014 w 4546203"/>
              <a:gd name="connsiteY556" fmla="*/ 3945296 h 5092591"/>
              <a:gd name="connsiteX557" fmla="*/ 3164514 w 4546203"/>
              <a:gd name="connsiteY557" fmla="*/ 3975938 h 5092591"/>
              <a:gd name="connsiteX558" fmla="*/ 3191973 w 4546203"/>
              <a:gd name="connsiteY558" fmla="*/ 3958030 h 5092591"/>
              <a:gd name="connsiteX559" fmla="*/ 3171677 w 4546203"/>
              <a:gd name="connsiteY559" fmla="*/ 3928184 h 5092591"/>
              <a:gd name="connsiteX560" fmla="*/ 3480488 w 4546203"/>
              <a:gd name="connsiteY560" fmla="*/ 3921817 h 5092591"/>
              <a:gd name="connsiteX561" fmla="*/ 3445468 w 4546203"/>
              <a:gd name="connsiteY561" fmla="*/ 3952061 h 5092591"/>
              <a:gd name="connsiteX562" fmla="*/ 3468151 w 4546203"/>
              <a:gd name="connsiteY562" fmla="*/ 3979520 h 5092591"/>
              <a:gd name="connsiteX563" fmla="*/ 3504365 w 4546203"/>
              <a:gd name="connsiteY563" fmla="*/ 3948877 h 5092591"/>
              <a:gd name="connsiteX564" fmla="*/ 3480488 w 4546203"/>
              <a:gd name="connsiteY564" fmla="*/ 3921817 h 5092591"/>
              <a:gd name="connsiteX565" fmla="*/ 3055873 w 4546203"/>
              <a:gd name="connsiteY565" fmla="*/ 3919827 h 5092591"/>
              <a:gd name="connsiteX566" fmla="*/ 3029210 w 4546203"/>
              <a:gd name="connsiteY566" fmla="*/ 3934551 h 5092591"/>
              <a:gd name="connsiteX567" fmla="*/ 3047516 w 4546203"/>
              <a:gd name="connsiteY567" fmla="*/ 3966387 h 5092591"/>
              <a:gd name="connsiteX568" fmla="*/ 3074179 w 4546203"/>
              <a:gd name="connsiteY568" fmla="*/ 3950469 h 5092591"/>
              <a:gd name="connsiteX569" fmla="*/ 3055873 w 4546203"/>
              <a:gd name="connsiteY569" fmla="*/ 3919827 h 5092591"/>
              <a:gd name="connsiteX570" fmla="*/ 2753032 w 4546203"/>
              <a:gd name="connsiteY570" fmla="*/ 3919031 h 5092591"/>
              <a:gd name="connsiteX571" fmla="*/ 2718808 w 4546203"/>
              <a:gd name="connsiteY571" fmla="*/ 3931367 h 5092591"/>
              <a:gd name="connsiteX572" fmla="*/ 2729950 w 4546203"/>
              <a:gd name="connsiteY572" fmla="*/ 3966785 h 5092591"/>
              <a:gd name="connsiteX573" fmla="*/ 2765368 w 4546203"/>
              <a:gd name="connsiteY573" fmla="*/ 3953653 h 5092591"/>
              <a:gd name="connsiteX574" fmla="*/ 2753032 w 4546203"/>
              <a:gd name="connsiteY574" fmla="*/ 3919031 h 5092591"/>
              <a:gd name="connsiteX575" fmla="*/ 2032341 w 4546203"/>
              <a:gd name="connsiteY575" fmla="*/ 3917439 h 5092591"/>
              <a:gd name="connsiteX576" fmla="*/ 2002892 w 4546203"/>
              <a:gd name="connsiteY576" fmla="*/ 4087763 h 5092591"/>
              <a:gd name="connsiteX577" fmla="*/ 2063779 w 4546203"/>
              <a:gd name="connsiteY577" fmla="*/ 4096517 h 5092591"/>
              <a:gd name="connsiteX578" fmla="*/ 2086462 w 4546203"/>
              <a:gd name="connsiteY578" fmla="*/ 3925000 h 5092591"/>
              <a:gd name="connsiteX579" fmla="*/ 2032341 w 4546203"/>
              <a:gd name="connsiteY579" fmla="*/ 3917439 h 5092591"/>
              <a:gd name="connsiteX580" fmla="*/ 2891917 w 4546203"/>
              <a:gd name="connsiteY580" fmla="*/ 3911868 h 5092591"/>
              <a:gd name="connsiteX581" fmla="*/ 2856897 w 4546203"/>
              <a:gd name="connsiteY581" fmla="*/ 3926990 h 5092591"/>
              <a:gd name="connsiteX582" fmla="*/ 2894305 w 4546203"/>
              <a:gd name="connsiteY582" fmla="*/ 4014142 h 5092591"/>
              <a:gd name="connsiteX583" fmla="*/ 2930916 w 4546203"/>
              <a:gd name="connsiteY583" fmla="*/ 3996632 h 5092591"/>
              <a:gd name="connsiteX584" fmla="*/ 2891917 w 4546203"/>
              <a:gd name="connsiteY584" fmla="*/ 3911868 h 5092591"/>
              <a:gd name="connsiteX585" fmla="*/ 1838538 w 4546203"/>
              <a:gd name="connsiteY585" fmla="*/ 3909082 h 5092591"/>
              <a:gd name="connsiteX586" fmla="*/ 1825008 w 4546203"/>
              <a:gd name="connsiteY586" fmla="*/ 3952061 h 5092591"/>
              <a:gd name="connsiteX587" fmla="*/ 1889874 w 4546203"/>
              <a:gd name="connsiteY587" fmla="*/ 3970765 h 5092591"/>
              <a:gd name="connsiteX588" fmla="*/ 1901016 w 4546203"/>
              <a:gd name="connsiteY588" fmla="*/ 3926990 h 5092591"/>
              <a:gd name="connsiteX589" fmla="*/ 1838538 w 4546203"/>
              <a:gd name="connsiteY589" fmla="*/ 3909082 h 5092591"/>
              <a:gd name="connsiteX590" fmla="*/ 2793225 w 4546203"/>
              <a:gd name="connsiteY590" fmla="*/ 3904307 h 5092591"/>
              <a:gd name="connsiteX591" fmla="*/ 2759001 w 4546203"/>
              <a:gd name="connsiteY591" fmla="*/ 3917041 h 5092591"/>
              <a:gd name="connsiteX592" fmla="*/ 2771735 w 4546203"/>
              <a:gd name="connsiteY592" fmla="*/ 3952061 h 5092591"/>
              <a:gd name="connsiteX593" fmla="*/ 2806755 w 4546203"/>
              <a:gd name="connsiteY593" fmla="*/ 3938929 h 5092591"/>
              <a:gd name="connsiteX594" fmla="*/ 2793225 w 4546203"/>
              <a:gd name="connsiteY594" fmla="*/ 3904307 h 5092591"/>
              <a:gd name="connsiteX595" fmla="*/ 949115 w 4546203"/>
              <a:gd name="connsiteY595" fmla="*/ 3904307 h 5092591"/>
              <a:gd name="connsiteX596" fmla="*/ 911708 w 4546203"/>
              <a:gd name="connsiteY596" fmla="*/ 3936143 h 5092591"/>
              <a:gd name="connsiteX597" fmla="*/ 948717 w 4546203"/>
              <a:gd name="connsiteY597" fmla="*/ 3971561 h 5092591"/>
              <a:gd name="connsiteX598" fmla="*/ 982145 w 4546203"/>
              <a:gd name="connsiteY598" fmla="*/ 3935745 h 5092591"/>
              <a:gd name="connsiteX599" fmla="*/ 949115 w 4546203"/>
              <a:gd name="connsiteY599" fmla="*/ 3904307 h 5092591"/>
              <a:gd name="connsiteX600" fmla="*/ 2983844 w 4546203"/>
              <a:gd name="connsiteY600" fmla="*/ 3899531 h 5092591"/>
              <a:gd name="connsiteX601" fmla="*/ 2930916 w 4546203"/>
              <a:gd name="connsiteY601" fmla="*/ 3926592 h 5092591"/>
              <a:gd name="connsiteX602" fmla="*/ 2977874 w 4546203"/>
              <a:gd name="connsiteY602" fmla="*/ 4024090 h 5092591"/>
              <a:gd name="connsiteX603" fmla="*/ 3034782 w 4546203"/>
              <a:gd name="connsiteY603" fmla="*/ 3995040 h 5092591"/>
              <a:gd name="connsiteX604" fmla="*/ 2983844 w 4546203"/>
              <a:gd name="connsiteY604" fmla="*/ 3899531 h 5092591"/>
              <a:gd name="connsiteX605" fmla="*/ 1046216 w 4546203"/>
              <a:gd name="connsiteY605" fmla="*/ 3898337 h 5092591"/>
              <a:gd name="connsiteX606" fmla="*/ 1013982 w 4546203"/>
              <a:gd name="connsiteY606" fmla="*/ 3934949 h 5092591"/>
              <a:gd name="connsiteX607" fmla="*/ 1051389 w 4546203"/>
              <a:gd name="connsiteY607" fmla="*/ 3967979 h 5092591"/>
              <a:gd name="connsiteX608" fmla="*/ 1082827 w 4546203"/>
              <a:gd name="connsiteY608" fmla="*/ 3930174 h 5092591"/>
              <a:gd name="connsiteX609" fmla="*/ 1046216 w 4546203"/>
              <a:gd name="connsiteY609" fmla="*/ 3898337 h 5092591"/>
              <a:gd name="connsiteX610" fmla="*/ 1145306 w 4546203"/>
              <a:gd name="connsiteY610" fmla="*/ 3890378 h 5092591"/>
              <a:gd name="connsiteX611" fmla="*/ 1113868 w 4546203"/>
              <a:gd name="connsiteY611" fmla="*/ 3928184 h 5092591"/>
              <a:gd name="connsiteX612" fmla="*/ 1151673 w 4546203"/>
              <a:gd name="connsiteY612" fmla="*/ 3958428 h 5092591"/>
              <a:gd name="connsiteX613" fmla="*/ 1181519 w 4546203"/>
              <a:gd name="connsiteY613" fmla="*/ 3920225 h 5092591"/>
              <a:gd name="connsiteX614" fmla="*/ 1145306 w 4546203"/>
              <a:gd name="connsiteY614" fmla="*/ 3890378 h 5092591"/>
              <a:gd name="connsiteX615" fmla="*/ 3438902 w 4546203"/>
              <a:gd name="connsiteY615" fmla="*/ 3889384 h 5092591"/>
              <a:gd name="connsiteX616" fmla="*/ 3408856 w 4546203"/>
              <a:gd name="connsiteY616" fmla="*/ 3908684 h 5092591"/>
              <a:gd name="connsiteX617" fmla="*/ 3429948 w 4546203"/>
              <a:gd name="connsiteY617" fmla="*/ 3934153 h 5092591"/>
              <a:gd name="connsiteX618" fmla="*/ 3452233 w 4546203"/>
              <a:gd name="connsiteY618" fmla="*/ 3915449 h 5092591"/>
              <a:gd name="connsiteX619" fmla="*/ 3464172 w 4546203"/>
              <a:gd name="connsiteY619" fmla="*/ 3905899 h 5092591"/>
              <a:gd name="connsiteX620" fmla="*/ 3438902 w 4546203"/>
              <a:gd name="connsiteY620" fmla="*/ 3889384 h 5092591"/>
              <a:gd name="connsiteX621" fmla="*/ 2833418 w 4546203"/>
              <a:gd name="connsiteY621" fmla="*/ 3888389 h 5092591"/>
              <a:gd name="connsiteX622" fmla="*/ 2799592 w 4546203"/>
              <a:gd name="connsiteY622" fmla="*/ 3902317 h 5092591"/>
              <a:gd name="connsiteX623" fmla="*/ 2813520 w 4546203"/>
              <a:gd name="connsiteY623" fmla="*/ 3936541 h 5092591"/>
              <a:gd name="connsiteX624" fmla="*/ 2848142 w 4546203"/>
              <a:gd name="connsiteY624" fmla="*/ 3922215 h 5092591"/>
              <a:gd name="connsiteX625" fmla="*/ 2833418 w 4546203"/>
              <a:gd name="connsiteY625" fmla="*/ 3888389 h 5092591"/>
              <a:gd name="connsiteX626" fmla="*/ 2694135 w 4546203"/>
              <a:gd name="connsiteY626" fmla="*/ 3878440 h 5092591"/>
              <a:gd name="connsiteX627" fmla="*/ 2661503 w 4546203"/>
              <a:gd name="connsiteY627" fmla="*/ 3889185 h 5092591"/>
              <a:gd name="connsiteX628" fmla="*/ 2672645 w 4546203"/>
              <a:gd name="connsiteY628" fmla="*/ 3925398 h 5092591"/>
              <a:gd name="connsiteX629" fmla="*/ 2707267 w 4546203"/>
              <a:gd name="connsiteY629" fmla="*/ 3915449 h 5092591"/>
              <a:gd name="connsiteX630" fmla="*/ 2694135 w 4546203"/>
              <a:gd name="connsiteY630" fmla="*/ 3878440 h 5092591"/>
              <a:gd name="connsiteX631" fmla="*/ 1749397 w 4546203"/>
              <a:gd name="connsiteY631" fmla="*/ 3877644 h 5092591"/>
              <a:gd name="connsiteX632" fmla="*/ 1733081 w 4546203"/>
              <a:gd name="connsiteY632" fmla="*/ 3919827 h 5092591"/>
              <a:gd name="connsiteX633" fmla="*/ 1796355 w 4546203"/>
              <a:gd name="connsiteY633" fmla="*/ 3942908 h 5092591"/>
              <a:gd name="connsiteX634" fmla="*/ 1810681 w 4546203"/>
              <a:gd name="connsiteY634" fmla="*/ 3900327 h 5092591"/>
              <a:gd name="connsiteX635" fmla="*/ 1749397 w 4546203"/>
              <a:gd name="connsiteY635" fmla="*/ 3877644 h 5092591"/>
              <a:gd name="connsiteX636" fmla="*/ 1241610 w 4546203"/>
              <a:gd name="connsiteY636" fmla="*/ 3876848 h 5092591"/>
              <a:gd name="connsiteX637" fmla="*/ 1211366 w 4546203"/>
              <a:gd name="connsiteY637" fmla="*/ 3915449 h 5092591"/>
              <a:gd name="connsiteX638" fmla="*/ 1248773 w 4546203"/>
              <a:gd name="connsiteY638" fmla="*/ 3943306 h 5092591"/>
              <a:gd name="connsiteX639" fmla="*/ 1277028 w 4546203"/>
              <a:gd name="connsiteY639" fmla="*/ 3903511 h 5092591"/>
              <a:gd name="connsiteX640" fmla="*/ 1241610 w 4546203"/>
              <a:gd name="connsiteY640" fmla="*/ 3876848 h 5092591"/>
              <a:gd name="connsiteX641" fmla="*/ 2872815 w 4546203"/>
              <a:gd name="connsiteY641" fmla="*/ 3870879 h 5092591"/>
              <a:gd name="connsiteX642" fmla="*/ 2839387 w 4546203"/>
              <a:gd name="connsiteY642" fmla="*/ 3885603 h 5092591"/>
              <a:gd name="connsiteX643" fmla="*/ 2854111 w 4546203"/>
              <a:gd name="connsiteY643" fmla="*/ 3920225 h 5092591"/>
              <a:gd name="connsiteX644" fmla="*/ 2888335 w 4546203"/>
              <a:gd name="connsiteY644" fmla="*/ 3904307 h 5092591"/>
              <a:gd name="connsiteX645" fmla="*/ 2872815 w 4546203"/>
              <a:gd name="connsiteY645" fmla="*/ 3870879 h 5092591"/>
              <a:gd name="connsiteX646" fmla="*/ 3182024 w 4546203"/>
              <a:gd name="connsiteY646" fmla="*/ 3868093 h 5092591"/>
              <a:gd name="connsiteX647" fmla="*/ 3156953 w 4546203"/>
              <a:gd name="connsiteY647" fmla="*/ 3885603 h 5092591"/>
              <a:gd name="connsiteX648" fmla="*/ 3177248 w 4546203"/>
              <a:gd name="connsiteY648" fmla="*/ 3915847 h 5092591"/>
              <a:gd name="connsiteX649" fmla="*/ 3203115 w 4546203"/>
              <a:gd name="connsiteY649" fmla="*/ 3897541 h 5092591"/>
              <a:gd name="connsiteX650" fmla="*/ 3182024 w 4546203"/>
              <a:gd name="connsiteY650" fmla="*/ 3868093 h 5092591"/>
              <a:gd name="connsiteX651" fmla="*/ 2734328 w 4546203"/>
              <a:gd name="connsiteY651" fmla="*/ 3865307 h 5092591"/>
              <a:gd name="connsiteX652" fmla="*/ 2701696 w 4546203"/>
              <a:gd name="connsiteY652" fmla="*/ 3876848 h 5092591"/>
              <a:gd name="connsiteX653" fmla="*/ 2713236 w 4546203"/>
              <a:gd name="connsiteY653" fmla="*/ 3913062 h 5092591"/>
              <a:gd name="connsiteX654" fmla="*/ 2747460 w 4546203"/>
              <a:gd name="connsiteY654" fmla="*/ 3901521 h 5092591"/>
              <a:gd name="connsiteX655" fmla="*/ 2734328 w 4546203"/>
              <a:gd name="connsiteY655" fmla="*/ 3865307 h 5092591"/>
              <a:gd name="connsiteX656" fmla="*/ 997268 w 4546203"/>
              <a:gd name="connsiteY656" fmla="*/ 3852573 h 5092591"/>
              <a:gd name="connsiteX657" fmla="*/ 960258 w 4546203"/>
              <a:gd name="connsiteY657" fmla="*/ 3884807 h 5092591"/>
              <a:gd name="connsiteX658" fmla="*/ 996870 w 4546203"/>
              <a:gd name="connsiteY658" fmla="*/ 3919429 h 5092591"/>
              <a:gd name="connsiteX659" fmla="*/ 1030298 w 4546203"/>
              <a:gd name="connsiteY659" fmla="*/ 3883613 h 5092591"/>
              <a:gd name="connsiteX660" fmla="*/ 997268 w 4546203"/>
              <a:gd name="connsiteY660" fmla="*/ 3852573 h 5092591"/>
              <a:gd name="connsiteX661" fmla="*/ 3121933 w 4546203"/>
              <a:gd name="connsiteY661" fmla="*/ 3850981 h 5092591"/>
              <a:gd name="connsiteX662" fmla="*/ 3096862 w 4546203"/>
              <a:gd name="connsiteY662" fmla="*/ 3867695 h 5092591"/>
              <a:gd name="connsiteX663" fmla="*/ 3115964 w 4546203"/>
              <a:gd name="connsiteY663" fmla="*/ 3897940 h 5092591"/>
              <a:gd name="connsiteX664" fmla="*/ 3141433 w 4546203"/>
              <a:gd name="connsiteY664" fmla="*/ 3881623 h 5092591"/>
              <a:gd name="connsiteX665" fmla="*/ 3121933 w 4546203"/>
              <a:gd name="connsiteY665" fmla="*/ 3850981 h 5092591"/>
              <a:gd name="connsiteX666" fmla="*/ 2772531 w 4546203"/>
              <a:gd name="connsiteY666" fmla="*/ 3850583 h 5092591"/>
              <a:gd name="connsiteX667" fmla="*/ 2739899 w 4546203"/>
              <a:gd name="connsiteY667" fmla="*/ 3863318 h 5092591"/>
              <a:gd name="connsiteX668" fmla="*/ 2753032 w 4546203"/>
              <a:gd name="connsiteY668" fmla="*/ 3899531 h 5092591"/>
              <a:gd name="connsiteX669" fmla="*/ 2786459 w 4546203"/>
              <a:gd name="connsiteY669" fmla="*/ 3886399 h 5092591"/>
              <a:gd name="connsiteX670" fmla="*/ 2772531 w 4546203"/>
              <a:gd name="connsiteY670" fmla="*/ 3850583 h 5092591"/>
              <a:gd name="connsiteX671" fmla="*/ 3039159 w 4546203"/>
              <a:gd name="connsiteY671" fmla="*/ 3848593 h 5092591"/>
              <a:gd name="connsiteX672" fmla="*/ 3014088 w 4546203"/>
              <a:gd name="connsiteY672" fmla="*/ 3863318 h 5092591"/>
              <a:gd name="connsiteX673" fmla="*/ 3031996 w 4546203"/>
              <a:gd name="connsiteY673" fmla="*/ 3894358 h 5092591"/>
              <a:gd name="connsiteX674" fmla="*/ 3057863 w 4546203"/>
              <a:gd name="connsiteY674" fmla="*/ 3879634 h 5092591"/>
              <a:gd name="connsiteX675" fmla="*/ 3039159 w 4546203"/>
              <a:gd name="connsiteY675" fmla="*/ 3848593 h 5092591"/>
              <a:gd name="connsiteX676" fmla="*/ 1093970 w 4546203"/>
              <a:gd name="connsiteY676" fmla="*/ 3846206 h 5092591"/>
              <a:gd name="connsiteX677" fmla="*/ 1061338 w 4546203"/>
              <a:gd name="connsiteY677" fmla="*/ 3882419 h 5092591"/>
              <a:gd name="connsiteX678" fmla="*/ 1097551 w 4546203"/>
              <a:gd name="connsiteY678" fmla="*/ 3913858 h 5092591"/>
              <a:gd name="connsiteX679" fmla="*/ 1129388 w 4546203"/>
              <a:gd name="connsiteY679" fmla="*/ 3876848 h 5092591"/>
              <a:gd name="connsiteX680" fmla="*/ 1093970 w 4546203"/>
              <a:gd name="connsiteY680" fmla="*/ 3846206 h 5092591"/>
              <a:gd name="connsiteX681" fmla="*/ 1662245 w 4546203"/>
              <a:gd name="connsiteY681" fmla="*/ 3840237 h 5092591"/>
              <a:gd name="connsiteX682" fmla="*/ 1643144 w 4546203"/>
              <a:gd name="connsiteY682" fmla="*/ 3880828 h 5092591"/>
              <a:gd name="connsiteX683" fmla="*/ 1705224 w 4546203"/>
              <a:gd name="connsiteY683" fmla="*/ 3908286 h 5092591"/>
              <a:gd name="connsiteX684" fmla="*/ 1722336 w 4546203"/>
              <a:gd name="connsiteY684" fmla="*/ 3866899 h 5092591"/>
              <a:gd name="connsiteX685" fmla="*/ 1662245 w 4546203"/>
              <a:gd name="connsiteY685" fmla="*/ 3840237 h 5092591"/>
              <a:gd name="connsiteX686" fmla="*/ 1190274 w 4546203"/>
              <a:gd name="connsiteY686" fmla="*/ 3836257 h 5092591"/>
              <a:gd name="connsiteX687" fmla="*/ 1159234 w 4546203"/>
              <a:gd name="connsiteY687" fmla="*/ 3873664 h 5092591"/>
              <a:gd name="connsiteX688" fmla="*/ 1195448 w 4546203"/>
              <a:gd name="connsiteY688" fmla="*/ 3902317 h 5092591"/>
              <a:gd name="connsiteX689" fmla="*/ 1225692 w 4546203"/>
              <a:gd name="connsiteY689" fmla="*/ 3864114 h 5092591"/>
              <a:gd name="connsiteX690" fmla="*/ 1190274 w 4546203"/>
              <a:gd name="connsiteY690" fmla="*/ 3836257 h 5092591"/>
              <a:gd name="connsiteX691" fmla="*/ 2810337 w 4546203"/>
              <a:gd name="connsiteY691" fmla="*/ 3835859 h 5092591"/>
              <a:gd name="connsiteX692" fmla="*/ 2778500 w 4546203"/>
              <a:gd name="connsiteY692" fmla="*/ 3848992 h 5092591"/>
              <a:gd name="connsiteX693" fmla="*/ 2792827 w 4546203"/>
              <a:gd name="connsiteY693" fmla="*/ 3884807 h 5092591"/>
              <a:gd name="connsiteX694" fmla="*/ 2826255 w 4546203"/>
              <a:gd name="connsiteY694" fmla="*/ 3870481 h 5092591"/>
              <a:gd name="connsiteX695" fmla="*/ 2810337 w 4546203"/>
              <a:gd name="connsiteY695" fmla="*/ 3835859 h 5092591"/>
              <a:gd name="connsiteX696" fmla="*/ 3191574 w 4546203"/>
              <a:gd name="connsiteY696" fmla="*/ 3828298 h 5092591"/>
              <a:gd name="connsiteX697" fmla="*/ 3188789 w 4546203"/>
              <a:gd name="connsiteY697" fmla="*/ 3831879 h 5092591"/>
              <a:gd name="connsiteX698" fmla="*/ 3287481 w 4546203"/>
              <a:gd name="connsiteY698" fmla="*/ 3969571 h 5092591"/>
              <a:gd name="connsiteX699" fmla="*/ 3340806 w 4546203"/>
              <a:gd name="connsiteY699" fmla="*/ 3929378 h 5092591"/>
              <a:gd name="connsiteX700" fmla="*/ 3254053 w 4546203"/>
              <a:gd name="connsiteY700" fmla="*/ 3854961 h 5092591"/>
              <a:gd name="connsiteX701" fmla="*/ 3205105 w 4546203"/>
              <a:gd name="connsiteY701" fmla="*/ 3833471 h 5092591"/>
              <a:gd name="connsiteX702" fmla="*/ 3191574 w 4546203"/>
              <a:gd name="connsiteY702" fmla="*/ 3828298 h 5092591"/>
              <a:gd name="connsiteX703" fmla="*/ 1284987 w 4546203"/>
              <a:gd name="connsiteY703" fmla="*/ 3820737 h 5092591"/>
              <a:gd name="connsiteX704" fmla="*/ 1255140 w 4546203"/>
              <a:gd name="connsiteY704" fmla="*/ 3859338 h 5092591"/>
              <a:gd name="connsiteX705" fmla="*/ 1290956 w 4546203"/>
              <a:gd name="connsiteY705" fmla="*/ 3885603 h 5092591"/>
              <a:gd name="connsiteX706" fmla="*/ 1319609 w 4546203"/>
              <a:gd name="connsiteY706" fmla="*/ 3846604 h 5092591"/>
              <a:gd name="connsiteX707" fmla="*/ 1284987 w 4546203"/>
              <a:gd name="connsiteY707" fmla="*/ 3820737 h 5092591"/>
              <a:gd name="connsiteX708" fmla="*/ 2848938 w 4546203"/>
              <a:gd name="connsiteY708" fmla="*/ 3818747 h 5092591"/>
              <a:gd name="connsiteX709" fmla="*/ 2816704 w 4546203"/>
              <a:gd name="connsiteY709" fmla="*/ 3833073 h 5092591"/>
              <a:gd name="connsiteX710" fmla="*/ 2832224 w 4546203"/>
              <a:gd name="connsiteY710" fmla="*/ 3868491 h 5092591"/>
              <a:gd name="connsiteX711" fmla="*/ 2864856 w 4546203"/>
              <a:gd name="connsiteY711" fmla="*/ 3853369 h 5092591"/>
              <a:gd name="connsiteX712" fmla="*/ 2848938 w 4546203"/>
              <a:gd name="connsiteY712" fmla="*/ 3818747 h 5092591"/>
              <a:gd name="connsiteX713" fmla="*/ 1048205 w 4546203"/>
              <a:gd name="connsiteY713" fmla="*/ 3802829 h 5092591"/>
              <a:gd name="connsiteX714" fmla="*/ 1010400 w 4546203"/>
              <a:gd name="connsiteY714" fmla="*/ 3834665 h 5092591"/>
              <a:gd name="connsiteX715" fmla="*/ 1045420 w 4546203"/>
              <a:gd name="connsiteY715" fmla="*/ 3867695 h 5092591"/>
              <a:gd name="connsiteX716" fmla="*/ 1078450 w 4546203"/>
              <a:gd name="connsiteY716" fmla="*/ 3831482 h 5092591"/>
              <a:gd name="connsiteX717" fmla="*/ 1048205 w 4546203"/>
              <a:gd name="connsiteY717" fmla="*/ 3802829 h 5092591"/>
              <a:gd name="connsiteX718" fmla="*/ 3237339 w 4546203"/>
              <a:gd name="connsiteY718" fmla="*/ 3794870 h 5092591"/>
              <a:gd name="connsiteX719" fmla="*/ 3208289 w 4546203"/>
              <a:gd name="connsiteY719" fmla="*/ 3817553 h 5092591"/>
              <a:gd name="connsiteX720" fmla="*/ 3269573 w 4546203"/>
              <a:gd name="connsiteY720" fmla="*/ 3844216 h 5092591"/>
              <a:gd name="connsiteX721" fmla="*/ 3273155 w 4546203"/>
              <a:gd name="connsiteY721" fmla="*/ 3841032 h 5092591"/>
              <a:gd name="connsiteX722" fmla="*/ 3237339 w 4546203"/>
              <a:gd name="connsiteY722" fmla="*/ 3794870 h 5092591"/>
              <a:gd name="connsiteX723" fmla="*/ 1141326 w 4546203"/>
              <a:gd name="connsiteY723" fmla="*/ 3792880 h 5092591"/>
              <a:gd name="connsiteX724" fmla="*/ 1108694 w 4546203"/>
              <a:gd name="connsiteY724" fmla="*/ 3829492 h 5092591"/>
              <a:gd name="connsiteX725" fmla="*/ 1143714 w 4546203"/>
              <a:gd name="connsiteY725" fmla="*/ 3859736 h 5092591"/>
              <a:gd name="connsiteX726" fmla="*/ 1175550 w 4546203"/>
              <a:gd name="connsiteY726" fmla="*/ 3822727 h 5092591"/>
              <a:gd name="connsiteX727" fmla="*/ 1141326 w 4546203"/>
              <a:gd name="connsiteY727" fmla="*/ 3792880 h 5092591"/>
              <a:gd name="connsiteX728" fmla="*/ 3128698 w 4546203"/>
              <a:gd name="connsiteY728" fmla="*/ 3790890 h 5092591"/>
              <a:gd name="connsiteX729" fmla="*/ 3105219 w 4546203"/>
              <a:gd name="connsiteY729" fmla="*/ 3808002 h 5092591"/>
              <a:gd name="connsiteX730" fmla="*/ 3125515 w 4546203"/>
              <a:gd name="connsiteY730" fmla="*/ 3837451 h 5092591"/>
              <a:gd name="connsiteX731" fmla="*/ 3150188 w 4546203"/>
              <a:gd name="connsiteY731" fmla="*/ 3820737 h 5092591"/>
              <a:gd name="connsiteX732" fmla="*/ 3128698 w 4546203"/>
              <a:gd name="connsiteY732" fmla="*/ 3790890 h 5092591"/>
              <a:gd name="connsiteX733" fmla="*/ 1236437 w 4546203"/>
              <a:gd name="connsiteY733" fmla="*/ 3781340 h 5092591"/>
              <a:gd name="connsiteX734" fmla="*/ 1205396 w 4546203"/>
              <a:gd name="connsiteY734" fmla="*/ 3819145 h 5092591"/>
              <a:gd name="connsiteX735" fmla="*/ 1239620 w 4546203"/>
              <a:gd name="connsiteY735" fmla="*/ 3847002 h 5092591"/>
              <a:gd name="connsiteX736" fmla="*/ 1269865 w 4546203"/>
              <a:gd name="connsiteY736" fmla="*/ 3808798 h 5092591"/>
              <a:gd name="connsiteX737" fmla="*/ 1236437 w 4546203"/>
              <a:gd name="connsiteY737" fmla="*/ 3781340 h 5092591"/>
              <a:gd name="connsiteX738" fmla="*/ 2919376 w 4546203"/>
              <a:gd name="connsiteY738" fmla="*/ 3776166 h 5092591"/>
              <a:gd name="connsiteX739" fmla="*/ 2872019 w 4546203"/>
              <a:gd name="connsiteY739" fmla="*/ 3800839 h 5092591"/>
              <a:gd name="connsiteX740" fmla="*/ 2920171 w 4546203"/>
              <a:gd name="connsiteY740" fmla="*/ 3901123 h 5092591"/>
              <a:gd name="connsiteX741" fmla="*/ 2971507 w 4546203"/>
              <a:gd name="connsiteY741" fmla="*/ 3874858 h 5092591"/>
              <a:gd name="connsiteX742" fmla="*/ 2919376 w 4546203"/>
              <a:gd name="connsiteY742" fmla="*/ 3776166 h 5092591"/>
              <a:gd name="connsiteX743" fmla="*/ 3070199 w 4546203"/>
              <a:gd name="connsiteY743" fmla="*/ 3772983 h 5092591"/>
              <a:gd name="connsiteX744" fmla="*/ 3046720 w 4546203"/>
              <a:gd name="connsiteY744" fmla="*/ 3788503 h 5092591"/>
              <a:gd name="connsiteX745" fmla="*/ 3065822 w 4546203"/>
              <a:gd name="connsiteY745" fmla="*/ 3819145 h 5092591"/>
              <a:gd name="connsiteX746" fmla="*/ 3090097 w 4546203"/>
              <a:gd name="connsiteY746" fmla="*/ 3803227 h 5092591"/>
              <a:gd name="connsiteX747" fmla="*/ 3070199 w 4546203"/>
              <a:gd name="connsiteY747" fmla="*/ 3772983 h 5092591"/>
              <a:gd name="connsiteX748" fmla="*/ 1328364 w 4546203"/>
              <a:gd name="connsiteY748" fmla="*/ 3764626 h 5092591"/>
              <a:gd name="connsiteX749" fmla="*/ 1298517 w 4546203"/>
              <a:gd name="connsiteY749" fmla="*/ 3803227 h 5092591"/>
              <a:gd name="connsiteX750" fmla="*/ 1332741 w 4546203"/>
              <a:gd name="connsiteY750" fmla="*/ 3828696 h 5092591"/>
              <a:gd name="connsiteX751" fmla="*/ 1360996 w 4546203"/>
              <a:gd name="connsiteY751" fmla="*/ 3789697 h 5092591"/>
              <a:gd name="connsiteX752" fmla="*/ 1328364 w 4546203"/>
              <a:gd name="connsiteY752" fmla="*/ 3764626 h 5092591"/>
              <a:gd name="connsiteX753" fmla="*/ 3011302 w 4546203"/>
              <a:gd name="connsiteY753" fmla="*/ 3758656 h 5092591"/>
              <a:gd name="connsiteX754" fmla="*/ 2987823 w 4546203"/>
              <a:gd name="connsiteY754" fmla="*/ 3772983 h 5092591"/>
              <a:gd name="connsiteX755" fmla="*/ 3006925 w 4546203"/>
              <a:gd name="connsiteY755" fmla="*/ 3804023 h 5092591"/>
              <a:gd name="connsiteX756" fmla="*/ 3030404 w 4546203"/>
              <a:gd name="connsiteY756" fmla="*/ 3789299 h 5092591"/>
              <a:gd name="connsiteX757" fmla="*/ 3011302 w 4546203"/>
              <a:gd name="connsiteY757" fmla="*/ 3758656 h 5092591"/>
              <a:gd name="connsiteX758" fmla="*/ 3476508 w 4546203"/>
              <a:gd name="connsiteY758" fmla="*/ 3754279 h 5092591"/>
              <a:gd name="connsiteX759" fmla="*/ 3445468 w 4546203"/>
              <a:gd name="connsiteY759" fmla="*/ 3783727 h 5092591"/>
              <a:gd name="connsiteX760" fmla="*/ 3469345 w 4546203"/>
              <a:gd name="connsiteY760" fmla="*/ 3807604 h 5092591"/>
              <a:gd name="connsiteX761" fmla="*/ 3497202 w 4546203"/>
              <a:gd name="connsiteY761" fmla="*/ 3776166 h 5092591"/>
              <a:gd name="connsiteX762" fmla="*/ 3476508 w 4546203"/>
              <a:gd name="connsiteY762" fmla="*/ 3754279 h 5092591"/>
              <a:gd name="connsiteX763" fmla="*/ 1097153 w 4546203"/>
              <a:gd name="connsiteY763" fmla="*/ 3751891 h 5092591"/>
              <a:gd name="connsiteX764" fmla="*/ 1060542 w 4546203"/>
              <a:gd name="connsiteY764" fmla="*/ 3784523 h 5092591"/>
              <a:gd name="connsiteX765" fmla="*/ 1093572 w 4546203"/>
              <a:gd name="connsiteY765" fmla="*/ 3815563 h 5092591"/>
              <a:gd name="connsiteX766" fmla="*/ 1126602 w 4546203"/>
              <a:gd name="connsiteY766" fmla="*/ 3779748 h 5092591"/>
              <a:gd name="connsiteX767" fmla="*/ 1097153 w 4546203"/>
              <a:gd name="connsiteY767" fmla="*/ 3751891 h 5092591"/>
              <a:gd name="connsiteX768" fmla="*/ 3299420 w 4546203"/>
              <a:gd name="connsiteY768" fmla="*/ 3746718 h 5092591"/>
              <a:gd name="connsiteX769" fmla="*/ 3268777 w 4546203"/>
              <a:gd name="connsiteY769" fmla="*/ 3772585 h 5092591"/>
              <a:gd name="connsiteX770" fmla="*/ 3293052 w 4546203"/>
              <a:gd name="connsiteY770" fmla="*/ 3802033 h 5092591"/>
              <a:gd name="connsiteX771" fmla="*/ 3324093 w 4546203"/>
              <a:gd name="connsiteY771" fmla="*/ 3774972 h 5092591"/>
              <a:gd name="connsiteX772" fmla="*/ 3299420 w 4546203"/>
              <a:gd name="connsiteY772" fmla="*/ 3746718 h 5092591"/>
              <a:gd name="connsiteX773" fmla="*/ 1189478 w 4546203"/>
              <a:gd name="connsiteY773" fmla="*/ 3740350 h 5092591"/>
              <a:gd name="connsiteX774" fmla="*/ 1156448 w 4546203"/>
              <a:gd name="connsiteY774" fmla="*/ 3776962 h 5092591"/>
              <a:gd name="connsiteX775" fmla="*/ 1190672 w 4546203"/>
              <a:gd name="connsiteY775" fmla="*/ 3805615 h 5092591"/>
              <a:gd name="connsiteX776" fmla="*/ 1221713 w 4546203"/>
              <a:gd name="connsiteY776" fmla="*/ 3769003 h 5092591"/>
              <a:gd name="connsiteX777" fmla="*/ 1189478 w 4546203"/>
              <a:gd name="connsiteY777" fmla="*/ 3740350 h 5092591"/>
              <a:gd name="connsiteX778" fmla="*/ 1281405 w 4546203"/>
              <a:gd name="connsiteY778" fmla="*/ 3727218 h 5092591"/>
              <a:gd name="connsiteX779" fmla="*/ 1250365 w 4546203"/>
              <a:gd name="connsiteY779" fmla="*/ 3765024 h 5092591"/>
              <a:gd name="connsiteX780" fmla="*/ 1283395 w 4546203"/>
              <a:gd name="connsiteY780" fmla="*/ 3791686 h 5092591"/>
              <a:gd name="connsiteX781" fmla="*/ 1313639 w 4546203"/>
              <a:gd name="connsiteY781" fmla="*/ 3753085 h 5092591"/>
              <a:gd name="connsiteX782" fmla="*/ 1281405 w 4546203"/>
              <a:gd name="connsiteY782" fmla="*/ 3727218 h 5092591"/>
              <a:gd name="connsiteX783" fmla="*/ 3161728 w 4546203"/>
              <a:gd name="connsiteY783" fmla="*/ 3709708 h 5092591"/>
              <a:gd name="connsiteX784" fmla="*/ 3119147 w 4546203"/>
              <a:gd name="connsiteY784" fmla="*/ 3741942 h 5092591"/>
              <a:gd name="connsiteX785" fmla="*/ 3187197 w 4546203"/>
              <a:gd name="connsiteY785" fmla="*/ 3809594 h 5092591"/>
              <a:gd name="connsiteX786" fmla="*/ 3219829 w 4546203"/>
              <a:gd name="connsiteY786" fmla="*/ 3784921 h 5092591"/>
              <a:gd name="connsiteX787" fmla="*/ 3161728 w 4546203"/>
              <a:gd name="connsiteY787" fmla="*/ 3709708 h 5092591"/>
              <a:gd name="connsiteX788" fmla="*/ 3433529 w 4546203"/>
              <a:gd name="connsiteY788" fmla="*/ 3708116 h 5092591"/>
              <a:gd name="connsiteX789" fmla="*/ 3405673 w 4546203"/>
              <a:gd name="connsiteY789" fmla="*/ 3739953 h 5092591"/>
              <a:gd name="connsiteX790" fmla="*/ 3428356 w 4546203"/>
              <a:gd name="connsiteY790" fmla="*/ 3763830 h 5092591"/>
              <a:gd name="connsiteX791" fmla="*/ 3460192 w 4546203"/>
              <a:gd name="connsiteY791" fmla="*/ 3734779 h 5092591"/>
              <a:gd name="connsiteX792" fmla="*/ 3433529 w 4546203"/>
              <a:gd name="connsiteY792" fmla="*/ 3708116 h 5092591"/>
              <a:gd name="connsiteX793" fmla="*/ 3263206 w 4546203"/>
              <a:gd name="connsiteY793" fmla="*/ 3704535 h 5092591"/>
              <a:gd name="connsiteX794" fmla="*/ 3233359 w 4546203"/>
              <a:gd name="connsiteY794" fmla="*/ 3729208 h 5092591"/>
              <a:gd name="connsiteX795" fmla="*/ 3254849 w 4546203"/>
              <a:gd name="connsiteY795" fmla="*/ 3754677 h 5092591"/>
              <a:gd name="connsiteX796" fmla="*/ 3284695 w 4546203"/>
              <a:gd name="connsiteY796" fmla="*/ 3729208 h 5092591"/>
              <a:gd name="connsiteX797" fmla="*/ 3263206 w 4546203"/>
              <a:gd name="connsiteY797" fmla="*/ 3704535 h 5092591"/>
              <a:gd name="connsiteX798" fmla="*/ 1146500 w 4546203"/>
              <a:gd name="connsiteY798" fmla="*/ 3700555 h 5092591"/>
              <a:gd name="connsiteX799" fmla="*/ 1109888 w 4546203"/>
              <a:gd name="connsiteY799" fmla="*/ 3732789 h 5092591"/>
              <a:gd name="connsiteX800" fmla="*/ 1142520 w 4546203"/>
              <a:gd name="connsiteY800" fmla="*/ 3763432 h 5092591"/>
              <a:gd name="connsiteX801" fmla="*/ 1171571 w 4546203"/>
              <a:gd name="connsiteY801" fmla="*/ 3731198 h 5092591"/>
              <a:gd name="connsiteX802" fmla="*/ 1146500 w 4546203"/>
              <a:gd name="connsiteY802" fmla="*/ 3700555 h 5092591"/>
              <a:gd name="connsiteX803" fmla="*/ 1236835 w 4546203"/>
              <a:gd name="connsiteY803" fmla="*/ 3687821 h 5092591"/>
              <a:gd name="connsiteX804" fmla="*/ 1204600 w 4546203"/>
              <a:gd name="connsiteY804" fmla="*/ 3724432 h 5092591"/>
              <a:gd name="connsiteX805" fmla="*/ 1236437 w 4546203"/>
              <a:gd name="connsiteY805" fmla="*/ 3752289 h 5092591"/>
              <a:gd name="connsiteX806" fmla="*/ 1267875 w 4546203"/>
              <a:gd name="connsiteY806" fmla="*/ 3714882 h 5092591"/>
              <a:gd name="connsiteX807" fmla="*/ 1236835 w 4546203"/>
              <a:gd name="connsiteY807" fmla="*/ 3687821 h 5092591"/>
              <a:gd name="connsiteX808" fmla="*/ 3141433 w 4546203"/>
              <a:gd name="connsiteY808" fmla="*/ 3683045 h 5092591"/>
              <a:gd name="connsiteX809" fmla="*/ 3108801 w 4546203"/>
              <a:gd name="connsiteY809" fmla="*/ 3700157 h 5092591"/>
              <a:gd name="connsiteX810" fmla="*/ 3102035 w 4546203"/>
              <a:gd name="connsiteY810" fmla="*/ 3712096 h 5092591"/>
              <a:gd name="connsiteX811" fmla="*/ 3107607 w 4546203"/>
              <a:gd name="connsiteY811" fmla="*/ 3715678 h 5092591"/>
              <a:gd name="connsiteX812" fmla="*/ 3143025 w 4546203"/>
              <a:gd name="connsiteY812" fmla="*/ 3689413 h 5092591"/>
              <a:gd name="connsiteX813" fmla="*/ 3141433 w 4546203"/>
              <a:gd name="connsiteY813" fmla="*/ 3683045 h 5092591"/>
              <a:gd name="connsiteX814" fmla="*/ 1195050 w 4546203"/>
              <a:gd name="connsiteY814" fmla="*/ 3647628 h 5092591"/>
              <a:gd name="connsiteX815" fmla="*/ 1158438 w 4546203"/>
              <a:gd name="connsiteY815" fmla="*/ 3681852 h 5092591"/>
              <a:gd name="connsiteX816" fmla="*/ 1190274 w 4546203"/>
              <a:gd name="connsiteY816" fmla="*/ 3711300 h 5092591"/>
              <a:gd name="connsiteX817" fmla="*/ 1222110 w 4546203"/>
              <a:gd name="connsiteY817" fmla="*/ 3677076 h 5092591"/>
              <a:gd name="connsiteX818" fmla="*/ 1195050 w 4546203"/>
              <a:gd name="connsiteY818" fmla="*/ 3647628 h 5092591"/>
              <a:gd name="connsiteX819" fmla="*/ 3344786 w 4546203"/>
              <a:gd name="connsiteY819" fmla="*/ 3613006 h 5092591"/>
              <a:gd name="connsiteX820" fmla="*/ 3318123 w 4546203"/>
              <a:gd name="connsiteY820" fmla="*/ 3637679 h 5092591"/>
              <a:gd name="connsiteX821" fmla="*/ 3343990 w 4546203"/>
              <a:gd name="connsiteY821" fmla="*/ 3666331 h 5092591"/>
              <a:gd name="connsiteX822" fmla="*/ 3369857 w 4546203"/>
              <a:gd name="connsiteY822" fmla="*/ 3640067 h 5092591"/>
              <a:gd name="connsiteX823" fmla="*/ 3344786 w 4546203"/>
              <a:gd name="connsiteY823" fmla="*/ 3613006 h 5092591"/>
              <a:gd name="connsiteX824" fmla="*/ 947922 w 4546203"/>
              <a:gd name="connsiteY824" fmla="*/ 3587537 h 5092591"/>
              <a:gd name="connsiteX825" fmla="*/ 915289 w 4546203"/>
              <a:gd name="connsiteY825" fmla="*/ 3613802 h 5092591"/>
              <a:gd name="connsiteX826" fmla="*/ 939962 w 4546203"/>
              <a:gd name="connsiteY826" fmla="*/ 3644444 h 5092591"/>
              <a:gd name="connsiteX827" fmla="*/ 972197 w 4546203"/>
              <a:gd name="connsiteY827" fmla="*/ 3617781 h 5092591"/>
              <a:gd name="connsiteX828" fmla="*/ 947922 w 4546203"/>
              <a:gd name="connsiteY828" fmla="*/ 3587537 h 5092591"/>
              <a:gd name="connsiteX829" fmla="*/ 3303797 w 4546203"/>
              <a:gd name="connsiteY829" fmla="*/ 3572017 h 5092591"/>
              <a:gd name="connsiteX830" fmla="*/ 3277532 w 4546203"/>
              <a:gd name="connsiteY830" fmla="*/ 3598282 h 5092591"/>
              <a:gd name="connsiteX831" fmla="*/ 3299021 w 4546203"/>
              <a:gd name="connsiteY831" fmla="*/ 3620965 h 5092591"/>
              <a:gd name="connsiteX832" fmla="*/ 3325286 w 4546203"/>
              <a:gd name="connsiteY832" fmla="*/ 3595496 h 5092591"/>
              <a:gd name="connsiteX833" fmla="*/ 3303797 w 4546203"/>
              <a:gd name="connsiteY833" fmla="*/ 3572017 h 5092591"/>
              <a:gd name="connsiteX834" fmla="*/ 951901 w 4546203"/>
              <a:gd name="connsiteY834" fmla="*/ 3509538 h 5092591"/>
              <a:gd name="connsiteX835" fmla="*/ 918075 w 4546203"/>
              <a:gd name="connsiteY835" fmla="*/ 3535007 h 5092591"/>
              <a:gd name="connsiteX836" fmla="*/ 941156 w 4546203"/>
              <a:gd name="connsiteY836" fmla="*/ 3565252 h 5092591"/>
              <a:gd name="connsiteX837" fmla="*/ 974186 w 4546203"/>
              <a:gd name="connsiteY837" fmla="*/ 3539385 h 5092591"/>
              <a:gd name="connsiteX838" fmla="*/ 951901 w 4546203"/>
              <a:gd name="connsiteY838" fmla="*/ 3509538 h 5092591"/>
              <a:gd name="connsiteX839" fmla="*/ 1078848 w 4546203"/>
              <a:gd name="connsiteY839" fmla="*/ 3484070 h 5092591"/>
              <a:gd name="connsiteX840" fmla="*/ 1046216 w 4546203"/>
              <a:gd name="connsiteY840" fmla="*/ 3510334 h 5092591"/>
              <a:gd name="connsiteX841" fmla="*/ 1068501 w 4546203"/>
              <a:gd name="connsiteY841" fmla="*/ 3538191 h 5092591"/>
              <a:gd name="connsiteX842" fmla="*/ 1100337 w 4546203"/>
              <a:gd name="connsiteY842" fmla="*/ 3510732 h 5092591"/>
              <a:gd name="connsiteX843" fmla="*/ 1078848 w 4546203"/>
              <a:gd name="connsiteY843" fmla="*/ 3484070 h 5092591"/>
              <a:gd name="connsiteX844" fmla="*/ 1236437 w 4546203"/>
              <a:gd name="connsiteY844" fmla="*/ 3478896 h 5092591"/>
              <a:gd name="connsiteX845" fmla="*/ 1230467 w 4546203"/>
              <a:gd name="connsiteY845" fmla="*/ 3485263 h 5092591"/>
              <a:gd name="connsiteX846" fmla="*/ 1268671 w 4546203"/>
              <a:gd name="connsiteY846" fmla="*/ 3525456 h 5092591"/>
              <a:gd name="connsiteX847" fmla="*/ 1275436 w 4546203"/>
              <a:gd name="connsiteY847" fmla="*/ 3518293 h 5092591"/>
              <a:gd name="connsiteX848" fmla="*/ 1236437 w 4546203"/>
              <a:gd name="connsiteY848" fmla="*/ 3478896 h 5092591"/>
              <a:gd name="connsiteX849" fmla="*/ 957074 w 4546203"/>
              <a:gd name="connsiteY849" fmla="*/ 3412836 h 5092591"/>
              <a:gd name="connsiteX850" fmla="*/ 922453 w 4546203"/>
              <a:gd name="connsiteY850" fmla="*/ 3436713 h 5092591"/>
              <a:gd name="connsiteX851" fmla="*/ 943146 w 4546203"/>
              <a:gd name="connsiteY851" fmla="*/ 3466958 h 5092591"/>
              <a:gd name="connsiteX852" fmla="*/ 977370 w 4546203"/>
              <a:gd name="connsiteY852" fmla="*/ 3442682 h 5092591"/>
              <a:gd name="connsiteX853" fmla="*/ 957074 w 4546203"/>
              <a:gd name="connsiteY853" fmla="*/ 3412836 h 5092591"/>
              <a:gd name="connsiteX854" fmla="*/ 3465366 w 4546203"/>
              <a:gd name="connsiteY854" fmla="*/ 3410050 h 5092591"/>
              <a:gd name="connsiteX855" fmla="*/ 3363092 w 4546203"/>
              <a:gd name="connsiteY855" fmla="*/ 3535405 h 5092591"/>
              <a:gd name="connsiteX856" fmla="*/ 3300613 w 4546203"/>
              <a:gd name="connsiteY856" fmla="*/ 3480090 h 5092591"/>
              <a:gd name="connsiteX857" fmla="*/ 3278726 w 4546203"/>
              <a:gd name="connsiteY857" fmla="*/ 3503967 h 5092591"/>
              <a:gd name="connsiteX858" fmla="*/ 3619373 w 4546203"/>
              <a:gd name="connsiteY858" fmla="*/ 3826706 h 5092591"/>
              <a:gd name="connsiteX859" fmla="*/ 3638475 w 4546203"/>
              <a:gd name="connsiteY859" fmla="*/ 3829094 h 5092591"/>
              <a:gd name="connsiteX860" fmla="*/ 3701351 w 4546203"/>
              <a:gd name="connsiteY860" fmla="*/ 3800043 h 5092591"/>
              <a:gd name="connsiteX861" fmla="*/ 3697372 w 4546203"/>
              <a:gd name="connsiteY861" fmla="*/ 3796064 h 5092591"/>
              <a:gd name="connsiteX862" fmla="*/ 3706922 w 4546203"/>
              <a:gd name="connsiteY862" fmla="*/ 3775370 h 5092591"/>
              <a:gd name="connsiteX863" fmla="*/ 3785319 w 4546203"/>
              <a:gd name="connsiteY863" fmla="*/ 3678270 h 5092591"/>
              <a:gd name="connsiteX864" fmla="*/ 3769799 w 4546203"/>
              <a:gd name="connsiteY864" fmla="*/ 3668719 h 5092591"/>
              <a:gd name="connsiteX865" fmla="*/ 3677474 w 4546203"/>
              <a:gd name="connsiteY865" fmla="*/ 3782135 h 5092591"/>
              <a:gd name="connsiteX866" fmla="*/ 3615393 w 4546203"/>
              <a:gd name="connsiteY866" fmla="*/ 3727218 h 5092591"/>
              <a:gd name="connsiteX867" fmla="*/ 3700555 w 4546203"/>
              <a:gd name="connsiteY867" fmla="*/ 3622159 h 5092591"/>
              <a:gd name="connsiteX868" fmla="*/ 3679464 w 4546203"/>
              <a:gd name="connsiteY868" fmla="*/ 3621363 h 5092591"/>
              <a:gd name="connsiteX869" fmla="*/ 3598679 w 4546203"/>
              <a:gd name="connsiteY869" fmla="*/ 3721647 h 5092591"/>
              <a:gd name="connsiteX870" fmla="*/ 3534211 w 4546203"/>
              <a:gd name="connsiteY870" fmla="*/ 3664740 h 5092591"/>
              <a:gd name="connsiteX871" fmla="*/ 3548936 w 4546203"/>
              <a:gd name="connsiteY871" fmla="*/ 3646434 h 5092591"/>
              <a:gd name="connsiteX872" fmla="*/ 3613802 w 4546203"/>
              <a:gd name="connsiteY872" fmla="*/ 3566048 h 5092591"/>
              <a:gd name="connsiteX873" fmla="*/ 3616587 w 4546203"/>
              <a:gd name="connsiteY873" fmla="*/ 3549732 h 5092591"/>
              <a:gd name="connsiteX874" fmla="*/ 3610618 w 4546203"/>
              <a:gd name="connsiteY874" fmla="*/ 3548936 h 5092591"/>
              <a:gd name="connsiteX875" fmla="*/ 3519089 w 4546203"/>
              <a:gd name="connsiteY875" fmla="*/ 3659566 h 5092591"/>
              <a:gd name="connsiteX876" fmla="*/ 3454621 w 4546203"/>
              <a:gd name="connsiteY876" fmla="*/ 3601863 h 5092591"/>
              <a:gd name="connsiteX877" fmla="*/ 3536997 w 4546203"/>
              <a:gd name="connsiteY877" fmla="*/ 3498794 h 5092591"/>
              <a:gd name="connsiteX878" fmla="*/ 3542568 w 4546203"/>
              <a:gd name="connsiteY878" fmla="*/ 3483274 h 5092591"/>
              <a:gd name="connsiteX879" fmla="*/ 3536997 w 4546203"/>
              <a:gd name="connsiteY879" fmla="*/ 3480886 h 5092591"/>
              <a:gd name="connsiteX880" fmla="*/ 3440693 w 4546203"/>
              <a:gd name="connsiteY880" fmla="*/ 3597884 h 5092591"/>
              <a:gd name="connsiteX881" fmla="*/ 3373837 w 4546203"/>
              <a:gd name="connsiteY881" fmla="*/ 3538191 h 5092591"/>
              <a:gd name="connsiteX882" fmla="*/ 3426366 w 4546203"/>
              <a:gd name="connsiteY882" fmla="*/ 3475315 h 5092591"/>
              <a:gd name="connsiteX883" fmla="*/ 3465366 w 4546203"/>
              <a:gd name="connsiteY883" fmla="*/ 3410050 h 5092591"/>
              <a:gd name="connsiteX884" fmla="*/ 1053777 w 4546203"/>
              <a:gd name="connsiteY884" fmla="*/ 3369459 h 5092591"/>
              <a:gd name="connsiteX885" fmla="*/ 1019155 w 4546203"/>
              <a:gd name="connsiteY885" fmla="*/ 3392938 h 5092591"/>
              <a:gd name="connsiteX886" fmla="*/ 1039053 w 4546203"/>
              <a:gd name="connsiteY886" fmla="*/ 3421193 h 5092591"/>
              <a:gd name="connsiteX887" fmla="*/ 1072879 w 4546203"/>
              <a:gd name="connsiteY887" fmla="*/ 3396520 h 5092591"/>
              <a:gd name="connsiteX888" fmla="*/ 1053777 w 4546203"/>
              <a:gd name="connsiteY888" fmla="*/ 3369459 h 5092591"/>
              <a:gd name="connsiteX889" fmla="*/ 3675484 w 4546203"/>
              <a:gd name="connsiteY889" fmla="*/ 3152177 h 5092591"/>
              <a:gd name="connsiteX890" fmla="*/ 3667127 w 4546203"/>
              <a:gd name="connsiteY890" fmla="*/ 3170085 h 5092591"/>
              <a:gd name="connsiteX891" fmla="*/ 3689412 w 4546203"/>
              <a:gd name="connsiteY891" fmla="*/ 3179636 h 5092591"/>
              <a:gd name="connsiteX892" fmla="*/ 3697769 w 4546203"/>
              <a:gd name="connsiteY892" fmla="*/ 3161330 h 5092591"/>
              <a:gd name="connsiteX893" fmla="*/ 3675484 w 4546203"/>
              <a:gd name="connsiteY893" fmla="*/ 3152177 h 5092591"/>
              <a:gd name="connsiteX894" fmla="*/ 784363 w 4546203"/>
              <a:gd name="connsiteY894" fmla="*/ 3125913 h 5092591"/>
              <a:gd name="connsiteX895" fmla="*/ 779190 w 4546203"/>
              <a:gd name="connsiteY895" fmla="*/ 3141831 h 5092591"/>
              <a:gd name="connsiteX896" fmla="*/ 820577 w 4546203"/>
              <a:gd name="connsiteY896" fmla="*/ 3236146 h 5092591"/>
              <a:gd name="connsiteX897" fmla="*/ 828934 w 4546203"/>
              <a:gd name="connsiteY897" fmla="*/ 3242115 h 5092591"/>
              <a:gd name="connsiteX898" fmla="*/ 831322 w 4546203"/>
              <a:gd name="connsiteY898" fmla="*/ 3232166 h 5092591"/>
              <a:gd name="connsiteX899" fmla="*/ 784363 w 4546203"/>
              <a:gd name="connsiteY899" fmla="*/ 3125913 h 5092591"/>
              <a:gd name="connsiteX900" fmla="*/ 3741146 w 4546203"/>
              <a:gd name="connsiteY900" fmla="*/ 3119943 h 5092591"/>
              <a:gd name="connsiteX901" fmla="*/ 3732789 w 4546203"/>
              <a:gd name="connsiteY901" fmla="*/ 3138647 h 5092591"/>
              <a:gd name="connsiteX902" fmla="*/ 3755871 w 4546203"/>
              <a:gd name="connsiteY902" fmla="*/ 3147800 h 5092591"/>
              <a:gd name="connsiteX903" fmla="*/ 3763034 w 4546203"/>
              <a:gd name="connsiteY903" fmla="*/ 3128300 h 5092591"/>
              <a:gd name="connsiteX904" fmla="*/ 3741146 w 4546203"/>
              <a:gd name="connsiteY904" fmla="*/ 3119943 h 5092591"/>
              <a:gd name="connsiteX905" fmla="*/ 828536 w 4546203"/>
              <a:gd name="connsiteY905" fmla="*/ 3115964 h 5092591"/>
              <a:gd name="connsiteX906" fmla="*/ 819781 w 4546203"/>
              <a:gd name="connsiteY906" fmla="*/ 3118352 h 5092591"/>
              <a:gd name="connsiteX907" fmla="*/ 855597 w 4546203"/>
              <a:gd name="connsiteY907" fmla="*/ 3207891 h 5092591"/>
              <a:gd name="connsiteX908" fmla="*/ 867137 w 4546203"/>
              <a:gd name="connsiteY908" fmla="*/ 3224207 h 5092591"/>
              <a:gd name="connsiteX909" fmla="*/ 873505 w 4546203"/>
              <a:gd name="connsiteY909" fmla="*/ 3219829 h 5092591"/>
              <a:gd name="connsiteX910" fmla="*/ 828536 w 4546203"/>
              <a:gd name="connsiteY910" fmla="*/ 3115964 h 5092591"/>
              <a:gd name="connsiteX911" fmla="*/ 3607335 w 4546203"/>
              <a:gd name="connsiteY911" fmla="*/ 3108154 h 5092591"/>
              <a:gd name="connsiteX912" fmla="*/ 3595894 w 4546203"/>
              <a:gd name="connsiteY912" fmla="*/ 3123923 h 5092591"/>
              <a:gd name="connsiteX913" fmla="*/ 3617383 w 4546203"/>
              <a:gd name="connsiteY913" fmla="*/ 3133076 h 5092591"/>
              <a:gd name="connsiteX914" fmla="*/ 3624148 w 4546203"/>
              <a:gd name="connsiteY914" fmla="*/ 3115964 h 5092591"/>
              <a:gd name="connsiteX915" fmla="*/ 3607335 w 4546203"/>
              <a:gd name="connsiteY915" fmla="*/ 3108154 h 5092591"/>
              <a:gd name="connsiteX916" fmla="*/ 903351 w 4546203"/>
              <a:gd name="connsiteY916" fmla="*/ 3093679 h 5092591"/>
              <a:gd name="connsiteX917" fmla="*/ 897382 w 4546203"/>
              <a:gd name="connsiteY917" fmla="*/ 3096464 h 5092591"/>
              <a:gd name="connsiteX918" fmla="*/ 986523 w 4546203"/>
              <a:gd name="connsiteY918" fmla="*/ 3279920 h 5092591"/>
              <a:gd name="connsiteX919" fmla="*/ 992492 w 4546203"/>
              <a:gd name="connsiteY919" fmla="*/ 3277135 h 5092591"/>
              <a:gd name="connsiteX920" fmla="*/ 903351 w 4546203"/>
              <a:gd name="connsiteY920" fmla="*/ 3093679 h 5092591"/>
              <a:gd name="connsiteX921" fmla="*/ 3796461 w 4546203"/>
              <a:gd name="connsiteY921" fmla="*/ 3085322 h 5092591"/>
              <a:gd name="connsiteX922" fmla="*/ 3790094 w 4546203"/>
              <a:gd name="connsiteY922" fmla="*/ 3106015 h 5092591"/>
              <a:gd name="connsiteX923" fmla="*/ 3812379 w 4546203"/>
              <a:gd name="connsiteY923" fmla="*/ 3113576 h 5092591"/>
              <a:gd name="connsiteX924" fmla="*/ 3819543 w 4546203"/>
              <a:gd name="connsiteY924" fmla="*/ 3093679 h 5092591"/>
              <a:gd name="connsiteX925" fmla="*/ 3796461 w 4546203"/>
              <a:gd name="connsiteY925" fmla="*/ 3085322 h 5092591"/>
              <a:gd name="connsiteX926" fmla="*/ 975778 w 4546203"/>
              <a:gd name="connsiteY926" fmla="*/ 3063036 h 5092591"/>
              <a:gd name="connsiteX927" fmla="*/ 969013 w 4546203"/>
              <a:gd name="connsiteY927" fmla="*/ 3066220 h 5092591"/>
              <a:gd name="connsiteX928" fmla="*/ 1037063 w 4546203"/>
              <a:gd name="connsiteY928" fmla="*/ 3215054 h 5092591"/>
              <a:gd name="connsiteX929" fmla="*/ 1013584 w 4546203"/>
              <a:gd name="connsiteY929" fmla="*/ 3227788 h 5092591"/>
              <a:gd name="connsiteX930" fmla="*/ 942748 w 4546203"/>
              <a:gd name="connsiteY930" fmla="*/ 3076169 h 5092591"/>
              <a:gd name="connsiteX931" fmla="*/ 936381 w 4546203"/>
              <a:gd name="connsiteY931" fmla="*/ 3079352 h 5092591"/>
              <a:gd name="connsiteX932" fmla="*/ 1023134 w 4546203"/>
              <a:gd name="connsiteY932" fmla="*/ 3261216 h 5092591"/>
              <a:gd name="connsiteX933" fmla="*/ 1060940 w 4546203"/>
              <a:gd name="connsiteY933" fmla="*/ 3238533 h 5092591"/>
              <a:gd name="connsiteX934" fmla="*/ 975778 w 4546203"/>
              <a:gd name="connsiteY934" fmla="*/ 3063036 h 5092591"/>
              <a:gd name="connsiteX935" fmla="*/ 734221 w 4546203"/>
              <a:gd name="connsiteY935" fmla="*/ 3062240 h 5092591"/>
              <a:gd name="connsiteX936" fmla="*/ 711538 w 4546203"/>
              <a:gd name="connsiteY936" fmla="*/ 3069801 h 5092591"/>
              <a:gd name="connsiteX937" fmla="*/ 719497 w 4546203"/>
              <a:gd name="connsiteY937" fmla="*/ 3089699 h 5092591"/>
              <a:gd name="connsiteX938" fmla="*/ 742180 w 4546203"/>
              <a:gd name="connsiteY938" fmla="*/ 3081342 h 5092591"/>
              <a:gd name="connsiteX939" fmla="*/ 734221 w 4546203"/>
              <a:gd name="connsiteY939" fmla="*/ 3062240 h 5092591"/>
              <a:gd name="connsiteX940" fmla="*/ 3673842 w 4546203"/>
              <a:gd name="connsiteY940" fmla="*/ 3042592 h 5092591"/>
              <a:gd name="connsiteX941" fmla="*/ 3663943 w 4546203"/>
              <a:gd name="connsiteY941" fmla="*/ 3059057 h 5092591"/>
              <a:gd name="connsiteX942" fmla="*/ 3685831 w 4546203"/>
              <a:gd name="connsiteY942" fmla="*/ 3067414 h 5092591"/>
              <a:gd name="connsiteX943" fmla="*/ 3691800 w 4546203"/>
              <a:gd name="connsiteY943" fmla="*/ 3049108 h 5092591"/>
              <a:gd name="connsiteX944" fmla="*/ 3673842 w 4546203"/>
              <a:gd name="connsiteY944" fmla="*/ 3042592 h 5092591"/>
              <a:gd name="connsiteX945" fmla="*/ 862760 w 4546203"/>
              <a:gd name="connsiteY945" fmla="*/ 3018466 h 5092591"/>
              <a:gd name="connsiteX946" fmla="*/ 840077 w 4546203"/>
              <a:gd name="connsiteY946" fmla="*/ 3027221 h 5092591"/>
              <a:gd name="connsiteX947" fmla="*/ 847638 w 4546203"/>
              <a:gd name="connsiteY947" fmla="*/ 3045129 h 5092591"/>
              <a:gd name="connsiteX948" fmla="*/ 869525 w 4546203"/>
              <a:gd name="connsiteY948" fmla="*/ 3036374 h 5092591"/>
              <a:gd name="connsiteX949" fmla="*/ 862760 w 4546203"/>
              <a:gd name="connsiteY949" fmla="*/ 3018466 h 5092591"/>
              <a:gd name="connsiteX950" fmla="*/ 755711 w 4546203"/>
              <a:gd name="connsiteY950" fmla="*/ 2994986 h 5092591"/>
              <a:gd name="connsiteX951" fmla="*/ 732630 w 4546203"/>
              <a:gd name="connsiteY951" fmla="*/ 3002548 h 5092591"/>
              <a:gd name="connsiteX952" fmla="*/ 739793 w 4546203"/>
              <a:gd name="connsiteY952" fmla="*/ 3022047 h 5092591"/>
              <a:gd name="connsiteX953" fmla="*/ 761680 w 4546203"/>
              <a:gd name="connsiteY953" fmla="*/ 3014884 h 5092591"/>
              <a:gd name="connsiteX954" fmla="*/ 755711 w 4546203"/>
              <a:gd name="connsiteY954" fmla="*/ 2994986 h 5092591"/>
              <a:gd name="connsiteX955" fmla="*/ 936182 w 4546203"/>
              <a:gd name="connsiteY955" fmla="*/ 2987376 h 5092591"/>
              <a:gd name="connsiteX956" fmla="*/ 916085 w 4546203"/>
              <a:gd name="connsiteY956" fmla="*/ 2994986 h 5092591"/>
              <a:gd name="connsiteX957" fmla="*/ 922453 w 4546203"/>
              <a:gd name="connsiteY957" fmla="*/ 3010905 h 5092591"/>
              <a:gd name="connsiteX958" fmla="*/ 943146 w 4546203"/>
              <a:gd name="connsiteY958" fmla="*/ 3003344 h 5092591"/>
              <a:gd name="connsiteX959" fmla="*/ 936182 w 4546203"/>
              <a:gd name="connsiteY959" fmla="*/ 2987376 h 5092591"/>
              <a:gd name="connsiteX960" fmla="*/ 695620 w 4546203"/>
              <a:gd name="connsiteY960" fmla="*/ 2958375 h 5092591"/>
              <a:gd name="connsiteX961" fmla="*/ 672937 w 4546203"/>
              <a:gd name="connsiteY961" fmla="*/ 2965538 h 5092591"/>
              <a:gd name="connsiteX962" fmla="*/ 679304 w 4546203"/>
              <a:gd name="connsiteY962" fmla="*/ 2985834 h 5092591"/>
              <a:gd name="connsiteX963" fmla="*/ 702783 w 4546203"/>
              <a:gd name="connsiteY963" fmla="*/ 2978272 h 5092591"/>
              <a:gd name="connsiteX964" fmla="*/ 695620 w 4546203"/>
              <a:gd name="connsiteY964" fmla="*/ 2958375 h 5092591"/>
              <a:gd name="connsiteX965" fmla="*/ 787149 w 4546203"/>
              <a:gd name="connsiteY965" fmla="*/ 2935294 h 5092591"/>
              <a:gd name="connsiteX966" fmla="*/ 766058 w 4546203"/>
              <a:gd name="connsiteY966" fmla="*/ 2941263 h 5092591"/>
              <a:gd name="connsiteX967" fmla="*/ 771231 w 4546203"/>
              <a:gd name="connsiteY967" fmla="*/ 2960365 h 5092591"/>
              <a:gd name="connsiteX968" fmla="*/ 787149 w 4546203"/>
              <a:gd name="connsiteY968" fmla="*/ 2935294 h 5092591"/>
              <a:gd name="connsiteX969" fmla="*/ 875096 w 4546203"/>
              <a:gd name="connsiteY969" fmla="*/ 2926141 h 5092591"/>
              <a:gd name="connsiteX970" fmla="*/ 852811 w 4546203"/>
              <a:gd name="connsiteY970" fmla="*/ 2932508 h 5092591"/>
              <a:gd name="connsiteX971" fmla="*/ 856791 w 4546203"/>
              <a:gd name="connsiteY971" fmla="*/ 2950814 h 5092591"/>
              <a:gd name="connsiteX972" fmla="*/ 880270 w 4546203"/>
              <a:gd name="connsiteY972" fmla="*/ 2944447 h 5092591"/>
              <a:gd name="connsiteX973" fmla="*/ 875096 w 4546203"/>
              <a:gd name="connsiteY973" fmla="*/ 2926141 h 5092591"/>
              <a:gd name="connsiteX974" fmla="*/ 3823920 w 4546203"/>
              <a:gd name="connsiteY974" fmla="*/ 2903060 h 5092591"/>
              <a:gd name="connsiteX975" fmla="*/ 3792084 w 4546203"/>
              <a:gd name="connsiteY975" fmla="*/ 3022047 h 5092591"/>
              <a:gd name="connsiteX976" fmla="*/ 3823920 w 4546203"/>
              <a:gd name="connsiteY976" fmla="*/ 2903060 h 5092591"/>
              <a:gd name="connsiteX977" fmla="*/ 3792880 w 4546203"/>
              <a:gd name="connsiteY977" fmla="*/ 2894305 h 5092591"/>
              <a:gd name="connsiteX978" fmla="*/ 3779748 w 4546203"/>
              <a:gd name="connsiteY978" fmla="*/ 2898682 h 5092591"/>
              <a:gd name="connsiteX979" fmla="*/ 3751493 w 4546203"/>
              <a:gd name="connsiteY979" fmla="*/ 3002150 h 5092591"/>
              <a:gd name="connsiteX980" fmla="*/ 3755075 w 4546203"/>
              <a:gd name="connsiteY980" fmla="*/ 3010507 h 5092591"/>
              <a:gd name="connsiteX981" fmla="*/ 3762238 w 4546203"/>
              <a:gd name="connsiteY981" fmla="*/ 3007721 h 5092591"/>
              <a:gd name="connsiteX982" fmla="*/ 3792880 w 4546203"/>
              <a:gd name="connsiteY982" fmla="*/ 2894305 h 5092591"/>
              <a:gd name="connsiteX983" fmla="*/ 3723238 w 4546203"/>
              <a:gd name="connsiteY983" fmla="*/ 2776909 h 5092591"/>
              <a:gd name="connsiteX984" fmla="*/ 3677872 w 4546203"/>
              <a:gd name="connsiteY984" fmla="*/ 2975089 h 5092591"/>
              <a:gd name="connsiteX985" fmla="*/ 3684239 w 4546203"/>
              <a:gd name="connsiteY985" fmla="*/ 2976681 h 5092591"/>
              <a:gd name="connsiteX986" fmla="*/ 3730004 w 4546203"/>
              <a:gd name="connsiteY986" fmla="*/ 2778899 h 5092591"/>
              <a:gd name="connsiteX987" fmla="*/ 3723238 w 4546203"/>
              <a:gd name="connsiteY987" fmla="*/ 2776909 h 5092591"/>
              <a:gd name="connsiteX988" fmla="*/ 3684239 w 4546203"/>
              <a:gd name="connsiteY988" fmla="*/ 2770144 h 5092591"/>
              <a:gd name="connsiteX989" fmla="*/ 3639270 w 4546203"/>
              <a:gd name="connsiteY989" fmla="*/ 2966334 h 5092591"/>
              <a:gd name="connsiteX990" fmla="*/ 3684239 w 4546203"/>
              <a:gd name="connsiteY990" fmla="*/ 2770144 h 5092591"/>
              <a:gd name="connsiteX991" fmla="*/ 3803227 w 4546203"/>
              <a:gd name="connsiteY991" fmla="*/ 2767358 h 5092591"/>
              <a:gd name="connsiteX992" fmla="*/ 3785319 w 4546203"/>
              <a:gd name="connsiteY992" fmla="*/ 2872019 h 5092591"/>
              <a:gd name="connsiteX993" fmla="*/ 3833869 w 4546203"/>
              <a:gd name="connsiteY993" fmla="*/ 2882366 h 5092591"/>
              <a:gd name="connsiteX994" fmla="*/ 3832675 w 4546203"/>
              <a:gd name="connsiteY994" fmla="*/ 2885152 h 5092591"/>
              <a:gd name="connsiteX995" fmla="*/ 3872868 w 4546203"/>
              <a:gd name="connsiteY995" fmla="*/ 2885152 h 5092591"/>
              <a:gd name="connsiteX996" fmla="*/ 3835461 w 4546203"/>
              <a:gd name="connsiteY996" fmla="*/ 3030802 h 5092591"/>
              <a:gd name="connsiteX997" fmla="*/ 3886001 w 4546203"/>
              <a:gd name="connsiteY997" fmla="*/ 3047516 h 5092591"/>
              <a:gd name="connsiteX998" fmla="*/ 3872868 w 4546203"/>
              <a:gd name="connsiteY998" fmla="*/ 3090495 h 5092591"/>
              <a:gd name="connsiteX999" fmla="*/ 3913062 w 4546203"/>
              <a:gd name="connsiteY999" fmla="*/ 3106015 h 5092591"/>
              <a:gd name="connsiteX1000" fmla="*/ 3859338 w 4546203"/>
              <a:gd name="connsiteY1000" fmla="*/ 3242513 h 5092591"/>
              <a:gd name="connsiteX1001" fmla="*/ 3819941 w 4546203"/>
              <a:gd name="connsiteY1001" fmla="*/ 3226197 h 5092591"/>
              <a:gd name="connsiteX1002" fmla="*/ 3798053 w 4546203"/>
              <a:gd name="connsiteY1002" fmla="*/ 3271961 h 5092591"/>
              <a:gd name="connsiteX1003" fmla="*/ 3526252 w 4546203"/>
              <a:gd name="connsiteY1003" fmla="*/ 3142627 h 5092591"/>
              <a:gd name="connsiteX1004" fmla="*/ 3509140 w 4546203"/>
              <a:gd name="connsiteY1004" fmla="*/ 3178044 h 5092591"/>
              <a:gd name="connsiteX1005" fmla="*/ 3582761 w 4546203"/>
              <a:gd name="connsiteY1005" fmla="*/ 3216646 h 5092591"/>
              <a:gd name="connsiteX1006" fmla="*/ 3501181 w 4546203"/>
              <a:gd name="connsiteY1006" fmla="*/ 3357123 h 5092591"/>
              <a:gd name="connsiteX1007" fmla="*/ 3507548 w 4546203"/>
              <a:gd name="connsiteY1007" fmla="*/ 3361102 h 5092591"/>
              <a:gd name="connsiteX1008" fmla="*/ 3588731 w 4546203"/>
              <a:gd name="connsiteY1008" fmla="*/ 3225799 h 5092591"/>
              <a:gd name="connsiteX1009" fmla="*/ 3668321 w 4546203"/>
              <a:gd name="connsiteY1009" fmla="*/ 3267186 h 5092591"/>
              <a:gd name="connsiteX1010" fmla="*/ 3592312 w 4546203"/>
              <a:gd name="connsiteY1010" fmla="*/ 3399306 h 5092591"/>
              <a:gd name="connsiteX1011" fmla="*/ 3596292 w 4546203"/>
              <a:gd name="connsiteY1011" fmla="*/ 3404081 h 5092591"/>
              <a:gd name="connsiteX1012" fmla="*/ 3609026 w 4546203"/>
              <a:gd name="connsiteY1012" fmla="*/ 3392938 h 5092591"/>
              <a:gd name="connsiteX1013" fmla="*/ 3677076 w 4546203"/>
              <a:gd name="connsiteY1013" fmla="*/ 3278328 h 5092591"/>
              <a:gd name="connsiteX1014" fmla="*/ 3754279 w 4546203"/>
              <a:gd name="connsiteY1014" fmla="*/ 3318919 h 5092591"/>
              <a:gd name="connsiteX1015" fmla="*/ 3687423 w 4546203"/>
              <a:gd name="connsiteY1015" fmla="*/ 3432734 h 5092591"/>
              <a:gd name="connsiteX1016" fmla="*/ 3693790 w 4546203"/>
              <a:gd name="connsiteY1016" fmla="*/ 3451437 h 5092591"/>
              <a:gd name="connsiteX1017" fmla="*/ 3764227 w 4546203"/>
              <a:gd name="connsiteY1017" fmla="*/ 3330858 h 5092591"/>
              <a:gd name="connsiteX1018" fmla="*/ 3839440 w 4546203"/>
              <a:gd name="connsiteY1018" fmla="*/ 3370653 h 5092591"/>
              <a:gd name="connsiteX1019" fmla="*/ 3767411 w 4546203"/>
              <a:gd name="connsiteY1019" fmla="*/ 3495212 h 5092591"/>
              <a:gd name="connsiteX1020" fmla="*/ 3780543 w 4546203"/>
              <a:gd name="connsiteY1020" fmla="*/ 3504763 h 5092591"/>
              <a:gd name="connsiteX1021" fmla="*/ 3851379 w 4546203"/>
              <a:gd name="connsiteY1021" fmla="*/ 3384183 h 5092591"/>
              <a:gd name="connsiteX1022" fmla="*/ 3924602 w 4546203"/>
              <a:gd name="connsiteY1022" fmla="*/ 3423183 h 5092591"/>
              <a:gd name="connsiteX1023" fmla="*/ 3849787 w 4546203"/>
              <a:gd name="connsiteY1023" fmla="*/ 3552517 h 5092591"/>
              <a:gd name="connsiteX1024" fmla="*/ 3864909 w 4546203"/>
              <a:gd name="connsiteY1024" fmla="*/ 3562466 h 5092591"/>
              <a:gd name="connsiteX1025" fmla="*/ 3937734 w 4546203"/>
              <a:gd name="connsiteY1025" fmla="*/ 3438305 h 5092591"/>
              <a:gd name="connsiteX1026" fmla="*/ 3992254 w 4546203"/>
              <a:gd name="connsiteY1026" fmla="*/ 3466560 h 5092591"/>
              <a:gd name="connsiteX1027" fmla="*/ 3803227 w 4546203"/>
              <a:gd name="connsiteY1027" fmla="*/ 2767358 h 5092591"/>
              <a:gd name="connsiteX1028" fmla="*/ 3645638 w 4546203"/>
              <a:gd name="connsiteY1028" fmla="*/ 2764970 h 5092591"/>
              <a:gd name="connsiteX1029" fmla="*/ 3602659 w 4546203"/>
              <a:gd name="connsiteY1029" fmla="*/ 2952406 h 5092591"/>
              <a:gd name="connsiteX1030" fmla="*/ 3645638 w 4546203"/>
              <a:gd name="connsiteY1030" fmla="*/ 2764970 h 5092591"/>
              <a:gd name="connsiteX1031" fmla="*/ 805057 w 4546203"/>
              <a:gd name="connsiteY1031" fmla="*/ 2683390 h 5092591"/>
              <a:gd name="connsiteX1032" fmla="*/ 798292 w 4546203"/>
              <a:gd name="connsiteY1032" fmla="*/ 2684186 h 5092591"/>
              <a:gd name="connsiteX1033" fmla="*/ 830924 w 4546203"/>
              <a:gd name="connsiteY1033" fmla="*/ 2885152 h 5092591"/>
              <a:gd name="connsiteX1034" fmla="*/ 837291 w 4546203"/>
              <a:gd name="connsiteY1034" fmla="*/ 2883958 h 5092591"/>
              <a:gd name="connsiteX1035" fmla="*/ 805057 w 4546203"/>
              <a:gd name="connsiteY1035" fmla="*/ 2683390 h 5092591"/>
              <a:gd name="connsiteX1036" fmla="*/ 844454 w 4546203"/>
              <a:gd name="connsiteY1036" fmla="*/ 2679808 h 5092591"/>
              <a:gd name="connsiteX1037" fmla="*/ 875892 w 4546203"/>
              <a:gd name="connsiteY1037" fmla="*/ 2875203 h 5092591"/>
              <a:gd name="connsiteX1038" fmla="*/ 844454 w 4546203"/>
              <a:gd name="connsiteY1038" fmla="*/ 2679808 h 5092591"/>
              <a:gd name="connsiteX1039" fmla="*/ 883055 w 4546203"/>
              <a:gd name="connsiteY1039" fmla="*/ 2676227 h 5092591"/>
              <a:gd name="connsiteX1040" fmla="*/ 913698 w 4546203"/>
              <a:gd name="connsiteY1040" fmla="*/ 2866448 h 5092591"/>
              <a:gd name="connsiteX1041" fmla="*/ 883055 w 4546203"/>
              <a:gd name="connsiteY1041" fmla="*/ 2676227 h 5092591"/>
              <a:gd name="connsiteX1042" fmla="*/ 3626138 w 4546203"/>
              <a:gd name="connsiteY1042" fmla="*/ 2225745 h 5092591"/>
              <a:gd name="connsiteX1043" fmla="*/ 3656780 w 4546203"/>
              <a:gd name="connsiteY1043" fmla="*/ 2415966 h 5092591"/>
              <a:gd name="connsiteX1044" fmla="*/ 3626138 w 4546203"/>
              <a:gd name="connsiteY1044" fmla="*/ 2225745 h 5092591"/>
              <a:gd name="connsiteX1045" fmla="*/ 3671107 w 4546203"/>
              <a:gd name="connsiteY1045" fmla="*/ 2215797 h 5092591"/>
              <a:gd name="connsiteX1046" fmla="*/ 3663943 w 4546203"/>
              <a:gd name="connsiteY1046" fmla="*/ 2216990 h 5092591"/>
              <a:gd name="connsiteX1047" fmla="*/ 3695382 w 4546203"/>
              <a:gd name="connsiteY1047" fmla="*/ 2412385 h 5092591"/>
              <a:gd name="connsiteX1048" fmla="*/ 3702545 w 4546203"/>
              <a:gd name="connsiteY1048" fmla="*/ 2411191 h 5092591"/>
              <a:gd name="connsiteX1049" fmla="*/ 3671107 w 4546203"/>
              <a:gd name="connsiteY1049" fmla="*/ 2215797 h 5092591"/>
              <a:gd name="connsiteX1050" fmla="*/ 3709310 w 4546203"/>
              <a:gd name="connsiteY1050" fmla="*/ 2207838 h 5092591"/>
              <a:gd name="connsiteX1051" fmla="*/ 3702545 w 4546203"/>
              <a:gd name="connsiteY1051" fmla="*/ 2208634 h 5092591"/>
              <a:gd name="connsiteX1052" fmla="*/ 3734779 w 4546203"/>
              <a:gd name="connsiteY1052" fmla="*/ 2409201 h 5092591"/>
              <a:gd name="connsiteX1053" fmla="*/ 3741544 w 4546203"/>
              <a:gd name="connsiteY1053" fmla="*/ 2408007 h 5092591"/>
              <a:gd name="connsiteX1054" fmla="*/ 3709310 w 4546203"/>
              <a:gd name="connsiteY1054" fmla="*/ 2207838 h 5092591"/>
              <a:gd name="connsiteX1055" fmla="*/ 3682647 w 4546203"/>
              <a:gd name="connsiteY1055" fmla="*/ 2141380 h 5092591"/>
              <a:gd name="connsiteX1056" fmla="*/ 3657576 w 4546203"/>
              <a:gd name="connsiteY1056" fmla="*/ 2148941 h 5092591"/>
              <a:gd name="connsiteX1057" fmla="*/ 3669117 w 4546203"/>
              <a:gd name="connsiteY1057" fmla="*/ 2164063 h 5092591"/>
              <a:gd name="connsiteX1058" fmla="*/ 3687821 w 4546203"/>
              <a:gd name="connsiteY1058" fmla="*/ 2159685 h 5092591"/>
              <a:gd name="connsiteX1059" fmla="*/ 3682647 w 4546203"/>
              <a:gd name="connsiteY1059" fmla="*/ 2141380 h 5092591"/>
              <a:gd name="connsiteX1060" fmla="*/ 930412 w 4546203"/>
              <a:gd name="connsiteY1060" fmla="*/ 2138594 h 5092591"/>
              <a:gd name="connsiteX1061" fmla="*/ 887433 w 4546203"/>
              <a:gd name="connsiteY1061" fmla="*/ 2326029 h 5092591"/>
              <a:gd name="connsiteX1062" fmla="*/ 894198 w 4546203"/>
              <a:gd name="connsiteY1062" fmla="*/ 2326825 h 5092591"/>
              <a:gd name="connsiteX1063" fmla="*/ 936779 w 4546203"/>
              <a:gd name="connsiteY1063" fmla="*/ 2140186 h 5092591"/>
              <a:gd name="connsiteX1064" fmla="*/ 930412 w 4546203"/>
              <a:gd name="connsiteY1064" fmla="*/ 2138594 h 5092591"/>
              <a:gd name="connsiteX1065" fmla="*/ 3768207 w 4546203"/>
              <a:gd name="connsiteY1065" fmla="*/ 2131033 h 5092591"/>
              <a:gd name="connsiteX1066" fmla="*/ 3744728 w 4546203"/>
              <a:gd name="connsiteY1066" fmla="*/ 2138594 h 5092591"/>
              <a:gd name="connsiteX1067" fmla="*/ 3751493 w 4546203"/>
              <a:gd name="connsiteY1067" fmla="*/ 2157696 h 5092591"/>
              <a:gd name="connsiteX1068" fmla="*/ 3773778 w 4546203"/>
              <a:gd name="connsiteY1068" fmla="*/ 2150532 h 5092591"/>
              <a:gd name="connsiteX1069" fmla="*/ 3768207 w 4546203"/>
              <a:gd name="connsiteY1069" fmla="*/ 2131033 h 5092591"/>
              <a:gd name="connsiteX1070" fmla="*/ 899769 w 4546203"/>
              <a:gd name="connsiteY1070" fmla="*/ 2128645 h 5092591"/>
              <a:gd name="connsiteX1071" fmla="*/ 855597 w 4546203"/>
              <a:gd name="connsiteY1071" fmla="*/ 2322050 h 5092591"/>
              <a:gd name="connsiteX1072" fmla="*/ 899769 w 4546203"/>
              <a:gd name="connsiteY1072" fmla="*/ 2128645 h 5092591"/>
              <a:gd name="connsiteX1073" fmla="*/ 855199 w 4546203"/>
              <a:gd name="connsiteY1073" fmla="*/ 2115911 h 5092591"/>
              <a:gd name="connsiteX1074" fmla="*/ 809832 w 4546203"/>
              <a:gd name="connsiteY1074" fmla="*/ 2313693 h 5092591"/>
              <a:gd name="connsiteX1075" fmla="*/ 816199 w 4546203"/>
              <a:gd name="connsiteY1075" fmla="*/ 2315285 h 5092591"/>
              <a:gd name="connsiteX1076" fmla="*/ 861566 w 4546203"/>
              <a:gd name="connsiteY1076" fmla="*/ 2117502 h 5092591"/>
              <a:gd name="connsiteX1077" fmla="*/ 855199 w 4546203"/>
              <a:gd name="connsiteY1077" fmla="*/ 2115911 h 5092591"/>
              <a:gd name="connsiteX1078" fmla="*/ 3860532 w 4546203"/>
              <a:gd name="connsiteY1078" fmla="*/ 2106758 h 5092591"/>
              <a:gd name="connsiteX1079" fmla="*/ 3837451 w 4546203"/>
              <a:gd name="connsiteY1079" fmla="*/ 2113125 h 5092591"/>
              <a:gd name="connsiteX1080" fmla="*/ 3843818 w 4546203"/>
              <a:gd name="connsiteY1080" fmla="*/ 2133420 h 5092591"/>
              <a:gd name="connsiteX1081" fmla="*/ 3867297 w 4546203"/>
              <a:gd name="connsiteY1081" fmla="*/ 2126655 h 5092591"/>
              <a:gd name="connsiteX1082" fmla="*/ 3860532 w 4546203"/>
              <a:gd name="connsiteY1082" fmla="*/ 2106758 h 5092591"/>
              <a:gd name="connsiteX1083" fmla="*/ 3617383 w 4546203"/>
              <a:gd name="connsiteY1083" fmla="*/ 2080891 h 5092591"/>
              <a:gd name="connsiteX1084" fmla="*/ 3591516 w 4546203"/>
              <a:gd name="connsiteY1084" fmla="*/ 2090840 h 5092591"/>
              <a:gd name="connsiteX1085" fmla="*/ 3607832 w 4546203"/>
              <a:gd name="connsiteY1085" fmla="*/ 2103574 h 5092591"/>
              <a:gd name="connsiteX1086" fmla="*/ 3624148 w 4546203"/>
              <a:gd name="connsiteY1086" fmla="*/ 2097605 h 5092591"/>
              <a:gd name="connsiteX1087" fmla="*/ 3617383 w 4546203"/>
              <a:gd name="connsiteY1087" fmla="*/ 2080891 h 5092591"/>
              <a:gd name="connsiteX1088" fmla="*/ 778394 w 4546203"/>
              <a:gd name="connsiteY1088" fmla="*/ 2080493 h 5092591"/>
              <a:gd name="connsiteX1089" fmla="*/ 747354 w 4546203"/>
              <a:gd name="connsiteY1089" fmla="*/ 2197491 h 5092591"/>
              <a:gd name="connsiteX1090" fmla="*/ 787945 w 4546203"/>
              <a:gd name="connsiteY1090" fmla="*/ 2091635 h 5092591"/>
              <a:gd name="connsiteX1091" fmla="*/ 778394 w 4546203"/>
              <a:gd name="connsiteY1091" fmla="*/ 2080493 h 5092591"/>
              <a:gd name="connsiteX1092" fmla="*/ 737405 w 4546203"/>
              <a:gd name="connsiteY1092" fmla="*/ 2071340 h 5092591"/>
              <a:gd name="connsiteX1093" fmla="*/ 707559 w 4546203"/>
              <a:gd name="connsiteY1093" fmla="*/ 2175205 h 5092591"/>
              <a:gd name="connsiteX1094" fmla="*/ 711140 w 4546203"/>
              <a:gd name="connsiteY1094" fmla="*/ 2187940 h 5092591"/>
              <a:gd name="connsiteX1095" fmla="*/ 716314 w 4546203"/>
              <a:gd name="connsiteY1095" fmla="*/ 2187144 h 5092591"/>
              <a:gd name="connsiteX1096" fmla="*/ 746956 w 4546203"/>
              <a:gd name="connsiteY1096" fmla="*/ 2074126 h 5092591"/>
              <a:gd name="connsiteX1097" fmla="*/ 737405 w 4546203"/>
              <a:gd name="connsiteY1097" fmla="*/ 2071340 h 5092591"/>
              <a:gd name="connsiteX1098" fmla="*/ 3800441 w 4546203"/>
              <a:gd name="connsiteY1098" fmla="*/ 2070146 h 5092591"/>
              <a:gd name="connsiteX1099" fmla="*/ 3776962 w 4546203"/>
              <a:gd name="connsiteY1099" fmla="*/ 2077309 h 5092591"/>
              <a:gd name="connsiteX1100" fmla="*/ 3784125 w 4546203"/>
              <a:gd name="connsiteY1100" fmla="*/ 2097207 h 5092591"/>
              <a:gd name="connsiteX1101" fmla="*/ 3806410 w 4546203"/>
              <a:gd name="connsiteY1101" fmla="*/ 2089646 h 5092591"/>
              <a:gd name="connsiteX1102" fmla="*/ 3800441 w 4546203"/>
              <a:gd name="connsiteY1102" fmla="*/ 2070146 h 5092591"/>
              <a:gd name="connsiteX1103" fmla="*/ 3692994 w 4546203"/>
              <a:gd name="connsiteY1103" fmla="*/ 2047065 h 5092591"/>
              <a:gd name="connsiteX1104" fmla="*/ 3671107 w 4546203"/>
              <a:gd name="connsiteY1104" fmla="*/ 2055422 h 5092591"/>
              <a:gd name="connsiteX1105" fmla="*/ 3677474 w 4546203"/>
              <a:gd name="connsiteY1105" fmla="*/ 2073728 h 5092591"/>
              <a:gd name="connsiteX1106" fmla="*/ 3700555 w 4546203"/>
              <a:gd name="connsiteY1106" fmla="*/ 2065769 h 5092591"/>
              <a:gd name="connsiteX1107" fmla="*/ 3692994 w 4546203"/>
              <a:gd name="connsiteY1107" fmla="*/ 2047065 h 5092591"/>
              <a:gd name="connsiteX1108" fmla="*/ 854005 w 4546203"/>
              <a:gd name="connsiteY1108" fmla="*/ 2025178 h 5092591"/>
              <a:gd name="connsiteX1109" fmla="*/ 847638 w 4546203"/>
              <a:gd name="connsiteY1109" fmla="*/ 2043881 h 5092591"/>
              <a:gd name="connsiteX1110" fmla="*/ 870321 w 4546203"/>
              <a:gd name="connsiteY1110" fmla="*/ 2051442 h 5092591"/>
              <a:gd name="connsiteX1111" fmla="*/ 876688 w 4546203"/>
              <a:gd name="connsiteY1111" fmla="*/ 2033137 h 5092591"/>
              <a:gd name="connsiteX1112" fmla="*/ 854005 w 4546203"/>
              <a:gd name="connsiteY1112" fmla="*/ 2025178 h 5092591"/>
              <a:gd name="connsiteX1113" fmla="*/ 3819941 w 4546203"/>
              <a:gd name="connsiteY1113" fmla="*/ 2002494 h 5092591"/>
              <a:gd name="connsiteX1114" fmla="*/ 3797655 w 4546203"/>
              <a:gd name="connsiteY1114" fmla="*/ 2010851 h 5092591"/>
              <a:gd name="connsiteX1115" fmla="*/ 3806410 w 4546203"/>
              <a:gd name="connsiteY1115" fmla="*/ 2030749 h 5092591"/>
              <a:gd name="connsiteX1116" fmla="*/ 3828298 w 4546203"/>
              <a:gd name="connsiteY1116" fmla="*/ 2021994 h 5092591"/>
              <a:gd name="connsiteX1117" fmla="*/ 3819941 w 4546203"/>
              <a:gd name="connsiteY1117" fmla="*/ 2002494 h 5092591"/>
              <a:gd name="connsiteX1118" fmla="*/ 727058 w 4546203"/>
              <a:gd name="connsiteY1118" fmla="*/ 1979015 h 5092591"/>
              <a:gd name="connsiteX1119" fmla="*/ 720691 w 4546203"/>
              <a:gd name="connsiteY1119" fmla="*/ 1999311 h 5092591"/>
              <a:gd name="connsiteX1120" fmla="*/ 742976 w 4546203"/>
              <a:gd name="connsiteY1120" fmla="*/ 2006474 h 5092591"/>
              <a:gd name="connsiteX1121" fmla="*/ 750537 w 4546203"/>
              <a:gd name="connsiteY1121" fmla="*/ 1986576 h 5092591"/>
              <a:gd name="connsiteX1122" fmla="*/ 727058 w 4546203"/>
              <a:gd name="connsiteY1122" fmla="*/ 1979015 h 5092591"/>
              <a:gd name="connsiteX1123" fmla="*/ 922851 w 4546203"/>
              <a:gd name="connsiteY1123" fmla="*/ 1959118 h 5092591"/>
              <a:gd name="connsiteX1124" fmla="*/ 916085 w 4546203"/>
              <a:gd name="connsiteY1124" fmla="*/ 1975036 h 5092591"/>
              <a:gd name="connsiteX1125" fmla="*/ 943146 w 4546203"/>
              <a:gd name="connsiteY1125" fmla="*/ 1968270 h 5092591"/>
              <a:gd name="connsiteX1126" fmla="*/ 922851 w 4546203"/>
              <a:gd name="connsiteY1126" fmla="*/ 1959118 h 5092591"/>
              <a:gd name="connsiteX1127" fmla="*/ 784363 w 4546203"/>
              <a:gd name="connsiteY1127" fmla="*/ 1944393 h 5092591"/>
              <a:gd name="connsiteX1128" fmla="*/ 776802 w 4546203"/>
              <a:gd name="connsiteY1128" fmla="*/ 1963893 h 5092591"/>
              <a:gd name="connsiteX1129" fmla="*/ 799087 w 4546203"/>
              <a:gd name="connsiteY1129" fmla="*/ 1972648 h 5092591"/>
              <a:gd name="connsiteX1130" fmla="*/ 806649 w 4546203"/>
              <a:gd name="connsiteY1130" fmla="*/ 1953546 h 5092591"/>
              <a:gd name="connsiteX1131" fmla="*/ 784363 w 4546203"/>
              <a:gd name="connsiteY1131" fmla="*/ 1944393 h 5092591"/>
              <a:gd name="connsiteX1132" fmla="*/ 850423 w 4546203"/>
              <a:gd name="connsiteY1132" fmla="*/ 1912159 h 5092591"/>
              <a:gd name="connsiteX1133" fmla="*/ 842066 w 4546203"/>
              <a:gd name="connsiteY1133" fmla="*/ 1930863 h 5092591"/>
              <a:gd name="connsiteX1134" fmla="*/ 865148 w 4546203"/>
              <a:gd name="connsiteY1134" fmla="*/ 1939618 h 5092591"/>
              <a:gd name="connsiteX1135" fmla="*/ 872311 w 4546203"/>
              <a:gd name="connsiteY1135" fmla="*/ 1921710 h 5092591"/>
              <a:gd name="connsiteX1136" fmla="*/ 850423 w 4546203"/>
              <a:gd name="connsiteY1136" fmla="*/ 1912159 h 5092591"/>
              <a:gd name="connsiteX1137" fmla="*/ 3665933 w 4546203"/>
              <a:gd name="connsiteY1137" fmla="*/ 1871568 h 5092591"/>
              <a:gd name="connsiteX1138" fmla="*/ 3711698 w 4546203"/>
              <a:gd name="connsiteY1138" fmla="*/ 1976229 h 5092591"/>
              <a:gd name="connsiteX1139" fmla="*/ 3718463 w 4546203"/>
              <a:gd name="connsiteY1139" fmla="*/ 1975434 h 5092591"/>
              <a:gd name="connsiteX1140" fmla="*/ 3717269 w 4546203"/>
              <a:gd name="connsiteY1140" fmla="*/ 1959913 h 5092591"/>
              <a:gd name="connsiteX1141" fmla="*/ 3665933 w 4546203"/>
              <a:gd name="connsiteY1141" fmla="*/ 1871568 h 5092591"/>
              <a:gd name="connsiteX1142" fmla="*/ 3709708 w 4546203"/>
              <a:gd name="connsiteY1142" fmla="*/ 1850875 h 5092591"/>
              <a:gd name="connsiteX1143" fmla="*/ 3708514 w 4546203"/>
              <a:gd name="connsiteY1143" fmla="*/ 1859630 h 5092591"/>
              <a:gd name="connsiteX1144" fmla="*/ 3754676 w 4546203"/>
              <a:gd name="connsiteY1144" fmla="*/ 1963495 h 5092591"/>
              <a:gd name="connsiteX1145" fmla="*/ 3761840 w 4546203"/>
              <a:gd name="connsiteY1145" fmla="*/ 1954740 h 5092591"/>
              <a:gd name="connsiteX1146" fmla="*/ 3718065 w 4546203"/>
              <a:gd name="connsiteY1146" fmla="*/ 1852864 h 5092591"/>
              <a:gd name="connsiteX1147" fmla="*/ 3709708 w 4546203"/>
              <a:gd name="connsiteY1147" fmla="*/ 1850875 h 5092591"/>
              <a:gd name="connsiteX1148" fmla="*/ 3516701 w 4546203"/>
              <a:gd name="connsiteY1148" fmla="*/ 1831375 h 5092591"/>
              <a:gd name="connsiteX1149" fmla="*/ 3478896 w 4546203"/>
              <a:gd name="connsiteY1149" fmla="*/ 1853660 h 5092591"/>
              <a:gd name="connsiteX1150" fmla="*/ 3564058 w 4546203"/>
              <a:gd name="connsiteY1150" fmla="*/ 2028759 h 5092591"/>
              <a:gd name="connsiteX1151" fmla="*/ 3570823 w 4546203"/>
              <a:gd name="connsiteY1151" fmla="*/ 2025576 h 5092591"/>
              <a:gd name="connsiteX1152" fmla="*/ 3502375 w 4546203"/>
              <a:gd name="connsiteY1152" fmla="*/ 1877139 h 5092591"/>
              <a:gd name="connsiteX1153" fmla="*/ 3525854 w 4546203"/>
              <a:gd name="connsiteY1153" fmla="*/ 1864803 h 5092591"/>
              <a:gd name="connsiteX1154" fmla="*/ 3597088 w 4546203"/>
              <a:gd name="connsiteY1154" fmla="*/ 2016025 h 5092591"/>
              <a:gd name="connsiteX1155" fmla="*/ 3603455 w 4546203"/>
              <a:gd name="connsiteY1155" fmla="*/ 2012841 h 5092591"/>
              <a:gd name="connsiteX1156" fmla="*/ 3516701 w 4546203"/>
              <a:gd name="connsiteY1156" fmla="*/ 1831375 h 5092591"/>
              <a:gd name="connsiteX1157" fmla="*/ 3553711 w 4546203"/>
              <a:gd name="connsiteY1157" fmla="*/ 1812671 h 5092591"/>
              <a:gd name="connsiteX1158" fmla="*/ 3547344 w 4546203"/>
              <a:gd name="connsiteY1158" fmla="*/ 1815457 h 5092591"/>
              <a:gd name="connsiteX1159" fmla="*/ 3636485 w 4546203"/>
              <a:gd name="connsiteY1159" fmla="*/ 1999311 h 5092591"/>
              <a:gd name="connsiteX1160" fmla="*/ 3642454 w 4546203"/>
              <a:gd name="connsiteY1160" fmla="*/ 1996525 h 5092591"/>
              <a:gd name="connsiteX1161" fmla="*/ 3553711 w 4546203"/>
              <a:gd name="connsiteY1161" fmla="*/ 1812671 h 5092591"/>
              <a:gd name="connsiteX1162" fmla="*/ 3500783 w 4546203"/>
              <a:gd name="connsiteY1162" fmla="*/ 1671000 h 5092591"/>
              <a:gd name="connsiteX1163" fmla="*/ 3466559 w 4546203"/>
              <a:gd name="connsiteY1163" fmla="*/ 1695275 h 5092591"/>
              <a:gd name="connsiteX1164" fmla="*/ 3486457 w 4546203"/>
              <a:gd name="connsiteY1164" fmla="*/ 1722734 h 5092591"/>
              <a:gd name="connsiteX1165" fmla="*/ 3520681 w 4546203"/>
              <a:gd name="connsiteY1165" fmla="*/ 1699255 h 5092591"/>
              <a:gd name="connsiteX1166" fmla="*/ 3500783 w 4546203"/>
              <a:gd name="connsiteY1166" fmla="*/ 1671000 h 5092591"/>
              <a:gd name="connsiteX1167" fmla="*/ 3596690 w 4546203"/>
              <a:gd name="connsiteY1167" fmla="*/ 1625236 h 5092591"/>
              <a:gd name="connsiteX1168" fmla="*/ 3562864 w 4546203"/>
              <a:gd name="connsiteY1168" fmla="*/ 1649511 h 5092591"/>
              <a:gd name="connsiteX1169" fmla="*/ 3583159 w 4546203"/>
              <a:gd name="connsiteY1169" fmla="*/ 1678959 h 5092591"/>
              <a:gd name="connsiteX1170" fmla="*/ 3617781 w 4546203"/>
              <a:gd name="connsiteY1170" fmla="*/ 1655878 h 5092591"/>
              <a:gd name="connsiteX1171" fmla="*/ 3596690 w 4546203"/>
              <a:gd name="connsiteY1171" fmla="*/ 1625236 h 5092591"/>
              <a:gd name="connsiteX1172" fmla="*/ 3271165 w 4546203"/>
              <a:gd name="connsiteY1172" fmla="*/ 1567135 h 5092591"/>
              <a:gd name="connsiteX1173" fmla="*/ 3264400 w 4546203"/>
              <a:gd name="connsiteY1173" fmla="*/ 1573502 h 5092591"/>
              <a:gd name="connsiteX1174" fmla="*/ 3302603 w 4546203"/>
              <a:gd name="connsiteY1174" fmla="*/ 1612899 h 5092591"/>
              <a:gd name="connsiteX1175" fmla="*/ 3308970 w 4546203"/>
              <a:gd name="connsiteY1175" fmla="*/ 1606930 h 5092591"/>
              <a:gd name="connsiteX1176" fmla="*/ 3271165 w 4546203"/>
              <a:gd name="connsiteY1176" fmla="*/ 1567135 h 5092591"/>
              <a:gd name="connsiteX1177" fmla="*/ 3471335 w 4546203"/>
              <a:gd name="connsiteY1177" fmla="*/ 1554002 h 5092591"/>
              <a:gd name="connsiteX1178" fmla="*/ 3439101 w 4546203"/>
              <a:gd name="connsiteY1178" fmla="*/ 1581063 h 5092591"/>
              <a:gd name="connsiteX1179" fmla="*/ 3460988 w 4546203"/>
              <a:gd name="connsiteY1179" fmla="*/ 1608124 h 5092591"/>
              <a:gd name="connsiteX1180" fmla="*/ 3493620 w 4546203"/>
              <a:gd name="connsiteY1180" fmla="*/ 1581461 h 5092591"/>
              <a:gd name="connsiteX1181" fmla="*/ 3471335 w 4546203"/>
              <a:gd name="connsiteY1181" fmla="*/ 1554002 h 5092591"/>
              <a:gd name="connsiteX1182" fmla="*/ 674926 w 4546203"/>
              <a:gd name="connsiteY1182" fmla="*/ 1529329 h 5092591"/>
              <a:gd name="connsiteX1183" fmla="*/ 601703 w 4546203"/>
              <a:gd name="connsiteY1183" fmla="*/ 1653093 h 5092591"/>
              <a:gd name="connsiteX1184" fmla="*/ 546388 w 4546203"/>
              <a:gd name="connsiteY1184" fmla="*/ 1624042 h 5092591"/>
              <a:gd name="connsiteX1185" fmla="*/ 537235 w 4546203"/>
              <a:gd name="connsiteY1185" fmla="*/ 1645133 h 5092591"/>
              <a:gd name="connsiteX1186" fmla="*/ 499430 w 4546203"/>
              <a:gd name="connsiteY1186" fmla="*/ 1969066 h 5092591"/>
              <a:gd name="connsiteX1187" fmla="*/ 711936 w 4546203"/>
              <a:gd name="connsiteY1187" fmla="*/ 2311703 h 5092591"/>
              <a:gd name="connsiteX1188" fmla="*/ 735813 w 4546203"/>
              <a:gd name="connsiteY1188" fmla="*/ 2326029 h 5092591"/>
              <a:gd name="connsiteX1189" fmla="*/ 756507 w 4546203"/>
              <a:gd name="connsiteY1189" fmla="*/ 2208634 h 5092591"/>
              <a:gd name="connsiteX1190" fmla="*/ 710344 w 4546203"/>
              <a:gd name="connsiteY1190" fmla="*/ 2205848 h 5092591"/>
              <a:gd name="connsiteX1191" fmla="*/ 667365 w 4546203"/>
              <a:gd name="connsiteY1191" fmla="*/ 2205848 h 5092591"/>
              <a:gd name="connsiteX1192" fmla="*/ 704773 w 4546203"/>
              <a:gd name="connsiteY1192" fmla="*/ 2060595 h 5092591"/>
              <a:gd name="connsiteX1193" fmla="*/ 654233 w 4546203"/>
              <a:gd name="connsiteY1193" fmla="*/ 2043483 h 5092591"/>
              <a:gd name="connsiteX1194" fmla="*/ 667365 w 4546203"/>
              <a:gd name="connsiteY1194" fmla="*/ 2000107 h 5092591"/>
              <a:gd name="connsiteX1195" fmla="*/ 627172 w 4546203"/>
              <a:gd name="connsiteY1195" fmla="*/ 1985382 h 5092591"/>
              <a:gd name="connsiteX1196" fmla="*/ 680498 w 4546203"/>
              <a:gd name="connsiteY1196" fmla="*/ 1848487 h 5092591"/>
              <a:gd name="connsiteX1197" fmla="*/ 719497 w 4546203"/>
              <a:gd name="connsiteY1197" fmla="*/ 1864803 h 5092591"/>
              <a:gd name="connsiteX1198" fmla="*/ 741782 w 4546203"/>
              <a:gd name="connsiteY1198" fmla="*/ 1819436 h 5092591"/>
              <a:gd name="connsiteX1199" fmla="*/ 1012788 w 4546203"/>
              <a:gd name="connsiteY1199" fmla="*/ 1948373 h 5092591"/>
              <a:gd name="connsiteX1200" fmla="*/ 1029900 w 4546203"/>
              <a:gd name="connsiteY1200" fmla="*/ 1912557 h 5092591"/>
              <a:gd name="connsiteX1201" fmla="*/ 956278 w 4546203"/>
              <a:gd name="connsiteY1201" fmla="*/ 1874354 h 5092591"/>
              <a:gd name="connsiteX1202" fmla="*/ 1037859 w 4546203"/>
              <a:gd name="connsiteY1202" fmla="*/ 1733479 h 5092591"/>
              <a:gd name="connsiteX1203" fmla="*/ 1031094 w 4546203"/>
              <a:gd name="connsiteY1203" fmla="*/ 1729499 h 5092591"/>
              <a:gd name="connsiteX1204" fmla="*/ 950309 w 4546203"/>
              <a:gd name="connsiteY1204" fmla="*/ 1865201 h 5092591"/>
              <a:gd name="connsiteX1205" fmla="*/ 870321 w 4546203"/>
              <a:gd name="connsiteY1205" fmla="*/ 1823814 h 5092591"/>
              <a:gd name="connsiteX1206" fmla="*/ 946728 w 4546203"/>
              <a:gd name="connsiteY1206" fmla="*/ 1691296 h 5092591"/>
              <a:gd name="connsiteX1207" fmla="*/ 942350 w 4546203"/>
              <a:gd name="connsiteY1207" fmla="*/ 1686520 h 5092591"/>
              <a:gd name="connsiteX1208" fmla="*/ 930412 w 4546203"/>
              <a:gd name="connsiteY1208" fmla="*/ 1696867 h 5092591"/>
              <a:gd name="connsiteX1209" fmla="*/ 861566 w 4546203"/>
              <a:gd name="connsiteY1209" fmla="*/ 1812671 h 5092591"/>
              <a:gd name="connsiteX1210" fmla="*/ 785955 w 4546203"/>
              <a:gd name="connsiteY1210" fmla="*/ 1773274 h 5092591"/>
              <a:gd name="connsiteX1211" fmla="*/ 795904 w 4546203"/>
              <a:gd name="connsiteY1211" fmla="*/ 1754172 h 5092591"/>
              <a:gd name="connsiteX1212" fmla="*/ 852413 w 4546203"/>
              <a:gd name="connsiteY1212" fmla="*/ 1655878 h 5092591"/>
              <a:gd name="connsiteX1213" fmla="*/ 852413 w 4546203"/>
              <a:gd name="connsiteY1213" fmla="*/ 1641552 h 5092591"/>
              <a:gd name="connsiteX1214" fmla="*/ 840872 w 4546203"/>
              <a:gd name="connsiteY1214" fmla="*/ 1648715 h 5092591"/>
              <a:gd name="connsiteX1215" fmla="*/ 833311 w 4546203"/>
              <a:gd name="connsiteY1215" fmla="*/ 1660256 h 5092591"/>
              <a:gd name="connsiteX1216" fmla="*/ 774812 w 4546203"/>
              <a:gd name="connsiteY1216" fmla="*/ 1760142 h 5092591"/>
              <a:gd name="connsiteX1217" fmla="*/ 699202 w 4546203"/>
              <a:gd name="connsiteY1217" fmla="*/ 1720346 h 5092591"/>
              <a:gd name="connsiteX1218" fmla="*/ 766058 w 4546203"/>
              <a:gd name="connsiteY1218" fmla="*/ 1606930 h 5092591"/>
              <a:gd name="connsiteX1219" fmla="*/ 756905 w 4546203"/>
              <a:gd name="connsiteY1219" fmla="*/ 1589420 h 5092591"/>
              <a:gd name="connsiteX1220" fmla="*/ 687661 w 4546203"/>
              <a:gd name="connsiteY1220" fmla="*/ 1707214 h 5092591"/>
              <a:gd name="connsiteX1221" fmla="*/ 614836 w 4546203"/>
              <a:gd name="connsiteY1221" fmla="*/ 1668215 h 5092591"/>
              <a:gd name="connsiteX1222" fmla="*/ 689651 w 4546203"/>
              <a:gd name="connsiteY1222" fmla="*/ 1539278 h 5092591"/>
              <a:gd name="connsiteX1223" fmla="*/ 674926 w 4546203"/>
              <a:gd name="connsiteY1223" fmla="*/ 1529329 h 5092591"/>
              <a:gd name="connsiteX1224" fmla="*/ 3598679 w 4546203"/>
              <a:gd name="connsiteY1224" fmla="*/ 1527340 h 5092591"/>
              <a:gd name="connsiteX1225" fmla="*/ 3566047 w 4546203"/>
              <a:gd name="connsiteY1225" fmla="*/ 1552809 h 5092591"/>
              <a:gd name="connsiteX1226" fmla="*/ 3588731 w 4546203"/>
              <a:gd name="connsiteY1226" fmla="*/ 1583053 h 5092591"/>
              <a:gd name="connsiteX1227" fmla="*/ 3622159 w 4546203"/>
              <a:gd name="connsiteY1227" fmla="*/ 1557584 h 5092591"/>
              <a:gd name="connsiteX1228" fmla="*/ 3598679 w 4546203"/>
              <a:gd name="connsiteY1228" fmla="*/ 1527340 h 5092591"/>
              <a:gd name="connsiteX1229" fmla="*/ 1238426 w 4546203"/>
              <a:gd name="connsiteY1229" fmla="*/ 1470433 h 5092591"/>
              <a:gd name="connsiteX1230" fmla="*/ 1213355 w 4546203"/>
              <a:gd name="connsiteY1230" fmla="*/ 1498289 h 5092591"/>
              <a:gd name="connsiteX1231" fmla="*/ 1236437 w 4546203"/>
              <a:gd name="connsiteY1231" fmla="*/ 1517391 h 5092591"/>
              <a:gd name="connsiteX1232" fmla="*/ 1260712 w 4546203"/>
              <a:gd name="connsiteY1232" fmla="*/ 1489932 h 5092591"/>
              <a:gd name="connsiteX1233" fmla="*/ 1238426 w 4546203"/>
              <a:gd name="connsiteY1233" fmla="*/ 1470433 h 5092591"/>
              <a:gd name="connsiteX1234" fmla="*/ 3599873 w 4546203"/>
              <a:gd name="connsiteY1234" fmla="*/ 1447749 h 5092591"/>
              <a:gd name="connsiteX1235" fmla="*/ 3567639 w 4546203"/>
              <a:gd name="connsiteY1235" fmla="*/ 1474412 h 5092591"/>
              <a:gd name="connsiteX1236" fmla="*/ 3591914 w 4546203"/>
              <a:gd name="connsiteY1236" fmla="*/ 1504258 h 5092591"/>
              <a:gd name="connsiteX1237" fmla="*/ 3624546 w 4546203"/>
              <a:gd name="connsiteY1237" fmla="*/ 1478392 h 5092591"/>
              <a:gd name="connsiteX1238" fmla="*/ 3599873 w 4546203"/>
              <a:gd name="connsiteY1238" fmla="*/ 1447749 h 5092591"/>
              <a:gd name="connsiteX1239" fmla="*/ 1199029 w 4546203"/>
              <a:gd name="connsiteY1239" fmla="*/ 1428648 h 5092591"/>
              <a:gd name="connsiteX1240" fmla="*/ 1171173 w 4546203"/>
              <a:gd name="connsiteY1240" fmla="*/ 1451331 h 5092591"/>
              <a:gd name="connsiteX1241" fmla="*/ 1195050 w 4546203"/>
              <a:gd name="connsiteY1241" fmla="*/ 1478392 h 5092591"/>
              <a:gd name="connsiteX1242" fmla="*/ 1224100 w 4546203"/>
              <a:gd name="connsiteY1242" fmla="*/ 1451729 h 5092591"/>
              <a:gd name="connsiteX1243" fmla="*/ 1199029 w 4546203"/>
              <a:gd name="connsiteY1243" fmla="*/ 1428648 h 5092591"/>
              <a:gd name="connsiteX1244" fmla="*/ 2320068 w 4546203"/>
              <a:gd name="connsiteY1244" fmla="*/ 1391331 h 5092591"/>
              <a:gd name="connsiteX1245" fmla="*/ 1854058 w 4546203"/>
              <a:gd name="connsiteY1245" fmla="*/ 1462871 h 5092591"/>
              <a:gd name="connsiteX1246" fmla="*/ 1206192 w 4546203"/>
              <a:gd name="connsiteY1246" fmla="*/ 2059799 h 5092591"/>
              <a:gd name="connsiteX1247" fmla="*/ 1138541 w 4546203"/>
              <a:gd name="connsiteY1247" fmla="*/ 2818296 h 5092591"/>
              <a:gd name="connsiteX1248" fmla="*/ 1487544 w 4546203"/>
              <a:gd name="connsiteY1248" fmla="*/ 3421591 h 5092591"/>
              <a:gd name="connsiteX1249" fmla="*/ 2232510 w 4546203"/>
              <a:gd name="connsiteY1249" fmla="*/ 3699760 h 5092591"/>
              <a:gd name="connsiteX1250" fmla="*/ 2608177 w 4546203"/>
              <a:gd name="connsiteY1250" fmla="*/ 3651607 h 5092591"/>
              <a:gd name="connsiteX1251" fmla="*/ 3310164 w 4546203"/>
              <a:gd name="connsiteY1251" fmla="*/ 3078159 h 5092591"/>
              <a:gd name="connsiteX1252" fmla="*/ 3402091 w 4546203"/>
              <a:gd name="connsiteY1252" fmla="*/ 2279469 h 5092591"/>
              <a:gd name="connsiteX1253" fmla="*/ 3032394 w 4546203"/>
              <a:gd name="connsiteY1253" fmla="*/ 1662245 h 5092591"/>
              <a:gd name="connsiteX1254" fmla="*/ 2320068 w 4546203"/>
              <a:gd name="connsiteY1254" fmla="*/ 1391331 h 5092591"/>
              <a:gd name="connsiteX1255" fmla="*/ 3350357 w 4546203"/>
              <a:gd name="connsiteY1255" fmla="*/ 1378904 h 5092591"/>
              <a:gd name="connsiteX1256" fmla="*/ 3316531 w 4546203"/>
              <a:gd name="connsiteY1256" fmla="*/ 1417107 h 5092591"/>
              <a:gd name="connsiteX1257" fmla="*/ 3345184 w 4546203"/>
              <a:gd name="connsiteY1257" fmla="*/ 1443770 h 5092591"/>
              <a:gd name="connsiteX1258" fmla="*/ 3379806 w 4546203"/>
              <a:gd name="connsiteY1258" fmla="*/ 1411138 h 5092591"/>
              <a:gd name="connsiteX1259" fmla="*/ 3350357 w 4546203"/>
              <a:gd name="connsiteY1259" fmla="*/ 1378904 h 5092591"/>
              <a:gd name="connsiteX1260" fmla="*/ 1431831 w 4546203"/>
              <a:gd name="connsiteY1260" fmla="*/ 1376914 h 5092591"/>
              <a:gd name="connsiteX1261" fmla="*/ 1402383 w 4546203"/>
              <a:gd name="connsiteY1261" fmla="*/ 1399199 h 5092591"/>
              <a:gd name="connsiteX1262" fmla="*/ 1398403 w 4546203"/>
              <a:gd name="connsiteY1262" fmla="*/ 1408352 h 5092591"/>
              <a:gd name="connsiteX1263" fmla="*/ 1409546 w 4546203"/>
              <a:gd name="connsiteY1263" fmla="*/ 1407556 h 5092591"/>
              <a:gd name="connsiteX1264" fmla="*/ 1433025 w 4546203"/>
              <a:gd name="connsiteY1264" fmla="*/ 1390046 h 5092591"/>
              <a:gd name="connsiteX1265" fmla="*/ 1437402 w 4546203"/>
              <a:gd name="connsiteY1265" fmla="*/ 1379699 h 5092591"/>
              <a:gd name="connsiteX1266" fmla="*/ 1431831 w 4546203"/>
              <a:gd name="connsiteY1266" fmla="*/ 1376914 h 5092591"/>
              <a:gd name="connsiteX1267" fmla="*/ 3303399 w 4546203"/>
              <a:gd name="connsiteY1267" fmla="*/ 1340302 h 5092591"/>
              <a:gd name="connsiteX1268" fmla="*/ 3271961 w 4546203"/>
              <a:gd name="connsiteY1268" fmla="*/ 1377312 h 5092591"/>
              <a:gd name="connsiteX1269" fmla="*/ 3303001 w 4546203"/>
              <a:gd name="connsiteY1269" fmla="*/ 1404373 h 5092591"/>
              <a:gd name="connsiteX1270" fmla="*/ 3335633 w 4546203"/>
              <a:gd name="connsiteY1270" fmla="*/ 1368557 h 5092591"/>
              <a:gd name="connsiteX1271" fmla="*/ 3303399 w 4546203"/>
              <a:gd name="connsiteY1271" fmla="*/ 1340302 h 5092591"/>
              <a:gd name="connsiteX1272" fmla="*/ 1285385 w 4546203"/>
              <a:gd name="connsiteY1272" fmla="*/ 1337517 h 5092591"/>
              <a:gd name="connsiteX1273" fmla="*/ 1255538 w 4546203"/>
              <a:gd name="connsiteY1273" fmla="*/ 1362986 h 5092591"/>
              <a:gd name="connsiteX1274" fmla="*/ 1277426 w 4546203"/>
              <a:gd name="connsiteY1274" fmla="*/ 1388454 h 5092591"/>
              <a:gd name="connsiteX1275" fmla="*/ 1306476 w 4546203"/>
              <a:gd name="connsiteY1275" fmla="*/ 1362588 h 5092591"/>
              <a:gd name="connsiteX1276" fmla="*/ 1285385 w 4546203"/>
              <a:gd name="connsiteY1276" fmla="*/ 1337517 h 5092591"/>
              <a:gd name="connsiteX1277" fmla="*/ 1111082 w 4546203"/>
              <a:gd name="connsiteY1277" fmla="*/ 1327966 h 5092591"/>
              <a:gd name="connsiteX1278" fmla="*/ 1082031 w 4546203"/>
              <a:gd name="connsiteY1278" fmla="*/ 1355027 h 5092591"/>
              <a:gd name="connsiteX1279" fmla="*/ 1106306 w 4546203"/>
              <a:gd name="connsiteY1279" fmla="*/ 1384077 h 5092591"/>
              <a:gd name="connsiteX1280" fmla="*/ 1134163 w 4546203"/>
              <a:gd name="connsiteY1280" fmla="*/ 1352241 h 5092591"/>
              <a:gd name="connsiteX1281" fmla="*/ 1111082 w 4546203"/>
              <a:gd name="connsiteY1281" fmla="*/ 1327966 h 5092591"/>
              <a:gd name="connsiteX1282" fmla="*/ 3398908 w 4546203"/>
              <a:gd name="connsiteY1282" fmla="*/ 1327568 h 5092591"/>
              <a:gd name="connsiteX1283" fmla="*/ 3364684 w 4546203"/>
              <a:gd name="connsiteY1283" fmla="*/ 1364577 h 5092591"/>
              <a:gd name="connsiteX1284" fmla="*/ 3393734 w 4546203"/>
              <a:gd name="connsiteY1284" fmla="*/ 1392036 h 5092591"/>
              <a:gd name="connsiteX1285" fmla="*/ 3426764 w 4546203"/>
              <a:gd name="connsiteY1285" fmla="*/ 1360200 h 5092591"/>
              <a:gd name="connsiteX1286" fmla="*/ 3398908 w 4546203"/>
              <a:gd name="connsiteY1286" fmla="*/ 1327568 h 5092591"/>
              <a:gd name="connsiteX1287" fmla="*/ 3256043 w 4546203"/>
              <a:gd name="connsiteY1287" fmla="*/ 1300905 h 5092591"/>
              <a:gd name="connsiteX1288" fmla="*/ 3225798 w 4546203"/>
              <a:gd name="connsiteY1288" fmla="*/ 1338710 h 5092591"/>
              <a:gd name="connsiteX1289" fmla="*/ 3258032 w 4546203"/>
              <a:gd name="connsiteY1289" fmla="*/ 1364975 h 5092591"/>
              <a:gd name="connsiteX1290" fmla="*/ 3289471 w 4546203"/>
              <a:gd name="connsiteY1290" fmla="*/ 1327170 h 5092591"/>
              <a:gd name="connsiteX1291" fmla="*/ 3256043 w 4546203"/>
              <a:gd name="connsiteY1291" fmla="*/ 1300905 h 5092591"/>
              <a:gd name="connsiteX1292" fmla="*/ 1247181 w 4546203"/>
              <a:gd name="connsiteY1292" fmla="*/ 1289762 h 5092591"/>
              <a:gd name="connsiteX1293" fmla="*/ 1215743 w 4546203"/>
              <a:gd name="connsiteY1293" fmla="*/ 1316823 h 5092591"/>
              <a:gd name="connsiteX1294" fmla="*/ 1240416 w 4546203"/>
              <a:gd name="connsiteY1294" fmla="*/ 1345078 h 5092591"/>
              <a:gd name="connsiteX1295" fmla="*/ 1271059 w 4546203"/>
              <a:gd name="connsiteY1295" fmla="*/ 1319211 h 5092591"/>
              <a:gd name="connsiteX1296" fmla="*/ 1247181 w 4546203"/>
              <a:gd name="connsiteY1296" fmla="*/ 1289762 h 5092591"/>
              <a:gd name="connsiteX1297" fmla="*/ 1533309 w 4546203"/>
              <a:gd name="connsiteY1297" fmla="*/ 1288171 h 5092591"/>
              <a:gd name="connsiteX1298" fmla="*/ 1509432 w 4546203"/>
              <a:gd name="connsiteY1298" fmla="*/ 1302497 h 5092591"/>
              <a:gd name="connsiteX1299" fmla="*/ 1528533 w 4546203"/>
              <a:gd name="connsiteY1299" fmla="*/ 1333537 h 5092591"/>
              <a:gd name="connsiteX1300" fmla="*/ 1551615 w 4546203"/>
              <a:gd name="connsiteY1300" fmla="*/ 1318813 h 5092591"/>
              <a:gd name="connsiteX1301" fmla="*/ 1533309 w 4546203"/>
              <a:gd name="connsiteY1301" fmla="*/ 1288171 h 5092591"/>
              <a:gd name="connsiteX1302" fmla="*/ 3349960 w 4546203"/>
              <a:gd name="connsiteY1302" fmla="*/ 1285783 h 5092591"/>
              <a:gd name="connsiteX1303" fmla="*/ 3318123 w 4546203"/>
              <a:gd name="connsiteY1303" fmla="*/ 1323190 h 5092591"/>
              <a:gd name="connsiteX1304" fmla="*/ 3350755 w 4546203"/>
              <a:gd name="connsiteY1304" fmla="*/ 1351047 h 5092591"/>
              <a:gd name="connsiteX1305" fmla="*/ 3382990 w 4546203"/>
              <a:gd name="connsiteY1305" fmla="*/ 1315231 h 5092591"/>
              <a:gd name="connsiteX1306" fmla="*/ 3349960 w 4546203"/>
              <a:gd name="connsiteY1306" fmla="*/ 1285783 h 5092591"/>
              <a:gd name="connsiteX1307" fmla="*/ 1071685 w 4546203"/>
              <a:gd name="connsiteY1307" fmla="*/ 1285783 h 5092591"/>
              <a:gd name="connsiteX1308" fmla="*/ 1042634 w 4546203"/>
              <a:gd name="connsiteY1308" fmla="*/ 1315231 h 5092591"/>
              <a:gd name="connsiteX1309" fmla="*/ 1064521 w 4546203"/>
              <a:gd name="connsiteY1309" fmla="*/ 1338710 h 5092591"/>
              <a:gd name="connsiteX1310" fmla="*/ 1094766 w 4546203"/>
              <a:gd name="connsiteY1310" fmla="*/ 1310058 h 5092591"/>
              <a:gd name="connsiteX1311" fmla="*/ 1071685 w 4546203"/>
              <a:gd name="connsiteY1311" fmla="*/ 1285783 h 5092591"/>
              <a:gd name="connsiteX1312" fmla="*/ 1352639 w 4546203"/>
              <a:gd name="connsiteY1312" fmla="*/ 1282599 h 5092591"/>
              <a:gd name="connsiteX1313" fmla="*/ 1320007 w 4546203"/>
              <a:gd name="connsiteY1313" fmla="*/ 1307272 h 5092591"/>
              <a:gd name="connsiteX1314" fmla="*/ 1378108 w 4546203"/>
              <a:gd name="connsiteY1314" fmla="*/ 1382485 h 5092591"/>
              <a:gd name="connsiteX1315" fmla="*/ 1421086 w 4546203"/>
              <a:gd name="connsiteY1315" fmla="*/ 1350649 h 5092591"/>
              <a:gd name="connsiteX1316" fmla="*/ 1352639 w 4546203"/>
              <a:gd name="connsiteY1316" fmla="*/ 1282599 h 5092591"/>
              <a:gd name="connsiteX1317" fmla="*/ 3446264 w 4546203"/>
              <a:gd name="connsiteY1317" fmla="*/ 1276630 h 5092591"/>
              <a:gd name="connsiteX1318" fmla="*/ 3414428 w 4546203"/>
              <a:gd name="connsiteY1318" fmla="*/ 1310854 h 5092591"/>
              <a:gd name="connsiteX1319" fmla="*/ 3442284 w 4546203"/>
              <a:gd name="connsiteY1319" fmla="*/ 1341496 h 5092591"/>
              <a:gd name="connsiteX1320" fmla="*/ 3479692 w 4546203"/>
              <a:gd name="connsiteY1320" fmla="*/ 1308466 h 5092591"/>
              <a:gd name="connsiteX1321" fmla="*/ 3446264 w 4546203"/>
              <a:gd name="connsiteY1321" fmla="*/ 1276630 h 5092591"/>
              <a:gd name="connsiteX1322" fmla="*/ 1473616 w 4546203"/>
              <a:gd name="connsiteY1322" fmla="*/ 1273446 h 5092591"/>
              <a:gd name="connsiteX1323" fmla="*/ 1449341 w 4546203"/>
              <a:gd name="connsiteY1323" fmla="*/ 1289364 h 5092591"/>
              <a:gd name="connsiteX1324" fmla="*/ 1469637 w 4546203"/>
              <a:gd name="connsiteY1324" fmla="*/ 1319211 h 5092591"/>
              <a:gd name="connsiteX1325" fmla="*/ 1493116 w 4546203"/>
              <a:gd name="connsiteY1325" fmla="*/ 1303691 h 5092591"/>
              <a:gd name="connsiteX1326" fmla="*/ 1473616 w 4546203"/>
              <a:gd name="connsiteY1326" fmla="*/ 1273446 h 5092591"/>
              <a:gd name="connsiteX1327" fmla="*/ 907579 w 4546203"/>
              <a:gd name="connsiteY1327" fmla="*/ 1265239 h 5092591"/>
              <a:gd name="connsiteX1328" fmla="*/ 843260 w 4546203"/>
              <a:gd name="connsiteY1328" fmla="*/ 1292548 h 5092591"/>
              <a:gd name="connsiteX1329" fmla="*/ 840077 w 4546203"/>
              <a:gd name="connsiteY1329" fmla="*/ 1294936 h 5092591"/>
              <a:gd name="connsiteX1330" fmla="*/ 835301 w 4546203"/>
              <a:gd name="connsiteY1330" fmla="*/ 1316425 h 5092591"/>
              <a:gd name="connsiteX1331" fmla="*/ 760884 w 4546203"/>
              <a:gd name="connsiteY1331" fmla="*/ 1409546 h 5092591"/>
              <a:gd name="connsiteX1332" fmla="*/ 758098 w 4546203"/>
              <a:gd name="connsiteY1332" fmla="*/ 1416311 h 5092591"/>
              <a:gd name="connsiteX1333" fmla="*/ 771629 w 4546203"/>
              <a:gd name="connsiteY1333" fmla="*/ 1424270 h 5092591"/>
              <a:gd name="connsiteX1334" fmla="*/ 863954 w 4546203"/>
              <a:gd name="connsiteY1334" fmla="*/ 1311252 h 5092591"/>
              <a:gd name="connsiteX1335" fmla="*/ 926034 w 4546203"/>
              <a:gd name="connsiteY1335" fmla="*/ 1365771 h 5092591"/>
              <a:gd name="connsiteX1336" fmla="*/ 840475 w 4546203"/>
              <a:gd name="connsiteY1336" fmla="*/ 1472024 h 5092591"/>
              <a:gd name="connsiteX1337" fmla="*/ 845250 w 4546203"/>
              <a:gd name="connsiteY1337" fmla="*/ 1479187 h 5092591"/>
              <a:gd name="connsiteX1338" fmla="*/ 861964 w 4546203"/>
              <a:gd name="connsiteY1338" fmla="*/ 1470830 h 5092591"/>
              <a:gd name="connsiteX1339" fmla="*/ 942748 w 4546203"/>
              <a:gd name="connsiteY1339" fmla="*/ 1371342 h 5092591"/>
              <a:gd name="connsiteX1340" fmla="*/ 1006420 w 4546203"/>
              <a:gd name="connsiteY1340" fmla="*/ 1427852 h 5092591"/>
              <a:gd name="connsiteX1341" fmla="*/ 927626 w 4546203"/>
              <a:gd name="connsiteY1341" fmla="*/ 1525350 h 5092591"/>
              <a:gd name="connsiteX1342" fmla="*/ 930014 w 4546203"/>
              <a:gd name="connsiteY1342" fmla="*/ 1543656 h 5092591"/>
              <a:gd name="connsiteX1343" fmla="*/ 1021543 w 4546203"/>
              <a:gd name="connsiteY1343" fmla="*/ 1433025 h 5092591"/>
              <a:gd name="connsiteX1344" fmla="*/ 1086409 w 4546203"/>
              <a:gd name="connsiteY1344" fmla="*/ 1491126 h 5092591"/>
              <a:gd name="connsiteX1345" fmla="*/ 1072879 w 4546203"/>
              <a:gd name="connsiteY1345" fmla="*/ 1507442 h 5092591"/>
              <a:gd name="connsiteX1346" fmla="*/ 1002839 w 4546203"/>
              <a:gd name="connsiteY1346" fmla="*/ 1594196 h 5092591"/>
              <a:gd name="connsiteX1347" fmla="*/ 997666 w 4546203"/>
              <a:gd name="connsiteY1347" fmla="*/ 1609318 h 5092591"/>
              <a:gd name="connsiteX1348" fmla="*/ 1003237 w 4546203"/>
              <a:gd name="connsiteY1348" fmla="*/ 1611308 h 5092591"/>
              <a:gd name="connsiteX1349" fmla="*/ 1099143 w 4546203"/>
              <a:gd name="connsiteY1349" fmla="*/ 1494708 h 5092591"/>
              <a:gd name="connsiteX1350" fmla="*/ 1165999 w 4546203"/>
              <a:gd name="connsiteY1350" fmla="*/ 1554798 h 5092591"/>
              <a:gd name="connsiteX1351" fmla="*/ 1129388 w 4546203"/>
              <a:gd name="connsiteY1351" fmla="*/ 1597777 h 5092591"/>
              <a:gd name="connsiteX1352" fmla="*/ 1097153 w 4546203"/>
              <a:gd name="connsiteY1352" fmla="*/ 1637970 h 5092591"/>
              <a:gd name="connsiteX1353" fmla="*/ 1075266 w 4546203"/>
              <a:gd name="connsiteY1353" fmla="*/ 1681347 h 5092591"/>
              <a:gd name="connsiteX1354" fmla="*/ 1178336 w 4546203"/>
              <a:gd name="connsiteY1354" fmla="*/ 1557982 h 5092591"/>
              <a:gd name="connsiteX1355" fmla="*/ 1240416 w 4546203"/>
              <a:gd name="connsiteY1355" fmla="*/ 1613695 h 5092591"/>
              <a:gd name="connsiteX1356" fmla="*/ 1263099 w 4546203"/>
              <a:gd name="connsiteY1356" fmla="*/ 1589022 h 5092591"/>
              <a:gd name="connsiteX1357" fmla="*/ 1245192 w 4546203"/>
              <a:gd name="connsiteY1357" fmla="*/ 1572706 h 5092591"/>
              <a:gd name="connsiteX1358" fmla="*/ 963840 w 4546203"/>
              <a:gd name="connsiteY1358" fmla="*/ 1305680 h 5092591"/>
              <a:gd name="connsiteX1359" fmla="*/ 907579 w 4546203"/>
              <a:gd name="connsiteY1359" fmla="*/ 1265239 h 5092591"/>
              <a:gd name="connsiteX1360" fmla="*/ 3207493 w 4546203"/>
              <a:gd name="connsiteY1360" fmla="*/ 1263100 h 5092591"/>
              <a:gd name="connsiteX1361" fmla="*/ 3178840 w 4546203"/>
              <a:gd name="connsiteY1361" fmla="*/ 1302497 h 5092591"/>
              <a:gd name="connsiteX1362" fmla="*/ 3211472 w 4546203"/>
              <a:gd name="connsiteY1362" fmla="*/ 1327170 h 5092591"/>
              <a:gd name="connsiteX1363" fmla="*/ 3241318 w 4546203"/>
              <a:gd name="connsiteY1363" fmla="*/ 1288568 h 5092591"/>
              <a:gd name="connsiteX1364" fmla="*/ 3207493 w 4546203"/>
              <a:gd name="connsiteY1364" fmla="*/ 1263100 h 5092591"/>
              <a:gd name="connsiteX1365" fmla="*/ 1414719 w 4546203"/>
              <a:gd name="connsiteY1365" fmla="*/ 1254345 h 5092591"/>
              <a:gd name="connsiteX1366" fmla="*/ 1389648 w 4546203"/>
              <a:gd name="connsiteY1366" fmla="*/ 1271457 h 5092591"/>
              <a:gd name="connsiteX1367" fmla="*/ 1411138 w 4546203"/>
              <a:gd name="connsiteY1367" fmla="*/ 1300905 h 5092591"/>
              <a:gd name="connsiteX1368" fmla="*/ 1434617 w 4546203"/>
              <a:gd name="connsiteY1368" fmla="*/ 1284589 h 5092591"/>
              <a:gd name="connsiteX1369" fmla="*/ 1414719 w 4546203"/>
              <a:gd name="connsiteY1369" fmla="*/ 1254345 h 5092591"/>
              <a:gd name="connsiteX1370" fmla="*/ 1269467 w 4546203"/>
              <a:gd name="connsiteY1370" fmla="*/ 1247977 h 5092591"/>
              <a:gd name="connsiteX1371" fmla="*/ 1267079 w 4546203"/>
              <a:gd name="connsiteY1371" fmla="*/ 1251957 h 5092591"/>
              <a:gd name="connsiteX1372" fmla="*/ 1302497 w 4546203"/>
              <a:gd name="connsiteY1372" fmla="*/ 1297323 h 5092591"/>
              <a:gd name="connsiteX1373" fmla="*/ 1331945 w 4546203"/>
              <a:gd name="connsiteY1373" fmla="*/ 1274640 h 5092591"/>
              <a:gd name="connsiteX1374" fmla="*/ 1269467 w 4546203"/>
              <a:gd name="connsiteY1374" fmla="*/ 1247977 h 5092591"/>
              <a:gd name="connsiteX1375" fmla="*/ 3300216 w 4546203"/>
              <a:gd name="connsiteY1375" fmla="*/ 1244794 h 5092591"/>
              <a:gd name="connsiteX1376" fmla="*/ 3269971 w 4546203"/>
              <a:gd name="connsiteY1376" fmla="*/ 1283395 h 5092591"/>
              <a:gd name="connsiteX1377" fmla="*/ 3303399 w 4546203"/>
              <a:gd name="connsiteY1377" fmla="*/ 1310456 h 5092591"/>
              <a:gd name="connsiteX1378" fmla="*/ 3334439 w 4546203"/>
              <a:gd name="connsiteY1378" fmla="*/ 1273446 h 5092591"/>
              <a:gd name="connsiteX1379" fmla="*/ 3300216 w 4546203"/>
              <a:gd name="connsiteY1379" fmla="*/ 1244794 h 5092591"/>
              <a:gd name="connsiteX1380" fmla="*/ 3396122 w 4546203"/>
              <a:gd name="connsiteY1380" fmla="*/ 1232457 h 5092591"/>
              <a:gd name="connsiteX1381" fmla="*/ 3364286 w 4546203"/>
              <a:gd name="connsiteY1381" fmla="*/ 1269467 h 5092591"/>
              <a:gd name="connsiteX1382" fmla="*/ 3398509 w 4546203"/>
              <a:gd name="connsiteY1382" fmla="*/ 1299313 h 5092591"/>
              <a:gd name="connsiteX1383" fmla="*/ 3431142 w 4546203"/>
              <a:gd name="connsiteY1383" fmla="*/ 1262702 h 5092591"/>
              <a:gd name="connsiteX1384" fmla="*/ 3396122 w 4546203"/>
              <a:gd name="connsiteY1384" fmla="*/ 1232457 h 5092591"/>
              <a:gd name="connsiteX1385" fmla="*/ 3494814 w 4546203"/>
              <a:gd name="connsiteY1385" fmla="*/ 1224100 h 5092591"/>
              <a:gd name="connsiteX1386" fmla="*/ 3460988 w 4546203"/>
              <a:gd name="connsiteY1386" fmla="*/ 1260712 h 5092591"/>
              <a:gd name="connsiteX1387" fmla="*/ 3493620 w 4546203"/>
              <a:gd name="connsiteY1387" fmla="*/ 1291354 h 5092591"/>
              <a:gd name="connsiteX1388" fmla="*/ 3528242 w 4546203"/>
              <a:gd name="connsiteY1388" fmla="*/ 1259916 h 5092591"/>
              <a:gd name="connsiteX1389" fmla="*/ 3494814 w 4546203"/>
              <a:gd name="connsiteY1389" fmla="*/ 1224100 h 5092591"/>
              <a:gd name="connsiteX1390" fmla="*/ 1707612 w 4546203"/>
              <a:gd name="connsiteY1390" fmla="*/ 1223304 h 5092591"/>
              <a:gd name="connsiteX1391" fmla="*/ 1674582 w 4546203"/>
              <a:gd name="connsiteY1391" fmla="*/ 1238427 h 5092591"/>
              <a:gd name="connsiteX1392" fmla="*/ 1690500 w 4546203"/>
              <a:gd name="connsiteY1392" fmla="*/ 1273048 h 5092591"/>
              <a:gd name="connsiteX1393" fmla="*/ 1722734 w 4546203"/>
              <a:gd name="connsiteY1393" fmla="*/ 1258722 h 5092591"/>
              <a:gd name="connsiteX1394" fmla="*/ 1707612 w 4546203"/>
              <a:gd name="connsiteY1394" fmla="*/ 1223304 h 5092591"/>
              <a:gd name="connsiteX1395" fmla="*/ 1747009 w 4546203"/>
              <a:gd name="connsiteY1395" fmla="*/ 1207386 h 5092591"/>
              <a:gd name="connsiteX1396" fmla="*/ 1713979 w 4546203"/>
              <a:gd name="connsiteY1396" fmla="*/ 1221315 h 5092591"/>
              <a:gd name="connsiteX1397" fmla="*/ 1728703 w 4546203"/>
              <a:gd name="connsiteY1397" fmla="*/ 1257130 h 5092591"/>
              <a:gd name="connsiteX1398" fmla="*/ 1761335 w 4546203"/>
              <a:gd name="connsiteY1398" fmla="*/ 1243202 h 5092591"/>
              <a:gd name="connsiteX1399" fmla="*/ 1747009 w 4546203"/>
              <a:gd name="connsiteY1399" fmla="*/ 1207386 h 5092591"/>
              <a:gd name="connsiteX1400" fmla="*/ 3249278 w 4546203"/>
              <a:gd name="connsiteY1400" fmla="*/ 1206590 h 5092591"/>
              <a:gd name="connsiteX1401" fmla="*/ 3220625 w 4546203"/>
              <a:gd name="connsiteY1401" fmla="*/ 1245590 h 5092591"/>
              <a:gd name="connsiteX1402" fmla="*/ 3254849 w 4546203"/>
              <a:gd name="connsiteY1402" fmla="*/ 1271457 h 5092591"/>
              <a:gd name="connsiteX1403" fmla="*/ 3285093 w 4546203"/>
              <a:gd name="connsiteY1403" fmla="*/ 1233253 h 5092591"/>
              <a:gd name="connsiteX1404" fmla="*/ 3249278 w 4546203"/>
              <a:gd name="connsiteY1404" fmla="*/ 1206590 h 5092591"/>
              <a:gd name="connsiteX1405" fmla="*/ 1507840 w 4546203"/>
              <a:gd name="connsiteY1405" fmla="*/ 1197438 h 5092591"/>
              <a:gd name="connsiteX1406" fmla="*/ 1481973 w 4546203"/>
              <a:gd name="connsiteY1406" fmla="*/ 1212162 h 5092591"/>
              <a:gd name="connsiteX1407" fmla="*/ 1500677 w 4546203"/>
              <a:gd name="connsiteY1407" fmla="*/ 1243600 h 5092591"/>
              <a:gd name="connsiteX1408" fmla="*/ 1525748 w 4546203"/>
              <a:gd name="connsiteY1408" fmla="*/ 1228478 h 5092591"/>
              <a:gd name="connsiteX1409" fmla="*/ 1507840 w 4546203"/>
              <a:gd name="connsiteY1409" fmla="*/ 1197438 h 5092591"/>
              <a:gd name="connsiteX1410" fmla="*/ 1423872 w 4546203"/>
              <a:gd name="connsiteY1410" fmla="*/ 1194254 h 5092591"/>
              <a:gd name="connsiteX1411" fmla="*/ 1398005 w 4546203"/>
              <a:gd name="connsiteY1411" fmla="*/ 1210570 h 5092591"/>
              <a:gd name="connsiteX1412" fmla="*/ 1418699 w 4546203"/>
              <a:gd name="connsiteY1412" fmla="*/ 1240814 h 5092591"/>
              <a:gd name="connsiteX1413" fmla="*/ 1443770 w 4546203"/>
              <a:gd name="connsiteY1413" fmla="*/ 1224100 h 5092591"/>
              <a:gd name="connsiteX1414" fmla="*/ 1423872 w 4546203"/>
              <a:gd name="connsiteY1414" fmla="*/ 1194254 h 5092591"/>
              <a:gd name="connsiteX1415" fmla="*/ 1786804 w 4546203"/>
              <a:gd name="connsiteY1415" fmla="*/ 1192264 h 5092591"/>
              <a:gd name="connsiteX1416" fmla="*/ 1753376 w 4546203"/>
              <a:gd name="connsiteY1416" fmla="*/ 1205795 h 5092591"/>
              <a:gd name="connsiteX1417" fmla="*/ 1767305 w 4546203"/>
              <a:gd name="connsiteY1417" fmla="*/ 1241212 h 5092591"/>
              <a:gd name="connsiteX1418" fmla="*/ 1799937 w 4546203"/>
              <a:gd name="connsiteY1418" fmla="*/ 1228478 h 5092591"/>
              <a:gd name="connsiteX1419" fmla="*/ 1786804 w 4546203"/>
              <a:gd name="connsiteY1419" fmla="*/ 1192264 h 5092591"/>
              <a:gd name="connsiteX1420" fmla="*/ 1619664 w 4546203"/>
              <a:gd name="connsiteY1420" fmla="*/ 1191070 h 5092591"/>
              <a:gd name="connsiteX1421" fmla="*/ 1568727 w 4546203"/>
              <a:gd name="connsiteY1421" fmla="*/ 1217335 h 5092591"/>
              <a:gd name="connsiteX1422" fmla="*/ 1620858 w 4546203"/>
              <a:gd name="connsiteY1422" fmla="*/ 1316027 h 5092591"/>
              <a:gd name="connsiteX1423" fmla="*/ 1667817 w 4546203"/>
              <a:gd name="connsiteY1423" fmla="*/ 1290956 h 5092591"/>
              <a:gd name="connsiteX1424" fmla="*/ 1619664 w 4546203"/>
              <a:gd name="connsiteY1424" fmla="*/ 1191070 h 5092591"/>
              <a:gd name="connsiteX1425" fmla="*/ 3344388 w 4546203"/>
              <a:gd name="connsiteY1425" fmla="*/ 1189478 h 5092591"/>
              <a:gd name="connsiteX1426" fmla="*/ 3314144 w 4546203"/>
              <a:gd name="connsiteY1426" fmla="*/ 1227682 h 5092591"/>
              <a:gd name="connsiteX1427" fmla="*/ 3349164 w 4546203"/>
              <a:gd name="connsiteY1427" fmla="*/ 1255936 h 5092591"/>
              <a:gd name="connsiteX1428" fmla="*/ 3380602 w 4546203"/>
              <a:gd name="connsiteY1428" fmla="*/ 1218529 h 5092591"/>
              <a:gd name="connsiteX1429" fmla="*/ 3344388 w 4546203"/>
              <a:gd name="connsiteY1429" fmla="*/ 1189478 h 5092591"/>
              <a:gd name="connsiteX1430" fmla="*/ 2835010 w 4546203"/>
              <a:gd name="connsiteY1430" fmla="*/ 1183509 h 5092591"/>
              <a:gd name="connsiteX1431" fmla="*/ 2817500 w 4546203"/>
              <a:gd name="connsiteY1431" fmla="*/ 1225692 h 5092591"/>
              <a:gd name="connsiteX1432" fmla="*/ 2877591 w 4546203"/>
              <a:gd name="connsiteY1432" fmla="*/ 1251957 h 5092591"/>
              <a:gd name="connsiteX1433" fmla="*/ 2896692 w 4546203"/>
              <a:gd name="connsiteY1433" fmla="*/ 1211366 h 5092591"/>
              <a:gd name="connsiteX1434" fmla="*/ 2835010 w 4546203"/>
              <a:gd name="connsiteY1434" fmla="*/ 1183509 h 5092591"/>
              <a:gd name="connsiteX1435" fmla="*/ 1826997 w 4546203"/>
              <a:gd name="connsiteY1435" fmla="*/ 1179132 h 5092591"/>
              <a:gd name="connsiteX1436" fmla="*/ 1792774 w 4546203"/>
              <a:gd name="connsiteY1436" fmla="*/ 1191070 h 5092591"/>
              <a:gd name="connsiteX1437" fmla="*/ 1806304 w 4546203"/>
              <a:gd name="connsiteY1437" fmla="*/ 1226886 h 5092591"/>
              <a:gd name="connsiteX1438" fmla="*/ 1838936 w 4546203"/>
              <a:gd name="connsiteY1438" fmla="*/ 1215345 h 5092591"/>
              <a:gd name="connsiteX1439" fmla="*/ 1826997 w 4546203"/>
              <a:gd name="connsiteY1439" fmla="*/ 1179132 h 5092591"/>
              <a:gd name="connsiteX1440" fmla="*/ 3442284 w 4546203"/>
              <a:gd name="connsiteY1440" fmla="*/ 1178336 h 5092591"/>
              <a:gd name="connsiteX1441" fmla="*/ 3410448 w 4546203"/>
              <a:gd name="connsiteY1441" fmla="*/ 1215345 h 5092591"/>
              <a:gd name="connsiteX1442" fmla="*/ 3445468 w 4546203"/>
              <a:gd name="connsiteY1442" fmla="*/ 1246386 h 5092591"/>
              <a:gd name="connsiteX1443" fmla="*/ 3478100 w 4546203"/>
              <a:gd name="connsiteY1443" fmla="*/ 1210570 h 5092591"/>
              <a:gd name="connsiteX1444" fmla="*/ 3442284 w 4546203"/>
              <a:gd name="connsiteY1444" fmla="*/ 1178336 h 5092591"/>
              <a:gd name="connsiteX1445" fmla="*/ 1362587 w 4546203"/>
              <a:gd name="connsiteY1445" fmla="*/ 1176346 h 5092591"/>
              <a:gd name="connsiteX1446" fmla="*/ 1336721 w 4546203"/>
              <a:gd name="connsiteY1446" fmla="*/ 1194652 h 5092591"/>
              <a:gd name="connsiteX1447" fmla="*/ 1357414 w 4546203"/>
              <a:gd name="connsiteY1447" fmla="*/ 1224100 h 5092591"/>
              <a:gd name="connsiteX1448" fmla="*/ 1382883 w 4546203"/>
              <a:gd name="connsiteY1448" fmla="*/ 1206590 h 5092591"/>
              <a:gd name="connsiteX1449" fmla="*/ 1362587 w 4546203"/>
              <a:gd name="connsiteY1449" fmla="*/ 1176346 h 5092591"/>
              <a:gd name="connsiteX1450" fmla="*/ 3542568 w 4546203"/>
              <a:gd name="connsiteY1450" fmla="*/ 1173162 h 5092591"/>
              <a:gd name="connsiteX1451" fmla="*/ 3509538 w 4546203"/>
              <a:gd name="connsiteY1451" fmla="*/ 1208978 h 5092591"/>
              <a:gd name="connsiteX1452" fmla="*/ 3541772 w 4546203"/>
              <a:gd name="connsiteY1452" fmla="*/ 1239222 h 5092591"/>
              <a:gd name="connsiteX1453" fmla="*/ 3579976 w 4546203"/>
              <a:gd name="connsiteY1453" fmla="*/ 1208182 h 5092591"/>
              <a:gd name="connsiteX1454" fmla="*/ 3542568 w 4546203"/>
              <a:gd name="connsiteY1454" fmla="*/ 1173162 h 5092591"/>
              <a:gd name="connsiteX1455" fmla="*/ 1685724 w 4546203"/>
              <a:gd name="connsiteY1455" fmla="*/ 1172366 h 5092591"/>
              <a:gd name="connsiteX1456" fmla="*/ 1651501 w 4546203"/>
              <a:gd name="connsiteY1456" fmla="*/ 1187887 h 5092591"/>
              <a:gd name="connsiteX1457" fmla="*/ 1667021 w 4546203"/>
              <a:gd name="connsiteY1457" fmla="*/ 1221315 h 5092591"/>
              <a:gd name="connsiteX1458" fmla="*/ 1700449 w 4546203"/>
              <a:gd name="connsiteY1458" fmla="*/ 1206590 h 5092591"/>
              <a:gd name="connsiteX1459" fmla="*/ 1685724 w 4546203"/>
              <a:gd name="connsiteY1459" fmla="*/ 1172366 h 5092591"/>
              <a:gd name="connsiteX1460" fmla="*/ 1867190 w 4546203"/>
              <a:gd name="connsiteY1460" fmla="*/ 1166795 h 5092591"/>
              <a:gd name="connsiteX1461" fmla="*/ 1832569 w 4546203"/>
              <a:gd name="connsiteY1461" fmla="*/ 1176744 h 5092591"/>
              <a:gd name="connsiteX1462" fmla="*/ 1845701 w 4546203"/>
              <a:gd name="connsiteY1462" fmla="*/ 1213356 h 5092591"/>
              <a:gd name="connsiteX1463" fmla="*/ 1878333 w 4546203"/>
              <a:gd name="connsiteY1463" fmla="*/ 1202611 h 5092591"/>
              <a:gd name="connsiteX1464" fmla="*/ 1867190 w 4546203"/>
              <a:gd name="connsiteY1464" fmla="*/ 1166795 h 5092591"/>
              <a:gd name="connsiteX1465" fmla="*/ 1109888 w 4546203"/>
              <a:gd name="connsiteY1465" fmla="*/ 1158438 h 5092591"/>
              <a:gd name="connsiteX1466" fmla="*/ 1095164 w 4546203"/>
              <a:gd name="connsiteY1466" fmla="*/ 1169979 h 5092591"/>
              <a:gd name="connsiteX1467" fmla="*/ 1076062 w 4546203"/>
              <a:gd name="connsiteY1467" fmla="*/ 1186693 h 5092591"/>
              <a:gd name="connsiteX1468" fmla="*/ 1130582 w 4546203"/>
              <a:gd name="connsiteY1468" fmla="*/ 1183111 h 5092591"/>
              <a:gd name="connsiteX1469" fmla="*/ 1109888 w 4546203"/>
              <a:gd name="connsiteY1469" fmla="*/ 1158438 h 5092591"/>
              <a:gd name="connsiteX1470" fmla="*/ 1726713 w 4546203"/>
              <a:gd name="connsiteY1470" fmla="*/ 1155653 h 5092591"/>
              <a:gd name="connsiteX1471" fmla="*/ 1692092 w 4546203"/>
              <a:gd name="connsiteY1471" fmla="*/ 1170377 h 5092591"/>
              <a:gd name="connsiteX1472" fmla="*/ 1706816 w 4546203"/>
              <a:gd name="connsiteY1472" fmla="*/ 1204203 h 5092591"/>
              <a:gd name="connsiteX1473" fmla="*/ 1740642 w 4546203"/>
              <a:gd name="connsiteY1473" fmla="*/ 1190274 h 5092591"/>
              <a:gd name="connsiteX1474" fmla="*/ 1726713 w 4546203"/>
              <a:gd name="connsiteY1474" fmla="*/ 1155653 h 5092591"/>
              <a:gd name="connsiteX1475" fmla="*/ 2743481 w 4546203"/>
              <a:gd name="connsiteY1475" fmla="*/ 1149683 h 5092591"/>
              <a:gd name="connsiteX1476" fmla="*/ 2729552 w 4546203"/>
              <a:gd name="connsiteY1476" fmla="*/ 1192662 h 5092591"/>
              <a:gd name="connsiteX1477" fmla="*/ 2790837 w 4546203"/>
              <a:gd name="connsiteY1477" fmla="*/ 1214947 h 5092591"/>
              <a:gd name="connsiteX1478" fmla="*/ 2807153 w 4546203"/>
              <a:gd name="connsiteY1478" fmla="*/ 1172764 h 5092591"/>
              <a:gd name="connsiteX1479" fmla="*/ 2743481 w 4546203"/>
              <a:gd name="connsiteY1479" fmla="*/ 1149683 h 5092591"/>
              <a:gd name="connsiteX1480" fmla="*/ 3291062 w 4546203"/>
              <a:gd name="connsiteY1480" fmla="*/ 1149285 h 5092591"/>
              <a:gd name="connsiteX1481" fmla="*/ 3262410 w 4546203"/>
              <a:gd name="connsiteY1481" fmla="*/ 1188285 h 5092591"/>
              <a:gd name="connsiteX1482" fmla="*/ 3298624 w 4546203"/>
              <a:gd name="connsiteY1482" fmla="*/ 1215345 h 5092591"/>
              <a:gd name="connsiteX1483" fmla="*/ 3328072 w 4546203"/>
              <a:gd name="connsiteY1483" fmla="*/ 1176346 h 5092591"/>
              <a:gd name="connsiteX1484" fmla="*/ 3291062 w 4546203"/>
              <a:gd name="connsiteY1484" fmla="*/ 1149285 h 5092591"/>
              <a:gd name="connsiteX1485" fmla="*/ 1767305 w 4546203"/>
              <a:gd name="connsiteY1485" fmla="*/ 1139734 h 5092591"/>
              <a:gd name="connsiteX1486" fmla="*/ 1733081 w 4546203"/>
              <a:gd name="connsiteY1486" fmla="*/ 1154061 h 5092591"/>
              <a:gd name="connsiteX1487" fmla="*/ 1746611 w 4546203"/>
              <a:gd name="connsiteY1487" fmla="*/ 1187489 h 5092591"/>
              <a:gd name="connsiteX1488" fmla="*/ 1780835 w 4546203"/>
              <a:gd name="connsiteY1488" fmla="*/ 1174754 h 5092591"/>
              <a:gd name="connsiteX1489" fmla="*/ 1767305 w 4546203"/>
              <a:gd name="connsiteY1489" fmla="*/ 1139734 h 5092591"/>
              <a:gd name="connsiteX1490" fmla="*/ 3388561 w 4546203"/>
              <a:gd name="connsiteY1490" fmla="*/ 1133765 h 5092591"/>
              <a:gd name="connsiteX1491" fmla="*/ 3358316 w 4546203"/>
              <a:gd name="connsiteY1491" fmla="*/ 1171969 h 5092591"/>
              <a:gd name="connsiteX1492" fmla="*/ 3394530 w 4546203"/>
              <a:gd name="connsiteY1492" fmla="*/ 1201815 h 5092591"/>
              <a:gd name="connsiteX1493" fmla="*/ 3425968 w 4546203"/>
              <a:gd name="connsiteY1493" fmla="*/ 1164407 h 5092591"/>
              <a:gd name="connsiteX1494" fmla="*/ 3388561 w 4546203"/>
              <a:gd name="connsiteY1494" fmla="*/ 1133765 h 5092591"/>
              <a:gd name="connsiteX1495" fmla="*/ 1809487 w 4546203"/>
              <a:gd name="connsiteY1495" fmla="*/ 1126204 h 5092591"/>
              <a:gd name="connsiteX1496" fmla="*/ 1774070 w 4546203"/>
              <a:gd name="connsiteY1496" fmla="*/ 1138541 h 5092591"/>
              <a:gd name="connsiteX1497" fmla="*/ 1787600 w 4546203"/>
              <a:gd name="connsiteY1497" fmla="*/ 1173162 h 5092591"/>
              <a:gd name="connsiteX1498" fmla="*/ 1821028 w 4546203"/>
              <a:gd name="connsiteY1498" fmla="*/ 1161224 h 5092591"/>
              <a:gd name="connsiteX1499" fmla="*/ 1809487 w 4546203"/>
              <a:gd name="connsiteY1499" fmla="*/ 1126204 h 5092591"/>
              <a:gd name="connsiteX1500" fmla="*/ 1492320 w 4546203"/>
              <a:gd name="connsiteY1500" fmla="*/ 1125806 h 5092591"/>
              <a:gd name="connsiteX1501" fmla="*/ 1465657 w 4546203"/>
              <a:gd name="connsiteY1501" fmla="*/ 1141724 h 5092591"/>
              <a:gd name="connsiteX1502" fmla="*/ 1483963 w 4546203"/>
              <a:gd name="connsiteY1502" fmla="*/ 1172366 h 5092591"/>
              <a:gd name="connsiteX1503" fmla="*/ 1510626 w 4546203"/>
              <a:gd name="connsiteY1503" fmla="*/ 1157642 h 5092591"/>
              <a:gd name="connsiteX1504" fmla="*/ 1492320 w 4546203"/>
              <a:gd name="connsiteY1504" fmla="*/ 1125806 h 5092591"/>
              <a:gd name="connsiteX1505" fmla="*/ 3488049 w 4546203"/>
              <a:gd name="connsiteY1505" fmla="*/ 1124612 h 5092591"/>
              <a:gd name="connsiteX1506" fmla="*/ 3456611 w 4546203"/>
              <a:gd name="connsiteY1506" fmla="*/ 1161622 h 5092591"/>
              <a:gd name="connsiteX1507" fmla="*/ 3493620 w 4546203"/>
              <a:gd name="connsiteY1507" fmla="*/ 1193856 h 5092591"/>
              <a:gd name="connsiteX1508" fmla="*/ 3525854 w 4546203"/>
              <a:gd name="connsiteY1508" fmla="*/ 1156846 h 5092591"/>
              <a:gd name="connsiteX1509" fmla="*/ 3488049 w 4546203"/>
              <a:gd name="connsiteY1509" fmla="*/ 1124612 h 5092591"/>
              <a:gd name="connsiteX1510" fmla="*/ 1252355 w 4546203"/>
              <a:gd name="connsiteY1510" fmla="*/ 1122622 h 5092591"/>
              <a:gd name="connsiteX1511" fmla="*/ 1197437 w 4546203"/>
              <a:gd name="connsiteY1511" fmla="*/ 1162816 h 5092591"/>
              <a:gd name="connsiteX1512" fmla="*/ 1245988 w 4546203"/>
              <a:gd name="connsiteY1512" fmla="*/ 1219723 h 5092591"/>
              <a:gd name="connsiteX1513" fmla="*/ 1347465 w 4546203"/>
              <a:gd name="connsiteY1513" fmla="*/ 1261906 h 5092591"/>
              <a:gd name="connsiteX1514" fmla="*/ 1350649 w 4546203"/>
              <a:gd name="connsiteY1514" fmla="*/ 1259916 h 5092591"/>
              <a:gd name="connsiteX1515" fmla="*/ 1252355 w 4546203"/>
              <a:gd name="connsiteY1515" fmla="*/ 1122622 h 5092591"/>
              <a:gd name="connsiteX1516" fmla="*/ 2649962 w 4546203"/>
              <a:gd name="connsiteY1516" fmla="*/ 1121429 h 5092591"/>
              <a:gd name="connsiteX1517" fmla="*/ 2638819 w 4546203"/>
              <a:gd name="connsiteY1517" fmla="*/ 1165203 h 5092591"/>
              <a:gd name="connsiteX1518" fmla="*/ 2701298 w 4546203"/>
              <a:gd name="connsiteY1518" fmla="*/ 1182713 h 5092591"/>
              <a:gd name="connsiteX1519" fmla="*/ 2714828 w 4546203"/>
              <a:gd name="connsiteY1519" fmla="*/ 1140132 h 5092591"/>
              <a:gd name="connsiteX1520" fmla="*/ 2649962 w 4546203"/>
              <a:gd name="connsiteY1520" fmla="*/ 1121429 h 5092591"/>
              <a:gd name="connsiteX1521" fmla="*/ 3591118 w 4546203"/>
              <a:gd name="connsiteY1521" fmla="*/ 1119837 h 5092591"/>
              <a:gd name="connsiteX1522" fmla="*/ 3557292 w 4546203"/>
              <a:gd name="connsiteY1522" fmla="*/ 1156448 h 5092591"/>
              <a:gd name="connsiteX1523" fmla="*/ 3591118 w 4546203"/>
              <a:gd name="connsiteY1523" fmla="*/ 1187887 h 5092591"/>
              <a:gd name="connsiteX1524" fmla="*/ 3624944 w 4546203"/>
              <a:gd name="connsiteY1524" fmla="*/ 1158040 h 5092591"/>
              <a:gd name="connsiteX1525" fmla="*/ 3591118 w 4546203"/>
              <a:gd name="connsiteY1525" fmla="*/ 1119837 h 5092591"/>
              <a:gd name="connsiteX1526" fmla="*/ 1375322 w 4546203"/>
              <a:gd name="connsiteY1526" fmla="*/ 1116653 h 5092591"/>
              <a:gd name="connsiteX1527" fmla="*/ 1348261 w 4546203"/>
              <a:gd name="connsiteY1527" fmla="*/ 1134561 h 5092591"/>
              <a:gd name="connsiteX1528" fmla="*/ 1368159 w 4546203"/>
              <a:gd name="connsiteY1528" fmla="*/ 1164407 h 5092591"/>
              <a:gd name="connsiteX1529" fmla="*/ 1394822 w 4546203"/>
              <a:gd name="connsiteY1529" fmla="*/ 1147296 h 5092591"/>
              <a:gd name="connsiteX1530" fmla="*/ 1375322 w 4546203"/>
              <a:gd name="connsiteY1530" fmla="*/ 1116653 h 5092591"/>
              <a:gd name="connsiteX1531" fmla="*/ 1851272 w 4546203"/>
              <a:gd name="connsiteY1531" fmla="*/ 1113072 h 5092591"/>
              <a:gd name="connsiteX1532" fmla="*/ 1815855 w 4546203"/>
              <a:gd name="connsiteY1532" fmla="*/ 1124612 h 5092591"/>
              <a:gd name="connsiteX1533" fmla="*/ 1827395 w 4546203"/>
              <a:gd name="connsiteY1533" fmla="*/ 1159234 h 5092591"/>
              <a:gd name="connsiteX1534" fmla="*/ 1862017 w 4546203"/>
              <a:gd name="connsiteY1534" fmla="*/ 1148489 h 5092591"/>
              <a:gd name="connsiteX1535" fmla="*/ 1851272 w 4546203"/>
              <a:gd name="connsiteY1535" fmla="*/ 1113072 h 5092591"/>
              <a:gd name="connsiteX1536" fmla="*/ 1071287 w 4546203"/>
              <a:gd name="connsiteY1536" fmla="*/ 1112276 h 5092591"/>
              <a:gd name="connsiteX1537" fmla="*/ 1035471 w 4546203"/>
              <a:gd name="connsiteY1537" fmla="*/ 1143714 h 5092591"/>
              <a:gd name="connsiteX1538" fmla="*/ 1059348 w 4546203"/>
              <a:gd name="connsiteY1538" fmla="*/ 1170377 h 5092591"/>
              <a:gd name="connsiteX1539" fmla="*/ 1094368 w 4546203"/>
              <a:gd name="connsiteY1539" fmla="*/ 1140132 h 5092591"/>
              <a:gd name="connsiteX1540" fmla="*/ 1071287 w 4546203"/>
              <a:gd name="connsiteY1540" fmla="*/ 1112276 h 5092591"/>
              <a:gd name="connsiteX1541" fmla="*/ 1312445 w 4546203"/>
              <a:gd name="connsiteY1541" fmla="*/ 1100337 h 5092591"/>
              <a:gd name="connsiteX1542" fmla="*/ 1284987 w 4546203"/>
              <a:gd name="connsiteY1542" fmla="*/ 1119439 h 5092591"/>
              <a:gd name="connsiteX1543" fmla="*/ 1305680 w 4546203"/>
              <a:gd name="connsiteY1543" fmla="*/ 1148887 h 5092591"/>
              <a:gd name="connsiteX1544" fmla="*/ 1332741 w 4546203"/>
              <a:gd name="connsiteY1544" fmla="*/ 1130184 h 5092591"/>
              <a:gd name="connsiteX1545" fmla="*/ 1312445 w 4546203"/>
              <a:gd name="connsiteY1545" fmla="*/ 1100337 h 5092591"/>
              <a:gd name="connsiteX1546" fmla="*/ 3332847 w 4546203"/>
              <a:gd name="connsiteY1546" fmla="*/ 1091582 h 5092591"/>
              <a:gd name="connsiteX1547" fmla="*/ 3304195 w 4546203"/>
              <a:gd name="connsiteY1547" fmla="*/ 1131377 h 5092591"/>
              <a:gd name="connsiteX1548" fmla="*/ 3341602 w 4546203"/>
              <a:gd name="connsiteY1548" fmla="*/ 1159234 h 5092591"/>
              <a:gd name="connsiteX1549" fmla="*/ 3371449 w 4546203"/>
              <a:gd name="connsiteY1549" fmla="*/ 1120633 h 5092591"/>
              <a:gd name="connsiteX1550" fmla="*/ 3332847 w 4546203"/>
              <a:gd name="connsiteY1550" fmla="*/ 1091582 h 5092591"/>
              <a:gd name="connsiteX1551" fmla="*/ 1440188 w 4546203"/>
              <a:gd name="connsiteY1551" fmla="*/ 1078450 h 5092591"/>
              <a:gd name="connsiteX1552" fmla="*/ 1412331 w 4546203"/>
              <a:gd name="connsiteY1552" fmla="*/ 1094766 h 5092591"/>
              <a:gd name="connsiteX1553" fmla="*/ 1431433 w 4546203"/>
              <a:gd name="connsiteY1553" fmla="*/ 1125806 h 5092591"/>
              <a:gd name="connsiteX1554" fmla="*/ 1458494 w 4546203"/>
              <a:gd name="connsiteY1554" fmla="*/ 1109490 h 5092591"/>
              <a:gd name="connsiteX1555" fmla="*/ 1440188 w 4546203"/>
              <a:gd name="connsiteY1555" fmla="*/ 1078450 h 5092591"/>
              <a:gd name="connsiteX1556" fmla="*/ 3432335 w 4546203"/>
              <a:gd name="connsiteY1556" fmla="*/ 1078052 h 5092591"/>
              <a:gd name="connsiteX1557" fmla="*/ 3402489 w 4546203"/>
              <a:gd name="connsiteY1557" fmla="*/ 1116653 h 5092591"/>
              <a:gd name="connsiteX1558" fmla="*/ 3440294 w 4546203"/>
              <a:gd name="connsiteY1558" fmla="*/ 1147296 h 5092591"/>
              <a:gd name="connsiteX1559" fmla="*/ 3471335 w 4546203"/>
              <a:gd name="connsiteY1559" fmla="*/ 1109490 h 5092591"/>
              <a:gd name="connsiteX1560" fmla="*/ 3432335 w 4546203"/>
              <a:gd name="connsiteY1560" fmla="*/ 1078052 h 5092591"/>
              <a:gd name="connsiteX1561" fmla="*/ 1645929 w 4546203"/>
              <a:gd name="connsiteY1561" fmla="*/ 1078052 h 5092591"/>
              <a:gd name="connsiteX1562" fmla="*/ 1608920 w 4546203"/>
              <a:gd name="connsiteY1562" fmla="*/ 1094766 h 5092591"/>
              <a:gd name="connsiteX1563" fmla="*/ 1648317 w 4546203"/>
              <a:gd name="connsiteY1563" fmla="*/ 1180326 h 5092591"/>
              <a:gd name="connsiteX1564" fmla="*/ 1682939 w 4546203"/>
              <a:gd name="connsiteY1564" fmla="*/ 1164407 h 5092591"/>
              <a:gd name="connsiteX1565" fmla="*/ 1645929 w 4546203"/>
              <a:gd name="connsiteY1565" fmla="*/ 1078052 h 5092591"/>
              <a:gd name="connsiteX1566" fmla="*/ 3534609 w 4546203"/>
              <a:gd name="connsiteY1566" fmla="*/ 1071287 h 5092591"/>
              <a:gd name="connsiteX1567" fmla="*/ 3503171 w 4546203"/>
              <a:gd name="connsiteY1567" fmla="*/ 1107898 h 5092591"/>
              <a:gd name="connsiteX1568" fmla="*/ 3540976 w 4546203"/>
              <a:gd name="connsiteY1568" fmla="*/ 1142122 h 5092591"/>
              <a:gd name="connsiteX1569" fmla="*/ 3573608 w 4546203"/>
              <a:gd name="connsiteY1569" fmla="*/ 1105113 h 5092591"/>
              <a:gd name="connsiteX1570" fmla="*/ 3534609 w 4546203"/>
              <a:gd name="connsiteY1570" fmla="*/ 1071287 h 5092591"/>
              <a:gd name="connsiteX1571" fmla="*/ 3639270 w 4546203"/>
              <a:gd name="connsiteY1571" fmla="*/ 1068899 h 5092591"/>
              <a:gd name="connsiteX1572" fmla="*/ 3605843 w 4546203"/>
              <a:gd name="connsiteY1572" fmla="*/ 1104715 h 5092591"/>
              <a:gd name="connsiteX1573" fmla="*/ 3642056 w 4546203"/>
              <a:gd name="connsiteY1573" fmla="*/ 1138541 h 5092591"/>
              <a:gd name="connsiteX1574" fmla="*/ 3677474 w 4546203"/>
              <a:gd name="connsiteY1574" fmla="*/ 1105113 h 5092591"/>
              <a:gd name="connsiteX1575" fmla="*/ 3639270 w 4546203"/>
              <a:gd name="connsiteY1575" fmla="*/ 1068899 h 5092591"/>
              <a:gd name="connsiteX1576" fmla="*/ 1561961 w 4546203"/>
              <a:gd name="connsiteY1576" fmla="*/ 1068103 h 5092591"/>
              <a:gd name="connsiteX1577" fmla="*/ 1505054 w 4546203"/>
              <a:gd name="connsiteY1577" fmla="*/ 1097154 h 5092591"/>
              <a:gd name="connsiteX1578" fmla="*/ 1555594 w 4546203"/>
              <a:gd name="connsiteY1578" fmla="*/ 1192662 h 5092591"/>
              <a:gd name="connsiteX1579" fmla="*/ 1608920 w 4546203"/>
              <a:gd name="connsiteY1579" fmla="*/ 1165601 h 5092591"/>
              <a:gd name="connsiteX1580" fmla="*/ 1561961 w 4546203"/>
              <a:gd name="connsiteY1580" fmla="*/ 1068103 h 5092591"/>
              <a:gd name="connsiteX1581" fmla="*/ 2885151 w 4546203"/>
              <a:gd name="connsiteY1581" fmla="*/ 1063328 h 5092591"/>
              <a:gd name="connsiteX1582" fmla="*/ 2868040 w 4546203"/>
              <a:gd name="connsiteY1582" fmla="*/ 1104715 h 5092591"/>
              <a:gd name="connsiteX1583" fmla="*/ 2932906 w 4546203"/>
              <a:gd name="connsiteY1583" fmla="*/ 1133765 h 5092591"/>
              <a:gd name="connsiteX1584" fmla="*/ 2952803 w 4546203"/>
              <a:gd name="connsiteY1584" fmla="*/ 1092776 h 5092591"/>
              <a:gd name="connsiteX1585" fmla="*/ 2885151 w 4546203"/>
              <a:gd name="connsiteY1585" fmla="*/ 1063328 h 5092591"/>
              <a:gd name="connsiteX1586" fmla="*/ 1689704 w 4546203"/>
              <a:gd name="connsiteY1586" fmla="*/ 1060144 h 5092591"/>
              <a:gd name="connsiteX1587" fmla="*/ 1652296 w 4546203"/>
              <a:gd name="connsiteY1587" fmla="*/ 1075664 h 5092591"/>
              <a:gd name="connsiteX1588" fmla="*/ 1689306 w 4546203"/>
              <a:gd name="connsiteY1588" fmla="*/ 1162418 h 5092591"/>
              <a:gd name="connsiteX1589" fmla="*/ 1723928 w 4546203"/>
              <a:gd name="connsiteY1589" fmla="*/ 1147694 h 5092591"/>
              <a:gd name="connsiteX1590" fmla="*/ 1689704 w 4546203"/>
              <a:gd name="connsiteY1590" fmla="*/ 1060144 h 5092591"/>
              <a:gd name="connsiteX1591" fmla="*/ 2666278 w 4546203"/>
              <a:gd name="connsiteY1591" fmla="*/ 1058552 h 5092591"/>
              <a:gd name="connsiteX1592" fmla="*/ 2655135 w 4546203"/>
              <a:gd name="connsiteY1592" fmla="*/ 1101929 h 5092591"/>
              <a:gd name="connsiteX1593" fmla="*/ 2720797 w 4546203"/>
              <a:gd name="connsiteY1593" fmla="*/ 1120633 h 5092591"/>
              <a:gd name="connsiteX1594" fmla="*/ 2734328 w 4546203"/>
              <a:gd name="connsiteY1594" fmla="*/ 1077654 h 5092591"/>
              <a:gd name="connsiteX1595" fmla="*/ 2666278 w 4546203"/>
              <a:gd name="connsiteY1595" fmla="*/ 1058552 h 5092591"/>
              <a:gd name="connsiteX1596" fmla="*/ 1385271 w 4546203"/>
              <a:gd name="connsiteY1596" fmla="*/ 1054175 h 5092591"/>
              <a:gd name="connsiteX1597" fmla="*/ 1357414 w 4546203"/>
              <a:gd name="connsiteY1597" fmla="*/ 1072083 h 5092591"/>
              <a:gd name="connsiteX1598" fmla="*/ 1376516 w 4546203"/>
              <a:gd name="connsiteY1598" fmla="*/ 1102725 h 5092591"/>
              <a:gd name="connsiteX1599" fmla="*/ 1404372 w 4546203"/>
              <a:gd name="connsiteY1599" fmla="*/ 1085215 h 5092591"/>
              <a:gd name="connsiteX1600" fmla="*/ 1385271 w 4546203"/>
              <a:gd name="connsiteY1600" fmla="*/ 1054175 h 5092591"/>
              <a:gd name="connsiteX1601" fmla="*/ 2051840 w 4546203"/>
              <a:gd name="connsiteY1601" fmla="*/ 1052185 h 5092591"/>
              <a:gd name="connsiteX1602" fmla="*/ 2018014 w 4546203"/>
              <a:gd name="connsiteY1602" fmla="*/ 1056563 h 5092591"/>
              <a:gd name="connsiteX1603" fmla="*/ 2024779 w 4546203"/>
              <a:gd name="connsiteY1603" fmla="*/ 1097950 h 5092591"/>
              <a:gd name="connsiteX1604" fmla="*/ 2057810 w 4546203"/>
              <a:gd name="connsiteY1604" fmla="*/ 1092378 h 5092591"/>
              <a:gd name="connsiteX1605" fmla="*/ 2051840 w 4546203"/>
              <a:gd name="connsiteY1605" fmla="*/ 1052185 h 5092591"/>
              <a:gd name="connsiteX1606" fmla="*/ 1627623 w 4546203"/>
              <a:gd name="connsiteY1606" fmla="*/ 1036665 h 5092591"/>
              <a:gd name="connsiteX1607" fmla="*/ 1590216 w 4546203"/>
              <a:gd name="connsiteY1607" fmla="*/ 1054573 h 5092591"/>
              <a:gd name="connsiteX1608" fmla="*/ 1606134 w 4546203"/>
              <a:gd name="connsiteY1608" fmla="*/ 1087205 h 5092591"/>
              <a:gd name="connsiteX1609" fmla="*/ 1642746 w 4546203"/>
              <a:gd name="connsiteY1609" fmla="*/ 1070889 h 5092591"/>
              <a:gd name="connsiteX1610" fmla="*/ 1627623 w 4546203"/>
              <a:gd name="connsiteY1610" fmla="*/ 1036665 h 5092591"/>
              <a:gd name="connsiteX1611" fmla="*/ 2566790 w 4546203"/>
              <a:gd name="connsiteY1611" fmla="*/ 1035073 h 5092591"/>
              <a:gd name="connsiteX1612" fmla="*/ 2559627 w 4546203"/>
              <a:gd name="connsiteY1612" fmla="*/ 1079644 h 5092591"/>
              <a:gd name="connsiteX1613" fmla="*/ 2625687 w 4546203"/>
              <a:gd name="connsiteY1613" fmla="*/ 1093970 h 5092591"/>
              <a:gd name="connsiteX1614" fmla="*/ 2636432 w 4546203"/>
              <a:gd name="connsiteY1614" fmla="*/ 1050195 h 5092591"/>
              <a:gd name="connsiteX1615" fmla="*/ 2566790 w 4546203"/>
              <a:gd name="connsiteY1615" fmla="*/ 1035073 h 5092591"/>
              <a:gd name="connsiteX1616" fmla="*/ 3375030 w 4546203"/>
              <a:gd name="connsiteY1616" fmla="*/ 1034277 h 5092591"/>
              <a:gd name="connsiteX1617" fmla="*/ 3346378 w 4546203"/>
              <a:gd name="connsiteY1617" fmla="*/ 1074072 h 5092591"/>
              <a:gd name="connsiteX1618" fmla="*/ 3384979 w 4546203"/>
              <a:gd name="connsiteY1618" fmla="*/ 1103123 h 5092591"/>
              <a:gd name="connsiteX1619" fmla="*/ 3414826 w 4546203"/>
              <a:gd name="connsiteY1619" fmla="*/ 1064124 h 5092591"/>
              <a:gd name="connsiteX1620" fmla="*/ 3375030 w 4546203"/>
              <a:gd name="connsiteY1620" fmla="*/ 1034277 h 5092591"/>
              <a:gd name="connsiteX1621" fmla="*/ 1778447 w 4546203"/>
              <a:gd name="connsiteY1621" fmla="*/ 1029104 h 5092591"/>
              <a:gd name="connsiteX1622" fmla="*/ 1740244 w 4546203"/>
              <a:gd name="connsiteY1622" fmla="*/ 1041838 h 5092591"/>
              <a:gd name="connsiteX1623" fmla="*/ 1771682 w 4546203"/>
              <a:gd name="connsiteY1623" fmla="*/ 1130582 h 5092591"/>
              <a:gd name="connsiteX1624" fmla="*/ 1807498 w 4546203"/>
              <a:gd name="connsiteY1624" fmla="*/ 1118643 h 5092591"/>
              <a:gd name="connsiteX1625" fmla="*/ 1778447 w 4546203"/>
              <a:gd name="connsiteY1625" fmla="*/ 1029104 h 5092591"/>
              <a:gd name="connsiteX1626" fmla="*/ 3199932 w 4546203"/>
              <a:gd name="connsiteY1626" fmla="*/ 1025522 h 5092591"/>
              <a:gd name="connsiteX1627" fmla="*/ 3188789 w 4546203"/>
              <a:gd name="connsiteY1627" fmla="*/ 1044624 h 5092591"/>
              <a:gd name="connsiteX1628" fmla="*/ 3272757 w 4546203"/>
              <a:gd name="connsiteY1628" fmla="*/ 1099541 h 5092591"/>
              <a:gd name="connsiteX1629" fmla="*/ 3285491 w 4546203"/>
              <a:gd name="connsiteY1629" fmla="*/ 1081633 h 5092591"/>
              <a:gd name="connsiteX1630" fmla="*/ 3199932 w 4546203"/>
              <a:gd name="connsiteY1630" fmla="*/ 1025522 h 5092591"/>
              <a:gd name="connsiteX1631" fmla="*/ 2785664 w 4546203"/>
              <a:gd name="connsiteY1631" fmla="*/ 1025522 h 5092591"/>
              <a:gd name="connsiteX1632" fmla="*/ 2770939 w 4546203"/>
              <a:gd name="connsiteY1632" fmla="*/ 1068103 h 5092591"/>
              <a:gd name="connsiteX1633" fmla="*/ 2838193 w 4546203"/>
              <a:gd name="connsiteY1633" fmla="*/ 1092378 h 5092591"/>
              <a:gd name="connsiteX1634" fmla="*/ 2854509 w 4546203"/>
              <a:gd name="connsiteY1634" fmla="*/ 1050593 h 5092591"/>
              <a:gd name="connsiteX1635" fmla="*/ 2785664 w 4546203"/>
              <a:gd name="connsiteY1635" fmla="*/ 1025522 h 5092591"/>
              <a:gd name="connsiteX1636" fmla="*/ 1934444 w 4546203"/>
              <a:gd name="connsiteY1636" fmla="*/ 1023930 h 5092591"/>
              <a:gd name="connsiteX1637" fmla="*/ 1900221 w 4546203"/>
              <a:gd name="connsiteY1637" fmla="*/ 1031889 h 5092591"/>
              <a:gd name="connsiteX1638" fmla="*/ 1910169 w 4546203"/>
              <a:gd name="connsiteY1638" fmla="*/ 1072481 h 5092591"/>
              <a:gd name="connsiteX1639" fmla="*/ 1944393 w 4546203"/>
              <a:gd name="connsiteY1639" fmla="*/ 1064522 h 5092591"/>
              <a:gd name="connsiteX1640" fmla="*/ 1934444 w 4546203"/>
              <a:gd name="connsiteY1640" fmla="*/ 1023930 h 5092591"/>
              <a:gd name="connsiteX1641" fmla="*/ 3476906 w 4546203"/>
              <a:gd name="connsiteY1641" fmla="*/ 1023134 h 5092591"/>
              <a:gd name="connsiteX1642" fmla="*/ 3446264 w 4546203"/>
              <a:gd name="connsiteY1642" fmla="*/ 1061338 h 5092591"/>
              <a:gd name="connsiteX1643" fmla="*/ 3485661 w 4546203"/>
              <a:gd name="connsiteY1643" fmla="*/ 1093174 h 5092591"/>
              <a:gd name="connsiteX1644" fmla="*/ 3517099 w 4546203"/>
              <a:gd name="connsiteY1644" fmla="*/ 1055767 h 5092591"/>
              <a:gd name="connsiteX1645" fmla="*/ 3476906 w 4546203"/>
              <a:gd name="connsiteY1645" fmla="*/ 1023134 h 5092591"/>
              <a:gd name="connsiteX1646" fmla="*/ 1672592 w 4546203"/>
              <a:gd name="connsiteY1646" fmla="*/ 1018757 h 5092591"/>
              <a:gd name="connsiteX1647" fmla="*/ 1634787 w 4546203"/>
              <a:gd name="connsiteY1647" fmla="*/ 1034675 h 5092591"/>
              <a:gd name="connsiteX1648" fmla="*/ 1649113 w 4546203"/>
              <a:gd name="connsiteY1648" fmla="*/ 1068103 h 5092591"/>
              <a:gd name="connsiteX1649" fmla="*/ 1686520 w 4546203"/>
              <a:gd name="connsiteY1649" fmla="*/ 1052981 h 5092591"/>
              <a:gd name="connsiteX1650" fmla="*/ 1672592 w 4546203"/>
              <a:gd name="connsiteY1650" fmla="*/ 1018757 h 5092591"/>
              <a:gd name="connsiteX1651" fmla="*/ 2384130 w 4546203"/>
              <a:gd name="connsiteY1651" fmla="*/ 1017961 h 5092591"/>
              <a:gd name="connsiteX1652" fmla="*/ 2380549 w 4546203"/>
              <a:gd name="connsiteY1652" fmla="*/ 1082031 h 5092591"/>
              <a:gd name="connsiteX1653" fmla="*/ 2430691 w 4546203"/>
              <a:gd name="connsiteY1653" fmla="*/ 1086409 h 5092591"/>
              <a:gd name="connsiteX1654" fmla="*/ 2437456 w 4546203"/>
              <a:gd name="connsiteY1654" fmla="*/ 1023532 h 5092591"/>
              <a:gd name="connsiteX1655" fmla="*/ 2384130 w 4546203"/>
              <a:gd name="connsiteY1655" fmla="*/ 1017961 h 5092591"/>
              <a:gd name="connsiteX1656" fmla="*/ 3580772 w 4546203"/>
              <a:gd name="connsiteY1656" fmla="*/ 1016767 h 5092591"/>
              <a:gd name="connsiteX1657" fmla="*/ 3548936 w 4546203"/>
              <a:gd name="connsiteY1657" fmla="*/ 1054175 h 5092591"/>
              <a:gd name="connsiteX1658" fmla="*/ 3588333 w 4546203"/>
              <a:gd name="connsiteY1658" fmla="*/ 1088797 h 5092591"/>
              <a:gd name="connsiteX1659" fmla="*/ 3620965 w 4546203"/>
              <a:gd name="connsiteY1659" fmla="*/ 1052185 h 5092591"/>
              <a:gd name="connsiteX1660" fmla="*/ 3580772 w 4546203"/>
              <a:gd name="connsiteY1660" fmla="*/ 1016767 h 5092591"/>
              <a:gd name="connsiteX1661" fmla="*/ 2205450 w 4546203"/>
              <a:gd name="connsiteY1661" fmla="*/ 1015175 h 5092591"/>
              <a:gd name="connsiteX1662" fmla="*/ 2152124 w 4546203"/>
              <a:gd name="connsiteY1662" fmla="*/ 1018757 h 5092591"/>
              <a:gd name="connsiteX1663" fmla="*/ 2156899 w 4546203"/>
              <a:gd name="connsiteY1663" fmla="*/ 1082031 h 5092591"/>
              <a:gd name="connsiteX1664" fmla="*/ 2205450 w 4546203"/>
              <a:gd name="connsiteY1664" fmla="*/ 1078848 h 5092591"/>
              <a:gd name="connsiteX1665" fmla="*/ 2205450 w 4546203"/>
              <a:gd name="connsiteY1665" fmla="*/ 1015175 h 5092591"/>
              <a:gd name="connsiteX1666" fmla="*/ 1823018 w 4546203"/>
              <a:gd name="connsiteY1666" fmla="*/ 1015175 h 5092591"/>
              <a:gd name="connsiteX1667" fmla="*/ 1784417 w 4546203"/>
              <a:gd name="connsiteY1667" fmla="*/ 1027512 h 5092591"/>
              <a:gd name="connsiteX1668" fmla="*/ 1813467 w 4546203"/>
              <a:gd name="connsiteY1668" fmla="*/ 1116653 h 5092591"/>
              <a:gd name="connsiteX1669" fmla="*/ 1849681 w 4546203"/>
              <a:gd name="connsiteY1669" fmla="*/ 1105511 h 5092591"/>
              <a:gd name="connsiteX1670" fmla="*/ 1823018 w 4546203"/>
              <a:gd name="connsiteY1670" fmla="*/ 1015175 h 5092591"/>
              <a:gd name="connsiteX1671" fmla="*/ 2306927 w 4546203"/>
              <a:gd name="connsiteY1671" fmla="*/ 1014380 h 5092591"/>
              <a:gd name="connsiteX1672" fmla="*/ 2306927 w 4546203"/>
              <a:gd name="connsiteY1672" fmla="*/ 1077654 h 5092591"/>
              <a:gd name="connsiteX1673" fmla="*/ 2356274 w 4546203"/>
              <a:gd name="connsiteY1673" fmla="*/ 1080042 h 5092591"/>
              <a:gd name="connsiteX1674" fmla="*/ 2360253 w 4546203"/>
              <a:gd name="connsiteY1674" fmla="*/ 1016767 h 5092591"/>
              <a:gd name="connsiteX1675" fmla="*/ 2306927 w 4546203"/>
              <a:gd name="connsiteY1675" fmla="*/ 1014380 h 5092591"/>
              <a:gd name="connsiteX1676" fmla="*/ 1718356 w 4546203"/>
              <a:gd name="connsiteY1676" fmla="*/ 1001645 h 5092591"/>
              <a:gd name="connsiteX1677" fmla="*/ 1679755 w 4546203"/>
              <a:gd name="connsiteY1677" fmla="*/ 1016369 h 5092591"/>
              <a:gd name="connsiteX1678" fmla="*/ 1692888 w 4546203"/>
              <a:gd name="connsiteY1678" fmla="*/ 1050991 h 5092591"/>
              <a:gd name="connsiteX1679" fmla="*/ 1730693 w 4546203"/>
              <a:gd name="connsiteY1679" fmla="*/ 1036267 h 5092591"/>
              <a:gd name="connsiteX1680" fmla="*/ 1718356 w 4546203"/>
              <a:gd name="connsiteY1680" fmla="*/ 1001645 h 5092591"/>
              <a:gd name="connsiteX1681" fmla="*/ 2476057 w 4546203"/>
              <a:gd name="connsiteY1681" fmla="*/ 995676 h 5092591"/>
              <a:gd name="connsiteX1682" fmla="*/ 2453374 w 4546203"/>
              <a:gd name="connsiteY1682" fmla="*/ 1167193 h 5092591"/>
              <a:gd name="connsiteX1683" fmla="*/ 2507495 w 4546203"/>
              <a:gd name="connsiteY1683" fmla="*/ 1175152 h 5092591"/>
              <a:gd name="connsiteX1684" fmla="*/ 2536944 w 4546203"/>
              <a:gd name="connsiteY1684" fmla="*/ 1004431 h 5092591"/>
              <a:gd name="connsiteX1685" fmla="*/ 2476057 w 4546203"/>
              <a:gd name="connsiteY1685" fmla="*/ 995676 h 5092591"/>
              <a:gd name="connsiteX1686" fmla="*/ 1044226 w 4546203"/>
              <a:gd name="connsiteY1686" fmla="*/ 994084 h 5092591"/>
              <a:gd name="connsiteX1687" fmla="*/ 1006022 w 4546203"/>
              <a:gd name="connsiteY1687" fmla="*/ 1026318 h 5092591"/>
              <a:gd name="connsiteX1688" fmla="*/ 1027114 w 4546203"/>
              <a:gd name="connsiteY1688" fmla="*/ 1051787 h 5092591"/>
              <a:gd name="connsiteX1689" fmla="*/ 1065317 w 4546203"/>
              <a:gd name="connsiteY1689" fmla="*/ 1020747 h 5092591"/>
              <a:gd name="connsiteX1690" fmla="*/ 1044226 w 4546203"/>
              <a:gd name="connsiteY1690" fmla="*/ 994084 h 5092591"/>
              <a:gd name="connsiteX1691" fmla="*/ 1764519 w 4546203"/>
              <a:gd name="connsiteY1691" fmla="*/ 985727 h 5092591"/>
              <a:gd name="connsiteX1692" fmla="*/ 1725122 w 4546203"/>
              <a:gd name="connsiteY1692" fmla="*/ 999257 h 5092591"/>
              <a:gd name="connsiteX1693" fmla="*/ 1737856 w 4546203"/>
              <a:gd name="connsiteY1693" fmla="*/ 1034277 h 5092591"/>
              <a:gd name="connsiteX1694" fmla="*/ 1776059 w 4546203"/>
              <a:gd name="connsiteY1694" fmla="*/ 1020349 h 5092591"/>
              <a:gd name="connsiteX1695" fmla="*/ 1764519 w 4546203"/>
              <a:gd name="connsiteY1695" fmla="*/ 985727 h 5092591"/>
              <a:gd name="connsiteX1696" fmla="*/ 1606134 w 4546203"/>
              <a:gd name="connsiteY1696" fmla="*/ 984931 h 5092591"/>
              <a:gd name="connsiteX1697" fmla="*/ 1567135 w 4546203"/>
              <a:gd name="connsiteY1697" fmla="*/ 1002043 h 5092591"/>
              <a:gd name="connsiteX1698" fmla="*/ 1583053 w 4546203"/>
              <a:gd name="connsiteY1698" fmla="*/ 1036665 h 5092591"/>
              <a:gd name="connsiteX1699" fmla="*/ 1621256 w 4546203"/>
              <a:gd name="connsiteY1699" fmla="*/ 1019951 h 5092591"/>
              <a:gd name="connsiteX1700" fmla="*/ 1606134 w 4546203"/>
              <a:gd name="connsiteY1700" fmla="*/ 984931 h 5092591"/>
              <a:gd name="connsiteX1701" fmla="*/ 3416815 w 4546203"/>
              <a:gd name="connsiteY1701" fmla="*/ 976972 h 5092591"/>
              <a:gd name="connsiteX1702" fmla="*/ 3388561 w 4546203"/>
              <a:gd name="connsiteY1702" fmla="*/ 1016767 h 5092591"/>
              <a:gd name="connsiteX1703" fmla="*/ 3428754 w 4546203"/>
              <a:gd name="connsiteY1703" fmla="*/ 1047012 h 5092591"/>
              <a:gd name="connsiteX1704" fmla="*/ 3458600 w 4546203"/>
              <a:gd name="connsiteY1704" fmla="*/ 1008410 h 5092591"/>
              <a:gd name="connsiteX1705" fmla="*/ 3416815 w 4546203"/>
              <a:gd name="connsiteY1705" fmla="*/ 976972 h 5092591"/>
              <a:gd name="connsiteX1706" fmla="*/ 1810681 w 4546203"/>
              <a:gd name="connsiteY1706" fmla="*/ 971799 h 5092591"/>
              <a:gd name="connsiteX1707" fmla="*/ 1771682 w 4546203"/>
              <a:gd name="connsiteY1707" fmla="*/ 984135 h 5092591"/>
              <a:gd name="connsiteX1708" fmla="*/ 1782825 w 4546203"/>
              <a:gd name="connsiteY1708" fmla="*/ 1018757 h 5092591"/>
              <a:gd name="connsiteX1709" fmla="*/ 1821426 w 4546203"/>
              <a:gd name="connsiteY1709" fmla="*/ 1007216 h 5092591"/>
              <a:gd name="connsiteX1710" fmla="*/ 1810681 w 4546203"/>
              <a:gd name="connsiteY1710" fmla="*/ 971799 h 5092591"/>
              <a:gd name="connsiteX1711" fmla="*/ 3520681 w 4546203"/>
              <a:gd name="connsiteY1711" fmla="*/ 967023 h 5092591"/>
              <a:gd name="connsiteX1712" fmla="*/ 3490437 w 4546203"/>
              <a:gd name="connsiteY1712" fmla="*/ 1005227 h 5092591"/>
              <a:gd name="connsiteX1713" fmla="*/ 3531426 w 4546203"/>
              <a:gd name="connsiteY1713" fmla="*/ 1038655 h 5092591"/>
              <a:gd name="connsiteX1714" fmla="*/ 3562466 w 4546203"/>
              <a:gd name="connsiteY1714" fmla="*/ 1000849 h 5092591"/>
              <a:gd name="connsiteX1715" fmla="*/ 3520681 w 4546203"/>
              <a:gd name="connsiteY1715" fmla="*/ 967023 h 5092591"/>
              <a:gd name="connsiteX1716" fmla="*/ 1652296 w 4546203"/>
              <a:gd name="connsiteY1716" fmla="*/ 965034 h 5092591"/>
              <a:gd name="connsiteX1717" fmla="*/ 1612899 w 4546203"/>
              <a:gd name="connsiteY1717" fmla="*/ 982145 h 5092591"/>
              <a:gd name="connsiteX1718" fmla="*/ 1628419 w 4546203"/>
              <a:gd name="connsiteY1718" fmla="*/ 1017165 h 5092591"/>
              <a:gd name="connsiteX1719" fmla="*/ 1666623 w 4546203"/>
              <a:gd name="connsiteY1719" fmla="*/ 1000849 h 5092591"/>
              <a:gd name="connsiteX1720" fmla="*/ 1652296 w 4546203"/>
              <a:gd name="connsiteY1720" fmla="*/ 965034 h 5092591"/>
              <a:gd name="connsiteX1721" fmla="*/ 1699255 w 4546203"/>
              <a:gd name="connsiteY1721" fmla="*/ 947922 h 5092591"/>
              <a:gd name="connsiteX1722" fmla="*/ 1659460 w 4546203"/>
              <a:gd name="connsiteY1722" fmla="*/ 963044 h 5092591"/>
              <a:gd name="connsiteX1723" fmla="*/ 1673388 w 4546203"/>
              <a:gd name="connsiteY1723" fmla="*/ 998859 h 5092591"/>
              <a:gd name="connsiteX1724" fmla="*/ 1712387 w 4546203"/>
              <a:gd name="connsiteY1724" fmla="*/ 984135 h 5092591"/>
              <a:gd name="connsiteX1725" fmla="*/ 1699255 w 4546203"/>
              <a:gd name="connsiteY1725" fmla="*/ 947922 h 5092591"/>
              <a:gd name="connsiteX1726" fmla="*/ 1006818 w 4546203"/>
              <a:gd name="connsiteY1726" fmla="*/ 947126 h 5092591"/>
              <a:gd name="connsiteX1727" fmla="*/ 967421 w 4546203"/>
              <a:gd name="connsiteY1727" fmla="*/ 979758 h 5092591"/>
              <a:gd name="connsiteX1728" fmla="*/ 991298 w 4546203"/>
              <a:gd name="connsiteY1728" fmla="*/ 1008410 h 5092591"/>
              <a:gd name="connsiteX1729" fmla="*/ 1030298 w 4546203"/>
              <a:gd name="connsiteY1729" fmla="*/ 976176 h 5092591"/>
              <a:gd name="connsiteX1730" fmla="*/ 1006818 w 4546203"/>
              <a:gd name="connsiteY1730" fmla="*/ 947126 h 5092591"/>
              <a:gd name="connsiteX1731" fmla="*/ 2055422 w 4546203"/>
              <a:gd name="connsiteY1731" fmla="*/ 944738 h 5092591"/>
              <a:gd name="connsiteX1732" fmla="*/ 2018810 w 4546203"/>
              <a:gd name="connsiteY1732" fmla="*/ 951105 h 5092591"/>
              <a:gd name="connsiteX1733" fmla="*/ 2025177 w 4546203"/>
              <a:gd name="connsiteY1733" fmla="*/ 991298 h 5092591"/>
              <a:gd name="connsiteX1734" fmla="*/ 2060595 w 4546203"/>
              <a:gd name="connsiteY1734" fmla="*/ 986523 h 5092591"/>
              <a:gd name="connsiteX1735" fmla="*/ 2055422 w 4546203"/>
              <a:gd name="connsiteY1735" fmla="*/ 944738 h 5092591"/>
              <a:gd name="connsiteX1736" fmla="*/ 2935294 w 4546203"/>
              <a:gd name="connsiteY1736" fmla="*/ 942350 h 5092591"/>
              <a:gd name="connsiteX1737" fmla="*/ 2917784 w 4546203"/>
              <a:gd name="connsiteY1737" fmla="*/ 984135 h 5092591"/>
              <a:gd name="connsiteX1738" fmla="*/ 2989017 w 4546203"/>
              <a:gd name="connsiteY1738" fmla="*/ 1015175 h 5092591"/>
              <a:gd name="connsiteX1739" fmla="*/ 3008119 w 4546203"/>
              <a:gd name="connsiteY1739" fmla="*/ 974982 h 5092591"/>
              <a:gd name="connsiteX1740" fmla="*/ 2935294 w 4546203"/>
              <a:gd name="connsiteY1740" fmla="*/ 942350 h 5092591"/>
              <a:gd name="connsiteX1741" fmla="*/ 2700502 w 4546203"/>
              <a:gd name="connsiteY1741" fmla="*/ 931606 h 5092591"/>
              <a:gd name="connsiteX1742" fmla="*/ 2688961 w 4546203"/>
              <a:gd name="connsiteY1742" fmla="*/ 975380 h 5092591"/>
              <a:gd name="connsiteX1743" fmla="*/ 2760593 w 4546203"/>
              <a:gd name="connsiteY1743" fmla="*/ 995676 h 5092591"/>
              <a:gd name="connsiteX1744" fmla="*/ 2773327 w 4546203"/>
              <a:gd name="connsiteY1744" fmla="*/ 953095 h 5092591"/>
              <a:gd name="connsiteX1745" fmla="*/ 2700502 w 4546203"/>
              <a:gd name="connsiteY1745" fmla="*/ 931606 h 5092591"/>
              <a:gd name="connsiteX1746" fmla="*/ 1747009 w 4546203"/>
              <a:gd name="connsiteY1746" fmla="*/ 931606 h 5092591"/>
              <a:gd name="connsiteX1747" fmla="*/ 1706418 w 4546203"/>
              <a:gd name="connsiteY1747" fmla="*/ 945534 h 5092591"/>
              <a:gd name="connsiteX1748" fmla="*/ 1719550 w 4546203"/>
              <a:gd name="connsiteY1748" fmla="*/ 981747 h 5092591"/>
              <a:gd name="connsiteX1749" fmla="*/ 1758948 w 4546203"/>
              <a:gd name="connsiteY1749" fmla="*/ 968217 h 5092591"/>
              <a:gd name="connsiteX1750" fmla="*/ 1747009 w 4546203"/>
              <a:gd name="connsiteY1750" fmla="*/ 931606 h 5092591"/>
              <a:gd name="connsiteX1751" fmla="*/ 2309713 w 4546203"/>
              <a:gd name="connsiteY1751" fmla="*/ 924442 h 5092591"/>
              <a:gd name="connsiteX1752" fmla="*/ 2309713 w 4546203"/>
              <a:gd name="connsiteY1752" fmla="*/ 985329 h 5092591"/>
              <a:gd name="connsiteX1753" fmla="*/ 2362243 w 4546203"/>
              <a:gd name="connsiteY1753" fmla="*/ 987717 h 5092591"/>
              <a:gd name="connsiteX1754" fmla="*/ 2365824 w 4546203"/>
              <a:gd name="connsiteY1754" fmla="*/ 924442 h 5092591"/>
              <a:gd name="connsiteX1755" fmla="*/ 2309713 w 4546203"/>
              <a:gd name="connsiteY1755" fmla="*/ 924442 h 5092591"/>
              <a:gd name="connsiteX1756" fmla="*/ 2228531 w 4546203"/>
              <a:gd name="connsiteY1756" fmla="*/ 923647 h 5092591"/>
              <a:gd name="connsiteX1757" fmla="*/ 2228531 w 4546203"/>
              <a:gd name="connsiteY1757" fmla="*/ 984533 h 5092591"/>
              <a:gd name="connsiteX1758" fmla="*/ 2282254 w 4546203"/>
              <a:gd name="connsiteY1758" fmla="*/ 984533 h 5092591"/>
              <a:gd name="connsiteX1759" fmla="*/ 2282254 w 4546203"/>
              <a:gd name="connsiteY1759" fmla="*/ 923647 h 5092591"/>
              <a:gd name="connsiteX1760" fmla="*/ 2228531 w 4546203"/>
              <a:gd name="connsiteY1760" fmla="*/ 923647 h 5092591"/>
              <a:gd name="connsiteX1761" fmla="*/ 2201470 w 4546203"/>
              <a:gd name="connsiteY1761" fmla="*/ 923249 h 5092591"/>
              <a:gd name="connsiteX1762" fmla="*/ 2145359 w 4546203"/>
              <a:gd name="connsiteY1762" fmla="*/ 926830 h 5092591"/>
              <a:gd name="connsiteX1763" fmla="*/ 2150532 w 4546203"/>
              <a:gd name="connsiteY1763" fmla="*/ 990502 h 5092591"/>
              <a:gd name="connsiteX1764" fmla="*/ 2204256 w 4546203"/>
              <a:gd name="connsiteY1764" fmla="*/ 986523 h 5092591"/>
              <a:gd name="connsiteX1765" fmla="*/ 2201470 w 4546203"/>
              <a:gd name="connsiteY1765" fmla="*/ 923249 h 5092591"/>
              <a:gd name="connsiteX1766" fmla="*/ 3458998 w 4546203"/>
              <a:gd name="connsiteY1766" fmla="*/ 919667 h 5092591"/>
              <a:gd name="connsiteX1767" fmla="*/ 3430346 w 4546203"/>
              <a:gd name="connsiteY1767" fmla="*/ 959462 h 5092591"/>
              <a:gd name="connsiteX1768" fmla="*/ 3472131 w 4546203"/>
              <a:gd name="connsiteY1768" fmla="*/ 990900 h 5092591"/>
              <a:gd name="connsiteX1769" fmla="*/ 3501977 w 4546203"/>
              <a:gd name="connsiteY1769" fmla="*/ 951901 h 5092591"/>
              <a:gd name="connsiteX1770" fmla="*/ 3458998 w 4546203"/>
              <a:gd name="connsiteY1770" fmla="*/ 919667 h 5092591"/>
              <a:gd name="connsiteX1771" fmla="*/ 1794365 w 4546203"/>
              <a:gd name="connsiteY1771" fmla="*/ 917279 h 5092591"/>
              <a:gd name="connsiteX1772" fmla="*/ 1753774 w 4546203"/>
              <a:gd name="connsiteY1772" fmla="*/ 929218 h 5092591"/>
              <a:gd name="connsiteX1773" fmla="*/ 1765315 w 4546203"/>
              <a:gd name="connsiteY1773" fmla="*/ 966625 h 5092591"/>
              <a:gd name="connsiteX1774" fmla="*/ 1805508 w 4546203"/>
              <a:gd name="connsiteY1774" fmla="*/ 953493 h 5092591"/>
              <a:gd name="connsiteX1775" fmla="*/ 1794365 w 4546203"/>
              <a:gd name="connsiteY1775" fmla="*/ 917279 h 5092591"/>
              <a:gd name="connsiteX1776" fmla="*/ 2592657 w 4546203"/>
              <a:gd name="connsiteY1776" fmla="*/ 906933 h 5092591"/>
              <a:gd name="connsiteX1777" fmla="*/ 2583902 w 4546203"/>
              <a:gd name="connsiteY1777" fmla="*/ 950707 h 5092591"/>
              <a:gd name="connsiteX1778" fmla="*/ 2656727 w 4546203"/>
              <a:gd name="connsiteY1778" fmla="*/ 967023 h 5092591"/>
              <a:gd name="connsiteX1779" fmla="*/ 2667472 w 4546203"/>
              <a:gd name="connsiteY1779" fmla="*/ 923647 h 5092591"/>
              <a:gd name="connsiteX1780" fmla="*/ 2592657 w 4546203"/>
              <a:gd name="connsiteY1780" fmla="*/ 906933 h 5092591"/>
              <a:gd name="connsiteX1781" fmla="*/ 2827847 w 4546203"/>
              <a:gd name="connsiteY1781" fmla="*/ 901361 h 5092591"/>
              <a:gd name="connsiteX1782" fmla="*/ 2813122 w 4546203"/>
              <a:gd name="connsiteY1782" fmla="*/ 944340 h 5092591"/>
              <a:gd name="connsiteX1783" fmla="*/ 2886346 w 4546203"/>
              <a:gd name="connsiteY1783" fmla="*/ 971003 h 5092591"/>
              <a:gd name="connsiteX1784" fmla="*/ 2902264 w 4546203"/>
              <a:gd name="connsiteY1784" fmla="*/ 929218 h 5092591"/>
              <a:gd name="connsiteX1785" fmla="*/ 2827847 w 4546203"/>
              <a:gd name="connsiteY1785" fmla="*/ 901361 h 5092591"/>
              <a:gd name="connsiteX1786" fmla="*/ 1969066 w 4546203"/>
              <a:gd name="connsiteY1786" fmla="*/ 898178 h 5092591"/>
              <a:gd name="connsiteX1787" fmla="*/ 1931261 w 4546203"/>
              <a:gd name="connsiteY1787" fmla="*/ 906137 h 5092591"/>
              <a:gd name="connsiteX1788" fmla="*/ 1940016 w 4546203"/>
              <a:gd name="connsiteY1788" fmla="*/ 946728 h 5092591"/>
              <a:gd name="connsiteX1789" fmla="*/ 1976627 w 4546203"/>
              <a:gd name="connsiteY1789" fmla="*/ 939167 h 5092591"/>
              <a:gd name="connsiteX1790" fmla="*/ 1969066 w 4546203"/>
              <a:gd name="connsiteY1790" fmla="*/ 898178 h 5092591"/>
              <a:gd name="connsiteX1791" fmla="*/ 1565941 w 4546203"/>
              <a:gd name="connsiteY1791" fmla="*/ 890617 h 5092591"/>
              <a:gd name="connsiteX1792" fmla="*/ 1524156 w 4546203"/>
              <a:gd name="connsiteY1792" fmla="*/ 908922 h 5092591"/>
              <a:gd name="connsiteX1793" fmla="*/ 1563553 w 4546203"/>
              <a:gd name="connsiteY1793" fmla="*/ 994880 h 5092591"/>
              <a:gd name="connsiteX1794" fmla="*/ 1602950 w 4546203"/>
              <a:gd name="connsiteY1794" fmla="*/ 977370 h 5092591"/>
              <a:gd name="connsiteX1795" fmla="*/ 1565941 w 4546203"/>
              <a:gd name="connsiteY1795" fmla="*/ 890617 h 5092591"/>
              <a:gd name="connsiteX1796" fmla="*/ 2960762 w 4546203"/>
              <a:gd name="connsiteY1796" fmla="*/ 882259 h 5092591"/>
              <a:gd name="connsiteX1797" fmla="*/ 2943253 w 4546203"/>
              <a:gd name="connsiteY1797" fmla="*/ 923647 h 5092591"/>
              <a:gd name="connsiteX1798" fmla="*/ 3016874 w 4546203"/>
              <a:gd name="connsiteY1798" fmla="*/ 956279 h 5092591"/>
              <a:gd name="connsiteX1799" fmla="*/ 3036373 w 4546203"/>
              <a:gd name="connsiteY1799" fmla="*/ 915687 h 5092591"/>
              <a:gd name="connsiteX1800" fmla="*/ 2960762 w 4546203"/>
              <a:gd name="connsiteY1800" fmla="*/ 882259 h 5092591"/>
              <a:gd name="connsiteX1801" fmla="*/ 2491975 w 4546203"/>
              <a:gd name="connsiteY1801" fmla="*/ 875096 h 5092591"/>
              <a:gd name="connsiteX1802" fmla="*/ 2480832 w 4546203"/>
              <a:gd name="connsiteY1802" fmla="*/ 958666 h 5092591"/>
              <a:gd name="connsiteX1803" fmla="*/ 2542913 w 4546203"/>
              <a:gd name="connsiteY1803" fmla="*/ 967819 h 5092591"/>
              <a:gd name="connsiteX1804" fmla="*/ 2557239 w 4546203"/>
              <a:gd name="connsiteY1804" fmla="*/ 884647 h 5092591"/>
              <a:gd name="connsiteX1805" fmla="*/ 2491975 w 4546203"/>
              <a:gd name="connsiteY1805" fmla="*/ 875096 h 5092591"/>
              <a:gd name="connsiteX1806" fmla="*/ 1614889 w 4546203"/>
              <a:gd name="connsiteY1806" fmla="*/ 870321 h 5092591"/>
              <a:gd name="connsiteX1807" fmla="*/ 1573104 w 4546203"/>
              <a:gd name="connsiteY1807" fmla="*/ 887831 h 5092591"/>
              <a:gd name="connsiteX1808" fmla="*/ 1609716 w 4546203"/>
              <a:gd name="connsiteY1808" fmla="*/ 974584 h 5092591"/>
              <a:gd name="connsiteX1809" fmla="*/ 1649511 w 4546203"/>
              <a:gd name="connsiteY1809" fmla="*/ 957870 h 5092591"/>
              <a:gd name="connsiteX1810" fmla="*/ 1614889 w 4546203"/>
              <a:gd name="connsiteY1810" fmla="*/ 870321 h 5092591"/>
              <a:gd name="connsiteX1811" fmla="*/ 1879527 w 4546203"/>
              <a:gd name="connsiteY1811" fmla="*/ 858382 h 5092591"/>
              <a:gd name="connsiteX1812" fmla="*/ 1841722 w 4546203"/>
              <a:gd name="connsiteY1812" fmla="*/ 867933 h 5092591"/>
              <a:gd name="connsiteX1813" fmla="*/ 1852864 w 4546203"/>
              <a:gd name="connsiteY1813" fmla="*/ 908524 h 5092591"/>
              <a:gd name="connsiteX1814" fmla="*/ 1889874 w 4546203"/>
              <a:gd name="connsiteY1814" fmla="*/ 898178 h 5092591"/>
              <a:gd name="connsiteX1815" fmla="*/ 1879527 w 4546203"/>
              <a:gd name="connsiteY1815" fmla="*/ 858382 h 5092591"/>
              <a:gd name="connsiteX1816" fmla="*/ 2848938 w 4546203"/>
              <a:gd name="connsiteY1816" fmla="*/ 840077 h 5092591"/>
              <a:gd name="connsiteX1817" fmla="*/ 2833816 w 4546203"/>
              <a:gd name="connsiteY1817" fmla="*/ 882657 h 5092591"/>
              <a:gd name="connsiteX1818" fmla="*/ 2909825 w 4546203"/>
              <a:gd name="connsiteY1818" fmla="*/ 910514 h 5092591"/>
              <a:gd name="connsiteX1819" fmla="*/ 2926141 w 4546203"/>
              <a:gd name="connsiteY1819" fmla="*/ 868331 h 5092591"/>
              <a:gd name="connsiteX1820" fmla="*/ 2848938 w 4546203"/>
              <a:gd name="connsiteY1820" fmla="*/ 840077 h 5092591"/>
              <a:gd name="connsiteX1821" fmla="*/ 1715173 w 4546203"/>
              <a:gd name="connsiteY1821" fmla="*/ 834505 h 5092591"/>
              <a:gd name="connsiteX1822" fmla="*/ 1672194 w 4546203"/>
              <a:gd name="connsiteY1822" fmla="*/ 849230 h 5092591"/>
              <a:gd name="connsiteX1823" fmla="*/ 1703632 w 4546203"/>
              <a:gd name="connsiteY1823" fmla="*/ 937973 h 5092591"/>
              <a:gd name="connsiteX1824" fmla="*/ 1744621 w 4546203"/>
              <a:gd name="connsiteY1824" fmla="*/ 924044 h 5092591"/>
              <a:gd name="connsiteX1825" fmla="*/ 1715173 w 4546203"/>
              <a:gd name="connsiteY1825" fmla="*/ 834505 h 5092591"/>
              <a:gd name="connsiteX1826" fmla="*/ 2398058 w 4546203"/>
              <a:gd name="connsiteY1826" fmla="*/ 834107 h 5092591"/>
              <a:gd name="connsiteX1827" fmla="*/ 2393283 w 4546203"/>
              <a:gd name="connsiteY1827" fmla="*/ 897382 h 5092591"/>
              <a:gd name="connsiteX1828" fmla="*/ 2450588 w 4546203"/>
              <a:gd name="connsiteY1828" fmla="*/ 902953 h 5092591"/>
              <a:gd name="connsiteX1829" fmla="*/ 2457353 w 4546203"/>
              <a:gd name="connsiteY1829" fmla="*/ 839679 h 5092591"/>
              <a:gd name="connsiteX1830" fmla="*/ 2398058 w 4546203"/>
              <a:gd name="connsiteY1830" fmla="*/ 834107 h 5092591"/>
              <a:gd name="connsiteX1831" fmla="*/ 2311305 w 4546203"/>
              <a:gd name="connsiteY1831" fmla="*/ 832515 h 5092591"/>
              <a:gd name="connsiteX1832" fmla="*/ 2311305 w 4546203"/>
              <a:gd name="connsiteY1832" fmla="*/ 893402 h 5092591"/>
              <a:gd name="connsiteX1833" fmla="*/ 2367814 w 4546203"/>
              <a:gd name="connsiteY1833" fmla="*/ 893402 h 5092591"/>
              <a:gd name="connsiteX1834" fmla="*/ 2370600 w 4546203"/>
              <a:gd name="connsiteY1834" fmla="*/ 832515 h 5092591"/>
              <a:gd name="connsiteX1835" fmla="*/ 2311305 w 4546203"/>
              <a:gd name="connsiteY1835" fmla="*/ 832515 h 5092591"/>
              <a:gd name="connsiteX1836" fmla="*/ 2197889 w 4546203"/>
              <a:gd name="connsiteY1836" fmla="*/ 830526 h 5092591"/>
              <a:gd name="connsiteX1837" fmla="*/ 2137798 w 4546203"/>
              <a:gd name="connsiteY1837" fmla="*/ 833709 h 5092591"/>
              <a:gd name="connsiteX1838" fmla="*/ 2143369 w 4546203"/>
              <a:gd name="connsiteY1838" fmla="*/ 897780 h 5092591"/>
              <a:gd name="connsiteX1839" fmla="*/ 2197889 w 4546203"/>
              <a:gd name="connsiteY1839" fmla="*/ 893800 h 5092591"/>
              <a:gd name="connsiteX1840" fmla="*/ 2197889 w 4546203"/>
              <a:gd name="connsiteY1840" fmla="*/ 830526 h 5092591"/>
              <a:gd name="connsiteX1841" fmla="*/ 1766111 w 4546203"/>
              <a:gd name="connsiteY1841" fmla="*/ 819383 h 5092591"/>
              <a:gd name="connsiteX1842" fmla="*/ 1722734 w 4546203"/>
              <a:gd name="connsiteY1842" fmla="*/ 832515 h 5092591"/>
              <a:gd name="connsiteX1843" fmla="*/ 1751387 w 4546203"/>
              <a:gd name="connsiteY1843" fmla="*/ 922055 h 5092591"/>
              <a:gd name="connsiteX1844" fmla="*/ 1792774 w 4546203"/>
              <a:gd name="connsiteY1844" fmla="*/ 908922 h 5092591"/>
              <a:gd name="connsiteX1845" fmla="*/ 1766111 w 4546203"/>
              <a:gd name="connsiteY1845" fmla="*/ 819383 h 5092591"/>
              <a:gd name="connsiteX1846" fmla="*/ 2733930 w 4546203"/>
              <a:gd name="connsiteY1846" fmla="*/ 805853 h 5092591"/>
              <a:gd name="connsiteX1847" fmla="*/ 2722389 w 4546203"/>
              <a:gd name="connsiteY1847" fmla="*/ 849230 h 5092591"/>
              <a:gd name="connsiteX1848" fmla="*/ 2799990 w 4546203"/>
              <a:gd name="connsiteY1848" fmla="*/ 871515 h 5092591"/>
              <a:gd name="connsiteX1849" fmla="*/ 2813122 w 4546203"/>
              <a:gd name="connsiteY1849" fmla="*/ 828536 h 5092591"/>
              <a:gd name="connsiteX1850" fmla="*/ 2733930 w 4546203"/>
              <a:gd name="connsiteY1850" fmla="*/ 805853 h 5092591"/>
              <a:gd name="connsiteX1851" fmla="*/ 2617330 w 4546203"/>
              <a:gd name="connsiteY1851" fmla="*/ 778792 h 5092591"/>
              <a:gd name="connsiteX1852" fmla="*/ 2608575 w 4546203"/>
              <a:gd name="connsiteY1852" fmla="*/ 822965 h 5092591"/>
              <a:gd name="connsiteX1853" fmla="*/ 2687370 w 4546203"/>
              <a:gd name="connsiteY1853" fmla="*/ 840077 h 5092591"/>
              <a:gd name="connsiteX1854" fmla="*/ 2697716 w 4546203"/>
              <a:gd name="connsiteY1854" fmla="*/ 796302 h 5092591"/>
              <a:gd name="connsiteX1855" fmla="*/ 2617330 w 4546203"/>
              <a:gd name="connsiteY1855" fmla="*/ 778792 h 5092591"/>
              <a:gd name="connsiteX1856" fmla="*/ 2869233 w 4546203"/>
              <a:gd name="connsiteY1856" fmla="*/ 777996 h 5092591"/>
              <a:gd name="connsiteX1857" fmla="*/ 2854907 w 4546203"/>
              <a:gd name="connsiteY1857" fmla="*/ 820577 h 5092591"/>
              <a:gd name="connsiteX1858" fmla="*/ 2933304 w 4546203"/>
              <a:gd name="connsiteY1858" fmla="*/ 848832 h 5092591"/>
              <a:gd name="connsiteX1859" fmla="*/ 2950018 w 4546203"/>
              <a:gd name="connsiteY1859" fmla="*/ 807047 h 5092591"/>
              <a:gd name="connsiteX1860" fmla="*/ 2869233 w 4546203"/>
              <a:gd name="connsiteY1860" fmla="*/ 777996 h 5092591"/>
              <a:gd name="connsiteX1861" fmla="*/ 1577879 w 4546203"/>
              <a:gd name="connsiteY1861" fmla="*/ 775210 h 5092591"/>
              <a:gd name="connsiteX1862" fmla="*/ 1533309 w 4546203"/>
              <a:gd name="connsiteY1862" fmla="*/ 793516 h 5092591"/>
              <a:gd name="connsiteX1863" fmla="*/ 1569920 w 4546203"/>
              <a:gd name="connsiteY1863" fmla="*/ 880668 h 5092591"/>
              <a:gd name="connsiteX1864" fmla="*/ 1612103 w 4546203"/>
              <a:gd name="connsiteY1864" fmla="*/ 862362 h 5092591"/>
              <a:gd name="connsiteX1865" fmla="*/ 1577879 w 4546203"/>
              <a:gd name="connsiteY1865" fmla="*/ 775210 h 5092591"/>
              <a:gd name="connsiteX1866" fmla="*/ 3010506 w 4546203"/>
              <a:gd name="connsiteY1866" fmla="*/ 761282 h 5092591"/>
              <a:gd name="connsiteX1867" fmla="*/ 2992997 w 4546203"/>
              <a:gd name="connsiteY1867" fmla="*/ 803067 h 5092591"/>
              <a:gd name="connsiteX1868" fmla="*/ 3072189 w 4546203"/>
              <a:gd name="connsiteY1868" fmla="*/ 838087 h 5092591"/>
              <a:gd name="connsiteX1869" fmla="*/ 3091689 w 4546203"/>
              <a:gd name="connsiteY1869" fmla="*/ 797496 h 5092591"/>
              <a:gd name="connsiteX1870" fmla="*/ 3010506 w 4546203"/>
              <a:gd name="connsiteY1870" fmla="*/ 761282 h 5092591"/>
              <a:gd name="connsiteX1871" fmla="*/ 1630807 w 4546203"/>
              <a:gd name="connsiteY1871" fmla="*/ 755313 h 5092591"/>
              <a:gd name="connsiteX1872" fmla="*/ 1585441 w 4546203"/>
              <a:gd name="connsiteY1872" fmla="*/ 772823 h 5092591"/>
              <a:gd name="connsiteX1873" fmla="*/ 1619664 w 4546203"/>
              <a:gd name="connsiteY1873" fmla="*/ 860372 h 5092591"/>
              <a:gd name="connsiteX1874" fmla="*/ 1662643 w 4546203"/>
              <a:gd name="connsiteY1874" fmla="*/ 844056 h 5092591"/>
              <a:gd name="connsiteX1875" fmla="*/ 1630807 w 4546203"/>
              <a:gd name="connsiteY1875" fmla="*/ 755313 h 5092591"/>
              <a:gd name="connsiteX1876" fmla="*/ 2750644 w 4546203"/>
              <a:gd name="connsiteY1876" fmla="*/ 742578 h 5092591"/>
              <a:gd name="connsiteX1877" fmla="*/ 2739103 w 4546203"/>
              <a:gd name="connsiteY1877" fmla="*/ 785955 h 5092591"/>
              <a:gd name="connsiteX1878" fmla="*/ 2819489 w 4546203"/>
              <a:gd name="connsiteY1878" fmla="*/ 809036 h 5092591"/>
              <a:gd name="connsiteX1879" fmla="*/ 2832622 w 4546203"/>
              <a:gd name="connsiteY1879" fmla="*/ 766058 h 5092591"/>
              <a:gd name="connsiteX1880" fmla="*/ 2750644 w 4546203"/>
              <a:gd name="connsiteY1880" fmla="*/ 742578 h 5092591"/>
              <a:gd name="connsiteX1881" fmla="*/ 2404824 w 4546203"/>
              <a:gd name="connsiteY1881" fmla="*/ 742180 h 5092591"/>
              <a:gd name="connsiteX1882" fmla="*/ 2400844 w 4546203"/>
              <a:gd name="connsiteY1882" fmla="*/ 805455 h 5092591"/>
              <a:gd name="connsiteX1883" fmla="*/ 2460935 w 4546203"/>
              <a:gd name="connsiteY1883" fmla="*/ 810628 h 5092591"/>
              <a:gd name="connsiteX1884" fmla="*/ 2467700 w 4546203"/>
              <a:gd name="connsiteY1884" fmla="*/ 747354 h 5092591"/>
              <a:gd name="connsiteX1885" fmla="*/ 2404824 w 4546203"/>
              <a:gd name="connsiteY1885" fmla="*/ 742180 h 5092591"/>
              <a:gd name="connsiteX1886" fmla="*/ 2313693 w 4546203"/>
              <a:gd name="connsiteY1886" fmla="*/ 739793 h 5092591"/>
              <a:gd name="connsiteX1887" fmla="*/ 2313693 w 4546203"/>
              <a:gd name="connsiteY1887" fmla="*/ 801077 h 5092591"/>
              <a:gd name="connsiteX1888" fmla="*/ 2372988 w 4546203"/>
              <a:gd name="connsiteY1888" fmla="*/ 801077 h 5092591"/>
              <a:gd name="connsiteX1889" fmla="*/ 2376569 w 4546203"/>
              <a:gd name="connsiteY1889" fmla="*/ 739793 h 5092591"/>
              <a:gd name="connsiteX1890" fmla="*/ 2313693 w 4546203"/>
              <a:gd name="connsiteY1890" fmla="*/ 739793 h 5092591"/>
              <a:gd name="connsiteX1891" fmla="*/ 2224153 w 4546203"/>
              <a:gd name="connsiteY1891" fmla="*/ 738997 h 5092591"/>
              <a:gd name="connsiteX1892" fmla="*/ 2224153 w 4546203"/>
              <a:gd name="connsiteY1892" fmla="*/ 799486 h 5092591"/>
              <a:gd name="connsiteX1893" fmla="*/ 2284642 w 4546203"/>
              <a:gd name="connsiteY1893" fmla="*/ 799486 h 5092591"/>
              <a:gd name="connsiteX1894" fmla="*/ 2284642 w 4546203"/>
              <a:gd name="connsiteY1894" fmla="*/ 738997 h 5092591"/>
              <a:gd name="connsiteX1895" fmla="*/ 2224153 w 4546203"/>
              <a:gd name="connsiteY1895" fmla="*/ 738997 h 5092591"/>
              <a:gd name="connsiteX1896" fmla="*/ 1684133 w 4546203"/>
              <a:gd name="connsiteY1896" fmla="*/ 737405 h 5092591"/>
              <a:gd name="connsiteX1897" fmla="*/ 1638766 w 4546203"/>
              <a:gd name="connsiteY1897" fmla="*/ 752925 h 5092591"/>
              <a:gd name="connsiteX1898" fmla="*/ 1669806 w 4546203"/>
              <a:gd name="connsiteY1898" fmla="*/ 841668 h 5092591"/>
              <a:gd name="connsiteX1899" fmla="*/ 1713183 w 4546203"/>
              <a:gd name="connsiteY1899" fmla="*/ 826546 h 5092591"/>
              <a:gd name="connsiteX1900" fmla="*/ 1684133 w 4546203"/>
              <a:gd name="connsiteY1900" fmla="*/ 737405 h 5092591"/>
              <a:gd name="connsiteX1901" fmla="*/ 1737856 w 4546203"/>
              <a:gd name="connsiteY1901" fmla="*/ 720691 h 5092591"/>
              <a:gd name="connsiteX1902" fmla="*/ 1691694 w 4546203"/>
              <a:gd name="connsiteY1902" fmla="*/ 734619 h 5092591"/>
              <a:gd name="connsiteX1903" fmla="*/ 1720744 w 4546203"/>
              <a:gd name="connsiteY1903" fmla="*/ 824556 h 5092591"/>
              <a:gd name="connsiteX1904" fmla="*/ 1764121 w 4546203"/>
              <a:gd name="connsiteY1904" fmla="*/ 810628 h 5092591"/>
              <a:gd name="connsiteX1905" fmla="*/ 1737856 w 4546203"/>
              <a:gd name="connsiteY1905" fmla="*/ 720691 h 5092591"/>
              <a:gd name="connsiteX1906" fmla="*/ 2630064 w 4546203"/>
              <a:gd name="connsiteY1906" fmla="*/ 714722 h 5092591"/>
              <a:gd name="connsiteX1907" fmla="*/ 2621708 w 4546203"/>
              <a:gd name="connsiteY1907" fmla="*/ 759292 h 5092591"/>
              <a:gd name="connsiteX1908" fmla="*/ 2703288 w 4546203"/>
              <a:gd name="connsiteY1908" fmla="*/ 776802 h 5092591"/>
              <a:gd name="connsiteX1909" fmla="*/ 2713634 w 4546203"/>
              <a:gd name="connsiteY1909" fmla="*/ 733028 h 5092591"/>
              <a:gd name="connsiteX1910" fmla="*/ 2630064 w 4546203"/>
              <a:gd name="connsiteY1910" fmla="*/ 714722 h 5092591"/>
              <a:gd name="connsiteX1911" fmla="*/ 1485953 w 4546203"/>
              <a:gd name="connsiteY1911" fmla="*/ 701987 h 5092591"/>
              <a:gd name="connsiteX1912" fmla="*/ 1439392 w 4546203"/>
              <a:gd name="connsiteY1912" fmla="*/ 722681 h 5092591"/>
              <a:gd name="connsiteX1913" fmla="*/ 1478789 w 4546203"/>
              <a:gd name="connsiteY1913" fmla="*/ 808638 h 5092591"/>
              <a:gd name="connsiteX1914" fmla="*/ 1522962 w 4546203"/>
              <a:gd name="connsiteY1914" fmla="*/ 788343 h 5092591"/>
              <a:gd name="connsiteX1915" fmla="*/ 1485953 w 4546203"/>
              <a:gd name="connsiteY1915" fmla="*/ 701987 h 5092591"/>
              <a:gd name="connsiteX1916" fmla="*/ 1540870 w 4546203"/>
              <a:gd name="connsiteY1916" fmla="*/ 680100 h 5092591"/>
              <a:gd name="connsiteX1917" fmla="*/ 1493514 w 4546203"/>
              <a:gd name="connsiteY1917" fmla="*/ 698804 h 5092591"/>
              <a:gd name="connsiteX1918" fmla="*/ 1530523 w 4546203"/>
              <a:gd name="connsiteY1918" fmla="*/ 785955 h 5092591"/>
              <a:gd name="connsiteX1919" fmla="*/ 1575094 w 4546203"/>
              <a:gd name="connsiteY1919" fmla="*/ 767251 h 5092591"/>
              <a:gd name="connsiteX1920" fmla="*/ 1540870 w 4546203"/>
              <a:gd name="connsiteY1920" fmla="*/ 680100 h 5092591"/>
              <a:gd name="connsiteX1921" fmla="*/ 1468841 w 4546203"/>
              <a:gd name="connsiteY1921" fmla="*/ 662590 h 5092591"/>
              <a:gd name="connsiteX1922" fmla="*/ 1421882 w 4546203"/>
              <a:gd name="connsiteY1922" fmla="*/ 684079 h 5092591"/>
              <a:gd name="connsiteX1923" fmla="*/ 1436607 w 4546203"/>
              <a:gd name="connsiteY1923" fmla="*/ 715916 h 5092591"/>
              <a:gd name="connsiteX1924" fmla="*/ 1483167 w 4546203"/>
              <a:gd name="connsiteY1924" fmla="*/ 694824 h 5092591"/>
              <a:gd name="connsiteX1925" fmla="*/ 1468841 w 4546203"/>
              <a:gd name="connsiteY1925" fmla="*/ 662590 h 5092591"/>
              <a:gd name="connsiteX1926" fmla="*/ 1596185 w 4546203"/>
              <a:gd name="connsiteY1926" fmla="*/ 659008 h 5092591"/>
              <a:gd name="connsiteX1927" fmla="*/ 1548829 w 4546203"/>
              <a:gd name="connsiteY1927" fmla="*/ 676916 h 5092591"/>
              <a:gd name="connsiteX1928" fmla="*/ 1582655 w 4546203"/>
              <a:gd name="connsiteY1928" fmla="*/ 764864 h 5092591"/>
              <a:gd name="connsiteX1929" fmla="*/ 1628021 w 4546203"/>
              <a:gd name="connsiteY1929" fmla="*/ 747354 h 5092591"/>
              <a:gd name="connsiteX1930" fmla="*/ 1596185 w 4546203"/>
              <a:gd name="connsiteY1930" fmla="*/ 659008 h 5092591"/>
              <a:gd name="connsiteX1931" fmla="*/ 2911018 w 4546203"/>
              <a:gd name="connsiteY1931" fmla="*/ 654233 h 5092591"/>
              <a:gd name="connsiteX1932" fmla="*/ 2897090 w 4546203"/>
              <a:gd name="connsiteY1932" fmla="*/ 696814 h 5092591"/>
              <a:gd name="connsiteX1933" fmla="*/ 2981058 w 4546203"/>
              <a:gd name="connsiteY1933" fmla="*/ 727854 h 5092591"/>
              <a:gd name="connsiteX1934" fmla="*/ 2997374 w 4546203"/>
              <a:gd name="connsiteY1934" fmla="*/ 685671 h 5092591"/>
              <a:gd name="connsiteX1935" fmla="*/ 2911018 w 4546203"/>
              <a:gd name="connsiteY1935" fmla="*/ 654233 h 5092591"/>
              <a:gd name="connsiteX1936" fmla="*/ 2191123 w 4546203"/>
              <a:gd name="connsiteY1936" fmla="*/ 646672 h 5092591"/>
              <a:gd name="connsiteX1937" fmla="*/ 2124268 w 4546203"/>
              <a:gd name="connsiteY1937" fmla="*/ 649856 h 5092591"/>
              <a:gd name="connsiteX1938" fmla="*/ 2128645 w 4546203"/>
              <a:gd name="connsiteY1938" fmla="*/ 713528 h 5092591"/>
              <a:gd name="connsiteX1939" fmla="*/ 2191123 w 4546203"/>
              <a:gd name="connsiteY1939" fmla="*/ 709946 h 5092591"/>
              <a:gd name="connsiteX1940" fmla="*/ 2191123 w 4546203"/>
              <a:gd name="connsiteY1940" fmla="*/ 646672 h 5092591"/>
              <a:gd name="connsiteX1941" fmla="*/ 2315682 w 4546203"/>
              <a:gd name="connsiteY1941" fmla="*/ 645080 h 5092591"/>
              <a:gd name="connsiteX1942" fmla="*/ 2315682 w 4546203"/>
              <a:gd name="connsiteY1942" fmla="*/ 708752 h 5092591"/>
              <a:gd name="connsiteX1943" fmla="*/ 2378161 w 4546203"/>
              <a:gd name="connsiteY1943" fmla="*/ 711538 h 5092591"/>
              <a:gd name="connsiteX1944" fmla="*/ 2381742 w 4546203"/>
              <a:gd name="connsiteY1944" fmla="*/ 647866 h 5092591"/>
              <a:gd name="connsiteX1945" fmla="*/ 2315682 w 4546203"/>
              <a:gd name="connsiteY1945" fmla="*/ 645080 h 5092591"/>
              <a:gd name="connsiteX1946" fmla="*/ 3060648 w 4546203"/>
              <a:gd name="connsiteY1946" fmla="*/ 640703 h 5092591"/>
              <a:gd name="connsiteX1947" fmla="*/ 3043138 w 4546203"/>
              <a:gd name="connsiteY1947" fmla="*/ 682090 h 5092591"/>
              <a:gd name="connsiteX1948" fmla="*/ 3127902 w 4546203"/>
              <a:gd name="connsiteY1948" fmla="*/ 719895 h 5092591"/>
              <a:gd name="connsiteX1949" fmla="*/ 3147004 w 4546203"/>
              <a:gd name="connsiteY1949" fmla="*/ 678906 h 5092591"/>
              <a:gd name="connsiteX1950" fmla="*/ 3060648 w 4546203"/>
              <a:gd name="connsiteY1950" fmla="*/ 640703 h 5092591"/>
              <a:gd name="connsiteX1951" fmla="*/ 1651899 w 4546203"/>
              <a:gd name="connsiteY1951" fmla="*/ 640305 h 5092591"/>
              <a:gd name="connsiteX1952" fmla="*/ 1604144 w 4546203"/>
              <a:gd name="connsiteY1952" fmla="*/ 656621 h 5092591"/>
              <a:gd name="connsiteX1953" fmla="*/ 1635583 w 4546203"/>
              <a:gd name="connsiteY1953" fmla="*/ 745364 h 5092591"/>
              <a:gd name="connsiteX1954" fmla="*/ 1681347 w 4546203"/>
              <a:gd name="connsiteY1954" fmla="*/ 729844 h 5092591"/>
              <a:gd name="connsiteX1955" fmla="*/ 1651899 w 4546203"/>
              <a:gd name="connsiteY1955" fmla="*/ 640305 h 5092591"/>
              <a:gd name="connsiteX1956" fmla="*/ 1524554 w 4546203"/>
              <a:gd name="connsiteY1956" fmla="*/ 639907 h 5092591"/>
              <a:gd name="connsiteX1957" fmla="*/ 1477198 w 4546203"/>
              <a:gd name="connsiteY1957" fmla="*/ 659804 h 5092591"/>
              <a:gd name="connsiteX1958" fmla="*/ 1491126 w 4546203"/>
              <a:gd name="connsiteY1958" fmla="*/ 691641 h 5092591"/>
              <a:gd name="connsiteX1959" fmla="*/ 1538482 w 4546203"/>
              <a:gd name="connsiteY1959" fmla="*/ 672539 h 5092591"/>
              <a:gd name="connsiteX1960" fmla="*/ 1524554 w 4546203"/>
              <a:gd name="connsiteY1960" fmla="*/ 639907 h 5092591"/>
              <a:gd name="connsiteX1961" fmla="*/ 1580665 w 4546203"/>
              <a:gd name="connsiteY1961" fmla="*/ 618019 h 5092591"/>
              <a:gd name="connsiteX1962" fmla="*/ 1532911 w 4546203"/>
              <a:gd name="connsiteY1962" fmla="*/ 636325 h 5092591"/>
              <a:gd name="connsiteX1963" fmla="*/ 1545645 w 4546203"/>
              <a:gd name="connsiteY1963" fmla="*/ 669355 h 5092591"/>
              <a:gd name="connsiteX1964" fmla="*/ 1593798 w 4546203"/>
              <a:gd name="connsiteY1964" fmla="*/ 651049 h 5092591"/>
              <a:gd name="connsiteX1965" fmla="*/ 1580665 w 4546203"/>
              <a:gd name="connsiteY1965" fmla="*/ 618019 h 5092591"/>
              <a:gd name="connsiteX1966" fmla="*/ 2784470 w 4546203"/>
              <a:gd name="connsiteY1966" fmla="*/ 616030 h 5092591"/>
              <a:gd name="connsiteX1967" fmla="*/ 2772531 w 4546203"/>
              <a:gd name="connsiteY1967" fmla="*/ 659008 h 5092591"/>
              <a:gd name="connsiteX1968" fmla="*/ 2858887 w 4546203"/>
              <a:gd name="connsiteY1968" fmla="*/ 684079 h 5092591"/>
              <a:gd name="connsiteX1969" fmla="*/ 2872417 w 4546203"/>
              <a:gd name="connsiteY1969" fmla="*/ 641499 h 5092591"/>
              <a:gd name="connsiteX1970" fmla="*/ 2784470 w 4546203"/>
              <a:gd name="connsiteY1970" fmla="*/ 616030 h 5092591"/>
              <a:gd name="connsiteX1971" fmla="*/ 1445759 w 4546203"/>
              <a:gd name="connsiteY1971" fmla="*/ 608071 h 5092591"/>
              <a:gd name="connsiteX1972" fmla="*/ 1396811 w 4546203"/>
              <a:gd name="connsiteY1972" fmla="*/ 630356 h 5092591"/>
              <a:gd name="connsiteX1973" fmla="*/ 1414321 w 4546203"/>
              <a:gd name="connsiteY1973" fmla="*/ 666172 h 5092591"/>
              <a:gd name="connsiteX1974" fmla="*/ 1461677 w 4546203"/>
              <a:gd name="connsiteY1974" fmla="*/ 645080 h 5092591"/>
              <a:gd name="connsiteX1975" fmla="*/ 1445759 w 4546203"/>
              <a:gd name="connsiteY1975" fmla="*/ 608071 h 5092591"/>
              <a:gd name="connsiteX1976" fmla="*/ 1639164 w 4546203"/>
              <a:gd name="connsiteY1976" fmla="*/ 598918 h 5092591"/>
              <a:gd name="connsiteX1977" fmla="*/ 1590216 w 4546203"/>
              <a:gd name="connsiteY1977" fmla="*/ 616030 h 5092591"/>
              <a:gd name="connsiteX1978" fmla="*/ 1602552 w 4546203"/>
              <a:gd name="connsiteY1978" fmla="*/ 649060 h 5092591"/>
              <a:gd name="connsiteX1979" fmla="*/ 1650307 w 4546203"/>
              <a:gd name="connsiteY1979" fmla="*/ 632744 h 5092591"/>
              <a:gd name="connsiteX1980" fmla="*/ 1639164 w 4546203"/>
              <a:gd name="connsiteY1980" fmla="*/ 598918 h 5092591"/>
              <a:gd name="connsiteX1981" fmla="*/ 2932110 w 4546203"/>
              <a:gd name="connsiteY1981" fmla="*/ 592551 h 5092591"/>
              <a:gd name="connsiteX1982" fmla="*/ 2917386 w 4546203"/>
              <a:gd name="connsiteY1982" fmla="*/ 635131 h 5092591"/>
              <a:gd name="connsiteX1983" fmla="*/ 3004935 w 4546203"/>
              <a:gd name="connsiteY1983" fmla="*/ 666968 h 5092591"/>
              <a:gd name="connsiteX1984" fmla="*/ 3020853 w 4546203"/>
              <a:gd name="connsiteY1984" fmla="*/ 625183 h 5092591"/>
              <a:gd name="connsiteX1985" fmla="*/ 2932110 w 4546203"/>
              <a:gd name="connsiteY1985" fmla="*/ 592551 h 5092591"/>
              <a:gd name="connsiteX1986" fmla="*/ 2654737 w 4546203"/>
              <a:gd name="connsiteY1986" fmla="*/ 586581 h 5092591"/>
              <a:gd name="connsiteX1987" fmla="*/ 2646778 w 4546203"/>
              <a:gd name="connsiteY1987" fmla="*/ 630754 h 5092591"/>
              <a:gd name="connsiteX1988" fmla="*/ 2733930 w 4546203"/>
              <a:gd name="connsiteY1988" fmla="*/ 649856 h 5092591"/>
              <a:gd name="connsiteX1989" fmla="*/ 2744675 w 4546203"/>
              <a:gd name="connsiteY1989" fmla="*/ 606081 h 5092591"/>
              <a:gd name="connsiteX1990" fmla="*/ 2654737 w 4546203"/>
              <a:gd name="connsiteY1990" fmla="*/ 586581 h 5092591"/>
              <a:gd name="connsiteX1991" fmla="*/ 1503860 w 4546203"/>
              <a:gd name="connsiteY1991" fmla="*/ 584989 h 5092591"/>
              <a:gd name="connsiteX1992" fmla="*/ 1454514 w 4546203"/>
              <a:gd name="connsiteY1992" fmla="*/ 605285 h 5092591"/>
              <a:gd name="connsiteX1993" fmla="*/ 1470034 w 4546203"/>
              <a:gd name="connsiteY1993" fmla="*/ 642295 h 5092591"/>
              <a:gd name="connsiteX1994" fmla="*/ 1518585 w 4546203"/>
              <a:gd name="connsiteY1994" fmla="*/ 622397 h 5092591"/>
              <a:gd name="connsiteX1995" fmla="*/ 1503860 w 4546203"/>
              <a:gd name="connsiteY1995" fmla="*/ 584989 h 5092591"/>
              <a:gd name="connsiteX1996" fmla="*/ 1696469 w 4546203"/>
              <a:gd name="connsiteY1996" fmla="*/ 581010 h 5092591"/>
              <a:gd name="connsiteX1997" fmla="*/ 1647123 w 4546203"/>
              <a:gd name="connsiteY1997" fmla="*/ 596132 h 5092591"/>
              <a:gd name="connsiteX1998" fmla="*/ 1658266 w 4546203"/>
              <a:gd name="connsiteY1998" fmla="*/ 629560 h 5092591"/>
              <a:gd name="connsiteX1999" fmla="*/ 1706816 w 4546203"/>
              <a:gd name="connsiteY1999" fmla="*/ 614836 h 5092591"/>
              <a:gd name="connsiteX2000" fmla="*/ 1696469 w 4546203"/>
              <a:gd name="connsiteY2000" fmla="*/ 581010 h 5092591"/>
              <a:gd name="connsiteX2001" fmla="*/ 1561563 w 4546203"/>
              <a:gd name="connsiteY2001" fmla="*/ 563102 h 5092591"/>
              <a:gd name="connsiteX2002" fmla="*/ 1511819 w 4546203"/>
              <a:gd name="connsiteY2002" fmla="*/ 582602 h 5092591"/>
              <a:gd name="connsiteX2003" fmla="*/ 1526942 w 4546203"/>
              <a:gd name="connsiteY2003" fmla="*/ 619611 h 5092591"/>
              <a:gd name="connsiteX2004" fmla="*/ 1575492 w 4546203"/>
              <a:gd name="connsiteY2004" fmla="*/ 600907 h 5092591"/>
              <a:gd name="connsiteX2005" fmla="*/ 1561563 w 4546203"/>
              <a:gd name="connsiteY2005" fmla="*/ 563102 h 5092591"/>
              <a:gd name="connsiteX2006" fmla="*/ 2418354 w 4546203"/>
              <a:gd name="connsiteY2006" fmla="*/ 557929 h 5092591"/>
              <a:gd name="connsiteX2007" fmla="*/ 2413977 w 4546203"/>
              <a:gd name="connsiteY2007" fmla="*/ 621203 h 5092591"/>
              <a:gd name="connsiteX2008" fmla="*/ 2480832 w 4546203"/>
              <a:gd name="connsiteY2008" fmla="*/ 627570 h 5092591"/>
              <a:gd name="connsiteX2009" fmla="*/ 2487200 w 4546203"/>
              <a:gd name="connsiteY2009" fmla="*/ 563898 h 5092591"/>
              <a:gd name="connsiteX2010" fmla="*/ 2418354 w 4546203"/>
              <a:gd name="connsiteY2010" fmla="*/ 557929 h 5092591"/>
              <a:gd name="connsiteX2011" fmla="*/ 2219378 w 4546203"/>
              <a:gd name="connsiteY2011" fmla="*/ 553551 h 5092591"/>
              <a:gd name="connsiteX2012" fmla="*/ 2219378 w 4546203"/>
              <a:gd name="connsiteY2012" fmla="*/ 614836 h 5092591"/>
              <a:gd name="connsiteX2013" fmla="*/ 2284642 w 4546203"/>
              <a:gd name="connsiteY2013" fmla="*/ 614836 h 5092591"/>
              <a:gd name="connsiteX2014" fmla="*/ 2284642 w 4546203"/>
              <a:gd name="connsiteY2014" fmla="*/ 553551 h 5092591"/>
              <a:gd name="connsiteX2015" fmla="*/ 2219378 w 4546203"/>
              <a:gd name="connsiteY2015" fmla="*/ 553551 h 5092591"/>
              <a:gd name="connsiteX2016" fmla="*/ 2318070 w 4546203"/>
              <a:gd name="connsiteY2016" fmla="*/ 552755 h 5092591"/>
              <a:gd name="connsiteX2017" fmla="*/ 2317672 w 4546203"/>
              <a:gd name="connsiteY2017" fmla="*/ 616030 h 5092591"/>
              <a:gd name="connsiteX2018" fmla="*/ 2383732 w 4546203"/>
              <a:gd name="connsiteY2018" fmla="*/ 619611 h 5092591"/>
              <a:gd name="connsiteX2019" fmla="*/ 2386916 w 4546203"/>
              <a:gd name="connsiteY2019" fmla="*/ 555939 h 5092591"/>
              <a:gd name="connsiteX2020" fmla="*/ 2318070 w 4546203"/>
              <a:gd name="connsiteY2020" fmla="*/ 552755 h 5092591"/>
              <a:gd name="connsiteX2021" fmla="*/ 1621256 w 4546203"/>
              <a:gd name="connsiteY2021" fmla="*/ 542807 h 5092591"/>
              <a:gd name="connsiteX2022" fmla="*/ 1570716 w 4546203"/>
              <a:gd name="connsiteY2022" fmla="*/ 560316 h 5092591"/>
              <a:gd name="connsiteX2023" fmla="*/ 1584247 w 4546203"/>
              <a:gd name="connsiteY2023" fmla="*/ 598122 h 5092591"/>
              <a:gd name="connsiteX2024" fmla="*/ 1633593 w 4546203"/>
              <a:gd name="connsiteY2024" fmla="*/ 581010 h 5092591"/>
              <a:gd name="connsiteX2025" fmla="*/ 1621256 w 4546203"/>
              <a:gd name="connsiteY2025" fmla="*/ 542807 h 5092591"/>
              <a:gd name="connsiteX2026" fmla="*/ 1680153 w 4546203"/>
              <a:gd name="connsiteY2026" fmla="*/ 524899 h 5092591"/>
              <a:gd name="connsiteX2027" fmla="*/ 1629215 w 4546203"/>
              <a:gd name="connsiteY2027" fmla="*/ 540021 h 5092591"/>
              <a:gd name="connsiteX2028" fmla="*/ 1641950 w 4546203"/>
              <a:gd name="connsiteY2028" fmla="*/ 578622 h 5092591"/>
              <a:gd name="connsiteX2029" fmla="*/ 1691694 w 4546203"/>
              <a:gd name="connsiteY2029" fmla="*/ 563102 h 5092591"/>
              <a:gd name="connsiteX2030" fmla="*/ 1680153 w 4546203"/>
              <a:gd name="connsiteY2030" fmla="*/ 524899 h 5092591"/>
              <a:gd name="connsiteX2031" fmla="*/ 2667472 w 4546203"/>
              <a:gd name="connsiteY2031" fmla="*/ 522113 h 5092591"/>
              <a:gd name="connsiteX2032" fmla="*/ 2659115 w 4546203"/>
              <a:gd name="connsiteY2032" fmla="*/ 566286 h 5092591"/>
              <a:gd name="connsiteX2033" fmla="*/ 2749450 w 4546203"/>
              <a:gd name="connsiteY2033" fmla="*/ 586183 h 5092591"/>
              <a:gd name="connsiteX2034" fmla="*/ 2760195 w 4546203"/>
              <a:gd name="connsiteY2034" fmla="*/ 542409 h 5092591"/>
              <a:gd name="connsiteX2035" fmla="*/ 2667472 w 4546203"/>
              <a:gd name="connsiteY2035" fmla="*/ 522113 h 5092591"/>
              <a:gd name="connsiteX2036" fmla="*/ 2425119 w 4546203"/>
              <a:gd name="connsiteY2036" fmla="*/ 465604 h 5092591"/>
              <a:gd name="connsiteX2037" fmla="*/ 2420742 w 4546203"/>
              <a:gd name="connsiteY2037" fmla="*/ 529276 h 5092591"/>
              <a:gd name="connsiteX2038" fmla="*/ 2490781 w 4546203"/>
              <a:gd name="connsiteY2038" fmla="*/ 535643 h 5092591"/>
              <a:gd name="connsiteX2039" fmla="*/ 2497148 w 4546203"/>
              <a:gd name="connsiteY2039" fmla="*/ 472369 h 5092591"/>
              <a:gd name="connsiteX2040" fmla="*/ 2425119 w 4546203"/>
              <a:gd name="connsiteY2040" fmla="*/ 465604 h 5092591"/>
              <a:gd name="connsiteX2041" fmla="*/ 2320060 w 4546203"/>
              <a:gd name="connsiteY2041" fmla="*/ 462818 h 5092591"/>
              <a:gd name="connsiteX2042" fmla="*/ 2319662 w 4546203"/>
              <a:gd name="connsiteY2042" fmla="*/ 523705 h 5092591"/>
              <a:gd name="connsiteX2043" fmla="*/ 2388508 w 4546203"/>
              <a:gd name="connsiteY2043" fmla="*/ 527286 h 5092591"/>
              <a:gd name="connsiteX2044" fmla="*/ 2392487 w 4546203"/>
              <a:gd name="connsiteY2044" fmla="*/ 462818 h 5092591"/>
              <a:gd name="connsiteX2045" fmla="*/ 2320060 w 4546203"/>
              <a:gd name="connsiteY2045" fmla="*/ 462818 h 5092591"/>
              <a:gd name="connsiteX2046" fmla="*/ 2181971 w 4546203"/>
              <a:gd name="connsiteY2046" fmla="*/ 461226 h 5092591"/>
              <a:gd name="connsiteX2047" fmla="*/ 2110339 w 4546203"/>
              <a:gd name="connsiteY2047" fmla="*/ 466002 h 5092591"/>
              <a:gd name="connsiteX2048" fmla="*/ 2115115 w 4546203"/>
              <a:gd name="connsiteY2048" fmla="*/ 528878 h 5092591"/>
              <a:gd name="connsiteX2049" fmla="*/ 2185950 w 4546203"/>
              <a:gd name="connsiteY2049" fmla="*/ 524899 h 5092591"/>
              <a:gd name="connsiteX2050" fmla="*/ 2181971 w 4546203"/>
              <a:gd name="connsiteY2050" fmla="*/ 461226 h 5092591"/>
              <a:gd name="connsiteX2051" fmla="*/ 1608523 w 4546203"/>
              <a:gd name="connsiteY2051" fmla="*/ 448890 h 5092591"/>
              <a:gd name="connsiteX2052" fmla="*/ 1620859 w 4546203"/>
              <a:gd name="connsiteY2052" fmla="*/ 481522 h 5092591"/>
              <a:gd name="connsiteX2053" fmla="*/ 1651900 w 4546203"/>
              <a:gd name="connsiteY2053" fmla="*/ 475155 h 5092591"/>
              <a:gd name="connsiteX2054" fmla="*/ 1658267 w 4546203"/>
              <a:gd name="connsiteY2054" fmla="*/ 498635 h 5092591"/>
              <a:gd name="connsiteX2055" fmla="*/ 1403576 w 4546203"/>
              <a:gd name="connsiteY2055" fmla="*/ 592950 h 5092591"/>
              <a:gd name="connsiteX2056" fmla="*/ 1391240 w 4546203"/>
              <a:gd name="connsiteY2056" fmla="*/ 566685 h 5092591"/>
              <a:gd name="connsiteX2057" fmla="*/ 1432627 w 4546203"/>
              <a:gd name="connsiteY2057" fmla="*/ 560318 h 5092591"/>
              <a:gd name="connsiteX2058" fmla="*/ 1445759 w 4546203"/>
              <a:gd name="connsiteY2058" fmla="*/ 556338 h 5092591"/>
              <a:gd name="connsiteX2059" fmla="*/ 1608125 w 4546203"/>
              <a:gd name="connsiteY2059" fmla="*/ 496247 h 5092591"/>
              <a:gd name="connsiteX2060" fmla="*/ 1622451 w 4546203"/>
              <a:gd name="connsiteY2060" fmla="*/ 489879 h 5092591"/>
              <a:gd name="connsiteX2061" fmla="*/ 1619267 w 4546203"/>
              <a:gd name="connsiteY2061" fmla="*/ 482318 h 5092591"/>
              <a:gd name="connsiteX2062" fmla="*/ 1427056 w 4546203"/>
              <a:gd name="connsiteY2062" fmla="*/ 552359 h 5092591"/>
              <a:gd name="connsiteX2063" fmla="*/ 1413525 w 4546203"/>
              <a:gd name="connsiteY2063" fmla="*/ 520920 h 5092591"/>
              <a:gd name="connsiteX2064" fmla="*/ 1608523 w 4546203"/>
              <a:gd name="connsiteY2064" fmla="*/ 448890 h 5092591"/>
              <a:gd name="connsiteX2065" fmla="*/ 2322448 w 4546203"/>
              <a:gd name="connsiteY2065" fmla="*/ 370891 h 5092591"/>
              <a:gd name="connsiteX2066" fmla="*/ 2322845 w 4546203"/>
              <a:gd name="connsiteY2066" fmla="*/ 432574 h 5092591"/>
              <a:gd name="connsiteX2067" fmla="*/ 2394875 w 4546203"/>
              <a:gd name="connsiteY2067" fmla="*/ 432574 h 5092591"/>
              <a:gd name="connsiteX2068" fmla="*/ 2398058 w 4546203"/>
              <a:gd name="connsiteY2068" fmla="*/ 370891 h 5092591"/>
              <a:gd name="connsiteX2069" fmla="*/ 2322448 w 4546203"/>
              <a:gd name="connsiteY2069" fmla="*/ 370891 h 5092591"/>
              <a:gd name="connsiteX2070" fmla="*/ 2215398 w 4546203"/>
              <a:gd name="connsiteY2070" fmla="*/ 369697 h 5092591"/>
              <a:gd name="connsiteX2071" fmla="*/ 2215398 w 4546203"/>
              <a:gd name="connsiteY2071" fmla="*/ 430982 h 5092591"/>
              <a:gd name="connsiteX2072" fmla="*/ 2287428 w 4546203"/>
              <a:gd name="connsiteY2072" fmla="*/ 430982 h 5092591"/>
              <a:gd name="connsiteX2073" fmla="*/ 2287428 w 4546203"/>
              <a:gd name="connsiteY2073" fmla="*/ 369697 h 5092591"/>
              <a:gd name="connsiteX2074" fmla="*/ 2215398 w 4546203"/>
              <a:gd name="connsiteY2074" fmla="*/ 369697 h 5092591"/>
              <a:gd name="connsiteX2075" fmla="*/ 2178787 w 4546203"/>
              <a:gd name="connsiteY2075" fmla="*/ 369299 h 5092591"/>
              <a:gd name="connsiteX2076" fmla="*/ 2103176 w 4546203"/>
              <a:gd name="connsiteY2076" fmla="*/ 374075 h 5092591"/>
              <a:gd name="connsiteX2077" fmla="*/ 2108350 w 4546203"/>
              <a:gd name="connsiteY2077" fmla="*/ 437747 h 5092591"/>
              <a:gd name="connsiteX2078" fmla="*/ 2182368 w 4546203"/>
              <a:gd name="connsiteY2078" fmla="*/ 432574 h 5092591"/>
              <a:gd name="connsiteX2079" fmla="*/ 2178787 w 4546203"/>
              <a:gd name="connsiteY2079" fmla="*/ 369299 h 5092591"/>
              <a:gd name="connsiteX2080" fmla="*/ 2438650 w 4546203"/>
              <a:gd name="connsiteY2080" fmla="*/ 281352 h 5092591"/>
              <a:gd name="connsiteX2081" fmla="*/ 2433874 w 4546203"/>
              <a:gd name="connsiteY2081" fmla="*/ 345024 h 5092591"/>
              <a:gd name="connsiteX2082" fmla="*/ 2510281 w 4546203"/>
              <a:gd name="connsiteY2082" fmla="*/ 351790 h 5092591"/>
              <a:gd name="connsiteX2083" fmla="*/ 2517444 w 4546203"/>
              <a:gd name="connsiteY2083" fmla="*/ 288515 h 5092591"/>
              <a:gd name="connsiteX2084" fmla="*/ 2438650 w 4546203"/>
              <a:gd name="connsiteY2084" fmla="*/ 281352 h 5092591"/>
              <a:gd name="connsiteX2085" fmla="*/ 2212215 w 4546203"/>
              <a:gd name="connsiteY2085" fmla="*/ 276975 h 5092591"/>
              <a:gd name="connsiteX2086" fmla="*/ 2212215 w 4546203"/>
              <a:gd name="connsiteY2086" fmla="*/ 337463 h 5092591"/>
              <a:gd name="connsiteX2087" fmla="*/ 2288622 w 4546203"/>
              <a:gd name="connsiteY2087" fmla="*/ 337463 h 5092591"/>
              <a:gd name="connsiteX2088" fmla="*/ 2288622 w 4546203"/>
              <a:gd name="connsiteY2088" fmla="*/ 276975 h 5092591"/>
              <a:gd name="connsiteX2089" fmla="*/ 2212215 w 4546203"/>
              <a:gd name="connsiteY2089" fmla="*/ 276975 h 5092591"/>
              <a:gd name="connsiteX2090" fmla="*/ 2445415 w 4546203"/>
              <a:gd name="connsiteY2090" fmla="*/ 189425 h 5092591"/>
              <a:gd name="connsiteX2091" fmla="*/ 2440639 w 4546203"/>
              <a:gd name="connsiteY2091" fmla="*/ 252700 h 5092591"/>
              <a:gd name="connsiteX2092" fmla="*/ 2520230 w 4546203"/>
              <a:gd name="connsiteY2092" fmla="*/ 259863 h 5092591"/>
              <a:gd name="connsiteX2093" fmla="*/ 2526995 w 4546203"/>
              <a:gd name="connsiteY2093" fmla="*/ 196588 h 5092591"/>
              <a:gd name="connsiteX2094" fmla="*/ 2445415 w 4546203"/>
              <a:gd name="connsiteY2094" fmla="*/ 189425 h 5092591"/>
              <a:gd name="connsiteX2095" fmla="*/ 2170828 w 4546203"/>
              <a:gd name="connsiteY2095" fmla="*/ 184650 h 5092591"/>
              <a:gd name="connsiteX2096" fmla="*/ 2089248 w 4546203"/>
              <a:gd name="connsiteY2096" fmla="*/ 189823 h 5092591"/>
              <a:gd name="connsiteX2097" fmla="*/ 2094421 w 4546203"/>
              <a:gd name="connsiteY2097" fmla="*/ 253097 h 5092591"/>
              <a:gd name="connsiteX2098" fmla="*/ 2174409 w 4546203"/>
              <a:gd name="connsiteY2098" fmla="*/ 248322 h 5092591"/>
              <a:gd name="connsiteX2099" fmla="*/ 2170828 w 4546203"/>
              <a:gd name="connsiteY2099" fmla="*/ 184650 h 5092591"/>
              <a:gd name="connsiteX2100" fmla="*/ 2210225 w 4546203"/>
              <a:gd name="connsiteY2100" fmla="*/ 184252 h 5092591"/>
              <a:gd name="connsiteX2101" fmla="*/ 2210225 w 4546203"/>
              <a:gd name="connsiteY2101" fmla="*/ 245536 h 5092591"/>
              <a:gd name="connsiteX2102" fmla="*/ 2289020 w 4546203"/>
              <a:gd name="connsiteY2102" fmla="*/ 245536 h 5092591"/>
              <a:gd name="connsiteX2103" fmla="*/ 2289020 w 4546203"/>
              <a:gd name="connsiteY2103" fmla="*/ 184252 h 5092591"/>
              <a:gd name="connsiteX2104" fmla="*/ 2210225 w 4546203"/>
              <a:gd name="connsiteY2104" fmla="*/ 184252 h 5092591"/>
              <a:gd name="connsiteX2105" fmla="*/ 2175205 w 4546203"/>
              <a:gd name="connsiteY2105" fmla="*/ 0 h 5092591"/>
              <a:gd name="connsiteX2106" fmla="*/ 2282652 w 4546203"/>
              <a:gd name="connsiteY2106" fmla="*/ 0 h 5092591"/>
              <a:gd name="connsiteX2107" fmla="*/ 2282652 w 4546203"/>
              <a:gd name="connsiteY2107" fmla="*/ 33030 h 5092591"/>
              <a:gd name="connsiteX2108" fmla="*/ 2342345 w 4546203"/>
              <a:gd name="connsiteY2108" fmla="*/ 33030 h 5092591"/>
              <a:gd name="connsiteX2109" fmla="*/ 2342345 w 4546203"/>
              <a:gd name="connsiteY2109" fmla="*/ 0 h 5092591"/>
              <a:gd name="connsiteX2110" fmla="*/ 2366222 w 4546203"/>
              <a:gd name="connsiteY2110" fmla="*/ 0 h 5092591"/>
              <a:gd name="connsiteX2111" fmla="*/ 2411589 w 4546203"/>
              <a:gd name="connsiteY2111" fmla="*/ 3980 h 5092591"/>
              <a:gd name="connsiteX2112" fmla="*/ 2530179 w 4546203"/>
              <a:gd name="connsiteY2112" fmla="*/ 12734 h 5092591"/>
              <a:gd name="connsiteX2113" fmla="*/ 2530179 w 4546203"/>
              <a:gd name="connsiteY2113" fmla="*/ 45367 h 5092591"/>
              <a:gd name="connsiteX2114" fmla="*/ 2545301 w 4546203"/>
              <a:gd name="connsiteY2114" fmla="*/ 50142 h 5092591"/>
              <a:gd name="connsiteX2115" fmla="*/ 2538535 w 4546203"/>
              <a:gd name="connsiteY2115" fmla="*/ 118590 h 5092591"/>
              <a:gd name="connsiteX2116" fmla="*/ 2571168 w 4546203"/>
              <a:gd name="connsiteY2116" fmla="*/ 125355 h 5092591"/>
              <a:gd name="connsiteX2117" fmla="*/ 2483618 w 4546203"/>
              <a:gd name="connsiteY2117" fmla="*/ 837689 h 5092591"/>
              <a:gd name="connsiteX2118" fmla="*/ 2567188 w 4546203"/>
              <a:gd name="connsiteY2118" fmla="*/ 849627 h 5092591"/>
              <a:gd name="connsiteX2119" fmla="*/ 2632054 w 4546203"/>
              <a:gd name="connsiteY2119" fmla="*/ 476746 h 5092591"/>
              <a:gd name="connsiteX2120" fmla="*/ 2664686 w 4546203"/>
              <a:gd name="connsiteY2120" fmla="*/ 480726 h 5092591"/>
              <a:gd name="connsiteX2121" fmla="*/ 2675033 w 4546203"/>
              <a:gd name="connsiteY2121" fmla="*/ 432972 h 5092591"/>
              <a:gd name="connsiteX2122" fmla="*/ 2706869 w 4546203"/>
              <a:gd name="connsiteY2122" fmla="*/ 437747 h 5092591"/>
              <a:gd name="connsiteX2123" fmla="*/ 2715624 w 4546203"/>
              <a:gd name="connsiteY2123" fmla="*/ 414666 h 5092591"/>
              <a:gd name="connsiteX2124" fmla="*/ 2904651 w 4546203"/>
              <a:gd name="connsiteY2124" fmla="*/ 463216 h 5092591"/>
              <a:gd name="connsiteX2125" fmla="*/ 2899478 w 4546203"/>
              <a:gd name="connsiteY2125" fmla="*/ 487491 h 5092591"/>
              <a:gd name="connsiteX2126" fmla="*/ 2976680 w 4546203"/>
              <a:gd name="connsiteY2126" fmla="*/ 512562 h 5092591"/>
              <a:gd name="connsiteX2127" fmla="*/ 2988221 w 4546203"/>
              <a:gd name="connsiteY2127" fmla="*/ 490675 h 5092591"/>
              <a:gd name="connsiteX2128" fmla="*/ 3170085 w 4546203"/>
              <a:gd name="connsiteY2128" fmla="*/ 563500 h 5092591"/>
              <a:gd name="connsiteX2129" fmla="*/ 3161330 w 4546203"/>
              <a:gd name="connsiteY2129" fmla="*/ 585387 h 5092591"/>
              <a:gd name="connsiteX2130" fmla="*/ 3177248 w 4546203"/>
              <a:gd name="connsiteY2130" fmla="*/ 596132 h 5092591"/>
              <a:gd name="connsiteX2131" fmla="*/ 3157351 w 4546203"/>
              <a:gd name="connsiteY2131" fmla="*/ 640305 h 5092591"/>
              <a:gd name="connsiteX2132" fmla="*/ 3190779 w 4546203"/>
              <a:gd name="connsiteY2132" fmla="*/ 657815 h 5092591"/>
              <a:gd name="connsiteX2133" fmla="*/ 2948028 w 4546203"/>
              <a:gd name="connsiteY2133" fmla="*/ 1156051 h 5092591"/>
              <a:gd name="connsiteX2134" fmla="*/ 2962752 w 4546203"/>
              <a:gd name="connsiteY2134" fmla="*/ 1161224 h 5092591"/>
              <a:gd name="connsiteX2135" fmla="*/ 2892713 w 4546203"/>
              <a:gd name="connsiteY2135" fmla="*/ 1303293 h 5092591"/>
              <a:gd name="connsiteX2136" fmla="*/ 2900672 w 4546203"/>
              <a:gd name="connsiteY2136" fmla="*/ 1307272 h 5092591"/>
              <a:gd name="connsiteX2137" fmla="*/ 2971905 w 4546203"/>
              <a:gd name="connsiteY2137" fmla="*/ 1167989 h 5092591"/>
              <a:gd name="connsiteX2138" fmla="*/ 2980660 w 4546203"/>
              <a:gd name="connsiteY2138" fmla="*/ 1185897 h 5092591"/>
              <a:gd name="connsiteX2139" fmla="*/ 2913406 w 4546203"/>
              <a:gd name="connsiteY2139" fmla="*/ 1314037 h 5092591"/>
              <a:gd name="connsiteX2140" fmla="*/ 2961558 w 4546203"/>
              <a:gd name="connsiteY2140" fmla="*/ 1339506 h 5092591"/>
              <a:gd name="connsiteX2141" fmla="*/ 2977476 w 4546203"/>
              <a:gd name="connsiteY2141" fmla="*/ 1300905 h 5092591"/>
              <a:gd name="connsiteX2142" fmla="*/ 2979864 w 4546203"/>
              <a:gd name="connsiteY2142" fmla="*/ 1290558 h 5092591"/>
              <a:gd name="connsiteX2143" fmla="*/ 2965936 w 4546203"/>
              <a:gd name="connsiteY2143" fmla="*/ 1281007 h 5092591"/>
              <a:gd name="connsiteX2144" fmla="*/ 2979864 w 4546203"/>
              <a:gd name="connsiteY2144" fmla="*/ 1256334 h 5092591"/>
              <a:gd name="connsiteX2145" fmla="*/ 3003741 w 4546203"/>
              <a:gd name="connsiteY2145" fmla="*/ 1260712 h 5092591"/>
              <a:gd name="connsiteX2146" fmla="*/ 3005333 w 4546203"/>
              <a:gd name="connsiteY2146" fmla="*/ 1254345 h 5092591"/>
              <a:gd name="connsiteX2147" fmla="*/ 2979068 w 4546203"/>
              <a:gd name="connsiteY2147" fmla="*/ 1236835 h 5092591"/>
              <a:gd name="connsiteX2148" fmla="*/ 2994190 w 4546203"/>
              <a:gd name="connsiteY2148" fmla="*/ 1210172 h 5092591"/>
              <a:gd name="connsiteX2149" fmla="*/ 3013690 w 4546203"/>
              <a:gd name="connsiteY2149" fmla="*/ 1220519 h 5092591"/>
              <a:gd name="connsiteX2150" fmla="*/ 3025231 w 4546203"/>
              <a:gd name="connsiteY2150" fmla="*/ 1220121 h 5092591"/>
              <a:gd name="connsiteX2151" fmla="*/ 3018863 w 4546203"/>
              <a:gd name="connsiteY2151" fmla="*/ 1210172 h 5092591"/>
              <a:gd name="connsiteX2152" fmla="*/ 2991007 w 4546203"/>
              <a:gd name="connsiteY2152" fmla="*/ 1193856 h 5092591"/>
              <a:gd name="connsiteX2153" fmla="*/ 3006129 w 4546203"/>
              <a:gd name="connsiteY2153" fmla="*/ 1166397 h 5092591"/>
              <a:gd name="connsiteX2154" fmla="*/ 3035975 w 4546203"/>
              <a:gd name="connsiteY2154" fmla="*/ 1182315 h 5092591"/>
              <a:gd name="connsiteX2155" fmla="*/ 3047118 w 4546203"/>
              <a:gd name="connsiteY2155" fmla="*/ 1181121 h 5092591"/>
              <a:gd name="connsiteX2156" fmla="*/ 3041945 w 4546203"/>
              <a:gd name="connsiteY2156" fmla="*/ 1172366 h 5092591"/>
              <a:gd name="connsiteX2157" fmla="*/ 3002547 w 4546203"/>
              <a:gd name="connsiteY2157" fmla="*/ 1149683 h 5092591"/>
              <a:gd name="connsiteX2158" fmla="*/ 3017670 w 4546203"/>
              <a:gd name="connsiteY2158" fmla="*/ 1122622 h 5092591"/>
              <a:gd name="connsiteX2159" fmla="*/ 3055077 w 4546203"/>
              <a:gd name="connsiteY2159" fmla="*/ 1142918 h 5092591"/>
              <a:gd name="connsiteX2160" fmla="*/ 3068607 w 4546203"/>
              <a:gd name="connsiteY2160" fmla="*/ 1143316 h 5092591"/>
              <a:gd name="connsiteX2161" fmla="*/ 3060250 w 4546203"/>
              <a:gd name="connsiteY2161" fmla="*/ 1132173 h 5092591"/>
              <a:gd name="connsiteX2162" fmla="*/ 3013690 w 4546203"/>
              <a:gd name="connsiteY2162" fmla="*/ 1105909 h 5092591"/>
              <a:gd name="connsiteX2163" fmla="*/ 3028414 w 4546203"/>
              <a:gd name="connsiteY2163" fmla="*/ 1078450 h 5092591"/>
              <a:gd name="connsiteX2164" fmla="*/ 3062240 w 4546203"/>
              <a:gd name="connsiteY2164" fmla="*/ 1096358 h 5092591"/>
              <a:gd name="connsiteX2165" fmla="*/ 3091689 w 4546203"/>
              <a:gd name="connsiteY2165" fmla="*/ 1099143 h 5092591"/>
              <a:gd name="connsiteX2166" fmla="*/ 3024435 w 4546203"/>
              <a:gd name="connsiteY2166" fmla="*/ 1061736 h 5092591"/>
              <a:gd name="connsiteX2167" fmla="*/ 3039159 w 4546203"/>
              <a:gd name="connsiteY2167" fmla="*/ 1033879 h 5092591"/>
              <a:gd name="connsiteX2168" fmla="*/ 3097658 w 4546203"/>
              <a:gd name="connsiteY2168" fmla="*/ 1065317 h 5092591"/>
              <a:gd name="connsiteX2169" fmla="*/ 3112382 w 4546203"/>
              <a:gd name="connsiteY2169" fmla="*/ 1065715 h 5092591"/>
              <a:gd name="connsiteX2170" fmla="*/ 3103627 w 4546203"/>
              <a:gd name="connsiteY2170" fmla="*/ 1054971 h 5092591"/>
              <a:gd name="connsiteX2171" fmla="*/ 3035179 w 4546203"/>
              <a:gd name="connsiteY2171" fmla="*/ 1017165 h 5092591"/>
              <a:gd name="connsiteX2172" fmla="*/ 3049108 w 4546203"/>
              <a:gd name="connsiteY2172" fmla="*/ 989309 h 5092591"/>
              <a:gd name="connsiteX2173" fmla="*/ 3104025 w 4546203"/>
              <a:gd name="connsiteY2173" fmla="*/ 1017961 h 5092591"/>
              <a:gd name="connsiteX2174" fmla="*/ 3157749 w 4546203"/>
              <a:gd name="connsiteY2174" fmla="*/ 1032685 h 5092591"/>
              <a:gd name="connsiteX2175" fmla="*/ 3189187 w 4546203"/>
              <a:gd name="connsiteY2175" fmla="*/ 982145 h 5092591"/>
              <a:gd name="connsiteX2176" fmla="*/ 3308572 w 4546203"/>
              <a:gd name="connsiteY2176" fmla="*/ 1058552 h 5092591"/>
              <a:gd name="connsiteX2177" fmla="*/ 3463376 w 4546203"/>
              <a:gd name="connsiteY2177" fmla="*/ 837689 h 5092591"/>
              <a:gd name="connsiteX2178" fmla="*/ 3498793 w 4546203"/>
              <a:gd name="connsiteY2178" fmla="*/ 861566 h 5092591"/>
              <a:gd name="connsiteX2179" fmla="*/ 3526650 w 4546203"/>
              <a:gd name="connsiteY2179" fmla="*/ 825750 h 5092591"/>
              <a:gd name="connsiteX2180" fmla="*/ 3559680 w 4546203"/>
              <a:gd name="connsiteY2180" fmla="*/ 849230 h 5092591"/>
              <a:gd name="connsiteX2181" fmla="*/ 3579578 w 4546203"/>
              <a:gd name="connsiteY2181" fmla="*/ 827740 h 5092591"/>
              <a:gd name="connsiteX2182" fmla="*/ 3757462 w 4546203"/>
              <a:gd name="connsiteY2182" fmla="*/ 979758 h 5092591"/>
              <a:gd name="connsiteX2183" fmla="*/ 3737565 w 4546203"/>
              <a:gd name="connsiteY2183" fmla="*/ 1004431 h 5092591"/>
              <a:gd name="connsiteX2184" fmla="*/ 3764625 w 4546203"/>
              <a:gd name="connsiteY2184" fmla="*/ 1023930 h 5092591"/>
              <a:gd name="connsiteX2185" fmla="*/ 3729208 w 4546203"/>
              <a:gd name="connsiteY2185" fmla="*/ 1062930 h 5092591"/>
              <a:gd name="connsiteX2186" fmla="*/ 3762238 w 4546203"/>
              <a:gd name="connsiteY2186" fmla="*/ 1087205 h 5092591"/>
              <a:gd name="connsiteX2187" fmla="*/ 3500385 w 4546203"/>
              <a:gd name="connsiteY2187" fmla="*/ 1343486 h 5092591"/>
              <a:gd name="connsiteX2188" fmla="*/ 3530232 w 4546203"/>
              <a:gd name="connsiteY2188" fmla="*/ 1376118 h 5092591"/>
              <a:gd name="connsiteX2189" fmla="*/ 3322899 w 4546203"/>
              <a:gd name="connsiteY2189" fmla="*/ 1569125 h 5092591"/>
              <a:gd name="connsiteX2190" fmla="*/ 3377816 w 4546203"/>
              <a:gd name="connsiteY2190" fmla="*/ 1606134 h 5092591"/>
              <a:gd name="connsiteX2191" fmla="*/ 3386969 w 4546203"/>
              <a:gd name="connsiteY2191" fmla="*/ 1596583 h 5092591"/>
              <a:gd name="connsiteX2192" fmla="*/ 3359510 w 4546203"/>
              <a:gd name="connsiteY2192" fmla="*/ 1563951 h 5092591"/>
              <a:gd name="connsiteX2193" fmla="*/ 3375826 w 4546203"/>
              <a:gd name="connsiteY2193" fmla="*/ 1549625 h 5092591"/>
              <a:gd name="connsiteX2194" fmla="*/ 3404081 w 4546203"/>
              <a:gd name="connsiteY2194" fmla="*/ 1580665 h 5092591"/>
              <a:gd name="connsiteX2195" fmla="*/ 3416815 w 4546203"/>
              <a:gd name="connsiteY2195" fmla="*/ 1568727 h 5092591"/>
              <a:gd name="connsiteX2196" fmla="*/ 3389755 w 4546203"/>
              <a:gd name="connsiteY2196" fmla="*/ 1536493 h 5092591"/>
              <a:gd name="connsiteX2197" fmla="*/ 3406071 w 4546203"/>
              <a:gd name="connsiteY2197" fmla="*/ 1522166 h 5092591"/>
              <a:gd name="connsiteX2198" fmla="*/ 3434723 w 4546203"/>
              <a:gd name="connsiteY2198" fmla="*/ 1553605 h 5092591"/>
              <a:gd name="connsiteX2199" fmla="*/ 3447856 w 4546203"/>
              <a:gd name="connsiteY2199" fmla="*/ 1542462 h 5092591"/>
              <a:gd name="connsiteX2200" fmla="*/ 3419601 w 4546203"/>
              <a:gd name="connsiteY2200" fmla="*/ 1509034 h 5092591"/>
              <a:gd name="connsiteX2201" fmla="*/ 3436315 w 4546203"/>
              <a:gd name="connsiteY2201" fmla="*/ 1494708 h 5092591"/>
              <a:gd name="connsiteX2202" fmla="*/ 3465763 w 4546203"/>
              <a:gd name="connsiteY2202" fmla="*/ 1527340 h 5092591"/>
              <a:gd name="connsiteX2203" fmla="*/ 3478896 w 4546203"/>
              <a:gd name="connsiteY2203" fmla="*/ 1515799 h 5092591"/>
              <a:gd name="connsiteX2204" fmla="*/ 3449845 w 4546203"/>
              <a:gd name="connsiteY2204" fmla="*/ 1481575 h 5092591"/>
              <a:gd name="connsiteX2205" fmla="*/ 3466559 w 4546203"/>
              <a:gd name="connsiteY2205" fmla="*/ 1467249 h 5092591"/>
              <a:gd name="connsiteX2206" fmla="*/ 3498793 w 4546203"/>
              <a:gd name="connsiteY2206" fmla="*/ 1502667 h 5092591"/>
              <a:gd name="connsiteX2207" fmla="*/ 3482079 w 4546203"/>
              <a:gd name="connsiteY2207" fmla="*/ 1452127 h 5092591"/>
              <a:gd name="connsiteX2208" fmla="*/ 3496406 w 4546203"/>
              <a:gd name="connsiteY2208" fmla="*/ 1439790 h 5092591"/>
              <a:gd name="connsiteX2209" fmla="*/ 3529834 w 4546203"/>
              <a:gd name="connsiteY2209" fmla="*/ 1475606 h 5092591"/>
              <a:gd name="connsiteX2210" fmla="*/ 3512722 w 4546203"/>
              <a:gd name="connsiteY2210" fmla="*/ 1424270 h 5092591"/>
              <a:gd name="connsiteX2211" fmla="*/ 3527048 w 4546203"/>
              <a:gd name="connsiteY2211" fmla="*/ 1411934 h 5092591"/>
              <a:gd name="connsiteX2212" fmla="*/ 3560874 w 4546203"/>
              <a:gd name="connsiteY2212" fmla="*/ 1448943 h 5092591"/>
              <a:gd name="connsiteX2213" fmla="*/ 3573210 w 4546203"/>
              <a:gd name="connsiteY2213" fmla="*/ 1436607 h 5092591"/>
              <a:gd name="connsiteX2214" fmla="*/ 3541374 w 4546203"/>
              <a:gd name="connsiteY2214" fmla="*/ 1398801 h 5092591"/>
              <a:gd name="connsiteX2215" fmla="*/ 3557292 w 4546203"/>
              <a:gd name="connsiteY2215" fmla="*/ 1384475 h 5092591"/>
              <a:gd name="connsiteX2216" fmla="*/ 3590322 w 4546203"/>
              <a:gd name="connsiteY2216" fmla="*/ 1420689 h 5092591"/>
              <a:gd name="connsiteX2217" fmla="*/ 3603057 w 4546203"/>
              <a:gd name="connsiteY2217" fmla="*/ 1409148 h 5092591"/>
              <a:gd name="connsiteX2218" fmla="*/ 3571221 w 4546203"/>
              <a:gd name="connsiteY2218" fmla="*/ 1371342 h 5092591"/>
              <a:gd name="connsiteX2219" fmla="*/ 3590322 w 4546203"/>
              <a:gd name="connsiteY2219" fmla="*/ 1354231 h 5092591"/>
              <a:gd name="connsiteX2220" fmla="*/ 3630118 w 4546203"/>
              <a:gd name="connsiteY2220" fmla="*/ 1398801 h 5092591"/>
              <a:gd name="connsiteX2221" fmla="*/ 3671903 w 4546203"/>
              <a:gd name="connsiteY2221" fmla="*/ 1364975 h 5092591"/>
              <a:gd name="connsiteX2222" fmla="*/ 3787707 w 4546203"/>
              <a:gd name="connsiteY2222" fmla="*/ 1517789 h 5092591"/>
              <a:gd name="connsiteX2223" fmla="*/ 3743932 w 4546203"/>
              <a:gd name="connsiteY2223" fmla="*/ 1548829 h 5092591"/>
              <a:gd name="connsiteX2224" fmla="*/ 3779350 w 4546203"/>
              <a:gd name="connsiteY2224" fmla="*/ 1604144 h 5092591"/>
              <a:gd name="connsiteX2225" fmla="*/ 3585547 w 4546203"/>
              <a:gd name="connsiteY2225" fmla="*/ 1725918 h 5092591"/>
              <a:gd name="connsiteX2226" fmla="*/ 3659964 w 4546203"/>
              <a:gd name="connsiteY2226" fmla="*/ 1858436 h 5092591"/>
              <a:gd name="connsiteX2227" fmla="*/ 3698565 w 4546203"/>
              <a:gd name="connsiteY2227" fmla="*/ 1834161 h 5092591"/>
              <a:gd name="connsiteX2228" fmla="*/ 3732789 w 4546203"/>
              <a:gd name="connsiteY2228" fmla="*/ 1807498 h 5092591"/>
              <a:gd name="connsiteX2229" fmla="*/ 3794870 w 4546203"/>
              <a:gd name="connsiteY2229" fmla="*/ 1944791 h 5092591"/>
              <a:gd name="connsiteX2230" fmla="*/ 3844216 w 4546203"/>
              <a:gd name="connsiteY2230" fmla="*/ 1926088 h 5092591"/>
              <a:gd name="connsiteX2231" fmla="*/ 3861726 w 4546203"/>
              <a:gd name="connsiteY2231" fmla="*/ 1968270 h 5092591"/>
              <a:gd name="connsiteX2232" fmla="*/ 3902317 w 4546203"/>
              <a:gd name="connsiteY2232" fmla="*/ 1954342 h 5092591"/>
              <a:gd name="connsiteX2233" fmla="*/ 3946091 w 4546203"/>
              <a:gd name="connsiteY2233" fmla="*/ 2094421 h 5092591"/>
              <a:gd name="connsiteX2234" fmla="*/ 3905102 w 4546203"/>
              <a:gd name="connsiteY2234" fmla="*/ 2106360 h 5092591"/>
              <a:gd name="connsiteX2235" fmla="*/ 3916643 w 4546203"/>
              <a:gd name="connsiteY2235" fmla="*/ 2155706 h 5092591"/>
              <a:gd name="connsiteX2236" fmla="*/ 3782135 w 4546203"/>
              <a:gd name="connsiteY2236" fmla="*/ 2187940 h 5092591"/>
              <a:gd name="connsiteX2237" fmla="*/ 3821533 w 4546203"/>
              <a:gd name="connsiteY2237" fmla="*/ 2467700 h 5092591"/>
              <a:gd name="connsiteX2238" fmla="*/ 3659964 w 4546203"/>
              <a:gd name="connsiteY2238" fmla="*/ 2476455 h 5092591"/>
              <a:gd name="connsiteX2239" fmla="*/ 3659964 w 4546203"/>
              <a:gd name="connsiteY2239" fmla="*/ 2634442 h 5092591"/>
              <a:gd name="connsiteX2240" fmla="*/ 3698565 w 4546203"/>
              <a:gd name="connsiteY2240" fmla="*/ 2637228 h 5092591"/>
              <a:gd name="connsiteX2241" fmla="*/ 3801635 w 4546203"/>
              <a:gd name="connsiteY2241" fmla="*/ 2643595 h 5092591"/>
              <a:gd name="connsiteX2242" fmla="*/ 3811584 w 4546203"/>
              <a:gd name="connsiteY2242" fmla="*/ 2659911 h 5092591"/>
              <a:gd name="connsiteX2243" fmla="*/ 3656780 w 4546203"/>
              <a:gd name="connsiteY2243" fmla="*/ 2649564 h 5092591"/>
              <a:gd name="connsiteX2244" fmla="*/ 3653995 w 4546203"/>
              <a:gd name="connsiteY2244" fmla="*/ 2694533 h 5092591"/>
              <a:gd name="connsiteX2245" fmla="*/ 3808002 w 4546203"/>
              <a:gd name="connsiteY2245" fmla="*/ 2726767 h 5092591"/>
              <a:gd name="connsiteX2246" fmla="*/ 3828696 w 4546203"/>
              <a:gd name="connsiteY2246" fmla="*/ 2761389 h 5092591"/>
              <a:gd name="connsiteX2247" fmla="*/ 3946887 w 4546203"/>
              <a:gd name="connsiteY2247" fmla="*/ 2863662 h 5092591"/>
              <a:gd name="connsiteX2248" fmla="*/ 4050753 w 4546203"/>
              <a:gd name="connsiteY2248" fmla="*/ 3351949 h 5092591"/>
              <a:gd name="connsiteX2249" fmla="*/ 3941316 w 4546203"/>
              <a:gd name="connsiteY2249" fmla="*/ 3603853 h 5092591"/>
              <a:gd name="connsiteX2250" fmla="*/ 3947683 w 4546203"/>
              <a:gd name="connsiteY2250" fmla="*/ 3623751 h 5092591"/>
              <a:gd name="connsiteX2251" fmla="*/ 4024886 w 4546203"/>
              <a:gd name="connsiteY2251" fmla="*/ 3494018 h 5092591"/>
              <a:gd name="connsiteX2252" fmla="*/ 4094130 w 4546203"/>
              <a:gd name="connsiteY2252" fmla="*/ 3531824 h 5092591"/>
              <a:gd name="connsiteX2253" fmla="*/ 4009366 w 4546203"/>
              <a:gd name="connsiteY2253" fmla="*/ 3674688 h 5092591"/>
              <a:gd name="connsiteX2254" fmla="*/ 4028069 w 4546203"/>
              <a:gd name="connsiteY2254" fmla="*/ 3687025 h 5092591"/>
              <a:gd name="connsiteX2255" fmla="*/ 4110446 w 4546203"/>
              <a:gd name="connsiteY2255" fmla="*/ 3549732 h 5092591"/>
              <a:gd name="connsiteX2256" fmla="*/ 4177700 w 4546203"/>
              <a:gd name="connsiteY2256" fmla="*/ 3586741 h 5092591"/>
              <a:gd name="connsiteX2257" fmla="*/ 4089752 w 4546203"/>
              <a:gd name="connsiteY2257" fmla="*/ 3734381 h 5092591"/>
              <a:gd name="connsiteX2258" fmla="*/ 4109650 w 4546203"/>
              <a:gd name="connsiteY2258" fmla="*/ 3748309 h 5092591"/>
              <a:gd name="connsiteX2259" fmla="*/ 4195608 w 4546203"/>
              <a:gd name="connsiteY2259" fmla="*/ 3605445 h 5092591"/>
              <a:gd name="connsiteX2260" fmla="*/ 4261270 w 4546203"/>
              <a:gd name="connsiteY2260" fmla="*/ 3641658 h 5092591"/>
              <a:gd name="connsiteX2261" fmla="*/ 4169343 w 4546203"/>
              <a:gd name="connsiteY2261" fmla="*/ 3794472 h 5092591"/>
              <a:gd name="connsiteX2262" fmla="*/ 4190434 w 4546203"/>
              <a:gd name="connsiteY2262" fmla="*/ 3810390 h 5092591"/>
              <a:gd name="connsiteX2263" fmla="*/ 4280769 w 4546203"/>
              <a:gd name="connsiteY2263" fmla="*/ 3661954 h 5092591"/>
              <a:gd name="connsiteX2264" fmla="*/ 4344442 w 4546203"/>
              <a:gd name="connsiteY2264" fmla="*/ 3697372 h 5092591"/>
              <a:gd name="connsiteX2265" fmla="*/ 4247739 w 4546203"/>
              <a:gd name="connsiteY2265" fmla="*/ 3856155 h 5092591"/>
              <a:gd name="connsiteX2266" fmla="*/ 4270422 w 4546203"/>
              <a:gd name="connsiteY2266" fmla="*/ 3874460 h 5092591"/>
              <a:gd name="connsiteX2267" fmla="*/ 4283157 w 4546203"/>
              <a:gd name="connsiteY2267" fmla="*/ 3858542 h 5092591"/>
              <a:gd name="connsiteX2268" fmla="*/ 4376278 w 4546203"/>
              <a:gd name="connsiteY2268" fmla="*/ 3752289 h 5092591"/>
              <a:gd name="connsiteX2269" fmla="*/ 4418461 w 4546203"/>
              <a:gd name="connsiteY2269" fmla="*/ 3723239 h 5092591"/>
              <a:gd name="connsiteX2270" fmla="*/ 4443531 w 4546203"/>
              <a:gd name="connsiteY2270" fmla="*/ 3737963 h 5092591"/>
              <a:gd name="connsiteX2271" fmla="*/ 4439950 w 4546203"/>
              <a:gd name="connsiteY2271" fmla="*/ 3780942 h 5092591"/>
              <a:gd name="connsiteX2272" fmla="*/ 4384635 w 4546203"/>
              <a:gd name="connsiteY2272" fmla="*/ 3923408 h 5092591"/>
              <a:gd name="connsiteX2273" fmla="*/ 4394186 w 4546203"/>
              <a:gd name="connsiteY2273" fmla="*/ 3976336 h 5092591"/>
              <a:gd name="connsiteX2274" fmla="*/ 4527897 w 4546203"/>
              <a:gd name="connsiteY2274" fmla="*/ 4092140 h 5092591"/>
              <a:gd name="connsiteX2275" fmla="*/ 4546203 w 4546203"/>
              <a:gd name="connsiteY2275" fmla="*/ 4104079 h 5092591"/>
              <a:gd name="connsiteX2276" fmla="*/ 4546203 w 4546203"/>
              <a:gd name="connsiteY2276" fmla="*/ 4112038 h 5092591"/>
              <a:gd name="connsiteX2277" fmla="*/ 4531479 w 4546203"/>
              <a:gd name="connsiteY2277" fmla="*/ 4123181 h 5092591"/>
              <a:gd name="connsiteX2278" fmla="*/ 4330513 w 4546203"/>
              <a:gd name="connsiteY2278" fmla="*/ 4014142 h 5092591"/>
              <a:gd name="connsiteX2279" fmla="*/ 4317381 w 4546203"/>
              <a:gd name="connsiteY2279" fmla="*/ 4029662 h 5092591"/>
              <a:gd name="connsiteX2280" fmla="*/ 4198393 w 4546203"/>
              <a:gd name="connsiteY2280" fmla="*/ 4143078 h 5092591"/>
              <a:gd name="connsiteX2281" fmla="*/ 4140690 w 4546203"/>
              <a:gd name="connsiteY2281" fmla="*/ 4156608 h 5092591"/>
              <a:gd name="connsiteX2282" fmla="*/ 4142282 w 4546203"/>
              <a:gd name="connsiteY2282" fmla="*/ 4099303 h 5092591"/>
              <a:gd name="connsiteX2283" fmla="*/ 4201577 w 4546203"/>
              <a:gd name="connsiteY2283" fmla="*/ 3984693 h 5092591"/>
              <a:gd name="connsiteX2284" fmla="*/ 4222668 w 4546203"/>
              <a:gd name="connsiteY2284" fmla="*/ 3950867 h 5092591"/>
              <a:gd name="connsiteX2285" fmla="*/ 4197597 w 4546203"/>
              <a:gd name="connsiteY2285" fmla="*/ 3935745 h 5092591"/>
              <a:gd name="connsiteX2286" fmla="*/ 4084579 w 4546203"/>
              <a:gd name="connsiteY2286" fmla="*/ 4079406 h 5092591"/>
              <a:gd name="connsiteX2287" fmla="*/ 4028865 w 4546203"/>
              <a:gd name="connsiteY2287" fmla="*/ 4032447 h 5092591"/>
              <a:gd name="connsiteX2288" fmla="*/ 4134323 w 4546203"/>
              <a:gd name="connsiteY2288" fmla="*/ 3897940 h 5092591"/>
              <a:gd name="connsiteX2289" fmla="*/ 4112037 w 4546203"/>
              <a:gd name="connsiteY2289" fmla="*/ 3884011 h 5092591"/>
              <a:gd name="connsiteX2290" fmla="*/ 4002999 w 4546203"/>
              <a:gd name="connsiteY2290" fmla="*/ 4021703 h 5092591"/>
              <a:gd name="connsiteX2291" fmla="*/ 3946091 w 4546203"/>
              <a:gd name="connsiteY2291" fmla="*/ 3973152 h 5092591"/>
              <a:gd name="connsiteX2292" fmla="*/ 4047967 w 4546203"/>
              <a:gd name="connsiteY2292" fmla="*/ 3844216 h 5092591"/>
              <a:gd name="connsiteX2293" fmla="*/ 4027274 w 4546203"/>
              <a:gd name="connsiteY2293" fmla="*/ 3831482 h 5092591"/>
              <a:gd name="connsiteX2294" fmla="*/ 3921816 w 4546203"/>
              <a:gd name="connsiteY2294" fmla="*/ 3963204 h 5092591"/>
              <a:gd name="connsiteX2295" fmla="*/ 3863715 w 4546203"/>
              <a:gd name="connsiteY2295" fmla="*/ 3913062 h 5092591"/>
              <a:gd name="connsiteX2296" fmla="*/ 3962010 w 4546203"/>
              <a:gd name="connsiteY2296" fmla="*/ 3788901 h 5092591"/>
              <a:gd name="connsiteX2297" fmla="*/ 3943306 w 4546203"/>
              <a:gd name="connsiteY2297" fmla="*/ 3776962 h 5092591"/>
              <a:gd name="connsiteX2298" fmla="*/ 3841430 w 4546203"/>
              <a:gd name="connsiteY2298" fmla="*/ 3903909 h 5092591"/>
              <a:gd name="connsiteX2299" fmla="*/ 3781737 w 4546203"/>
              <a:gd name="connsiteY2299" fmla="*/ 3852175 h 5092591"/>
              <a:gd name="connsiteX2300" fmla="*/ 3876450 w 4546203"/>
              <a:gd name="connsiteY2300" fmla="*/ 3733585 h 5092591"/>
              <a:gd name="connsiteX2301" fmla="*/ 3858940 w 4546203"/>
              <a:gd name="connsiteY2301" fmla="*/ 3723239 h 5092591"/>
              <a:gd name="connsiteX2302" fmla="*/ 3761044 w 4546203"/>
              <a:gd name="connsiteY2302" fmla="*/ 3843818 h 5092591"/>
              <a:gd name="connsiteX2303" fmla="*/ 3731993 w 4546203"/>
              <a:gd name="connsiteY2303" fmla="*/ 3819145 h 5092591"/>
              <a:gd name="connsiteX2304" fmla="*/ 3718463 w 4546203"/>
              <a:gd name="connsiteY2304" fmla="*/ 3815166 h 5092591"/>
              <a:gd name="connsiteX2305" fmla="*/ 3647229 w 4546203"/>
              <a:gd name="connsiteY2305" fmla="*/ 3850981 h 5092591"/>
              <a:gd name="connsiteX2306" fmla="*/ 3770197 w 4546203"/>
              <a:gd name="connsiteY2306" fmla="*/ 3967979 h 5092591"/>
              <a:gd name="connsiteX2307" fmla="*/ 3714086 w 4546203"/>
              <a:gd name="connsiteY2307" fmla="*/ 4010560 h 5092591"/>
              <a:gd name="connsiteX2308" fmla="*/ 3734381 w 4546203"/>
              <a:gd name="connsiteY2308" fmla="*/ 4029662 h 5092591"/>
              <a:gd name="connsiteX2309" fmla="*/ 3783329 w 4546203"/>
              <a:gd name="connsiteY2309" fmla="*/ 3980316 h 5092591"/>
              <a:gd name="connsiteX2310" fmla="*/ 3802431 w 4546203"/>
              <a:gd name="connsiteY2310" fmla="*/ 4001009 h 5092591"/>
              <a:gd name="connsiteX2311" fmla="*/ 3774574 w 4546203"/>
              <a:gd name="connsiteY2311" fmla="*/ 4031651 h 5092591"/>
              <a:gd name="connsiteX2312" fmla="*/ 3806410 w 4546203"/>
              <a:gd name="connsiteY2312" fmla="*/ 4051549 h 5092591"/>
              <a:gd name="connsiteX2313" fmla="*/ 3770197 w 4546203"/>
              <a:gd name="connsiteY2313" fmla="*/ 4089355 h 5092591"/>
              <a:gd name="connsiteX2314" fmla="*/ 3840236 w 4546203"/>
              <a:gd name="connsiteY2314" fmla="*/ 4149445 h 5092591"/>
              <a:gd name="connsiteX2315" fmla="*/ 3804819 w 4546203"/>
              <a:gd name="connsiteY2315" fmla="*/ 4180087 h 5092591"/>
              <a:gd name="connsiteX2316" fmla="*/ 3884011 w 4546203"/>
              <a:gd name="connsiteY2316" fmla="*/ 4264851 h 5092591"/>
              <a:gd name="connsiteX2317" fmla="*/ 3816359 w 4546203"/>
              <a:gd name="connsiteY2317" fmla="*/ 4326136 h 5092591"/>
              <a:gd name="connsiteX2318" fmla="*/ 3741146 w 4546203"/>
              <a:gd name="connsiteY2318" fmla="*/ 4239382 h 5092591"/>
              <a:gd name="connsiteX2319" fmla="*/ 3706127 w 4546203"/>
              <a:gd name="connsiteY2319" fmla="*/ 4267637 h 5092591"/>
              <a:gd name="connsiteX2320" fmla="*/ 3648025 w 4546203"/>
              <a:gd name="connsiteY2320" fmla="*/ 4199189 h 5092591"/>
              <a:gd name="connsiteX2321" fmla="*/ 3619373 w 4546203"/>
              <a:gd name="connsiteY2321" fmla="*/ 4220679 h 5092591"/>
              <a:gd name="connsiteX2322" fmla="*/ 3595098 w 4546203"/>
              <a:gd name="connsiteY2322" fmla="*/ 4193220 h 5092591"/>
              <a:gd name="connsiteX2323" fmla="*/ 3566445 w 4546203"/>
              <a:gd name="connsiteY2323" fmla="*/ 4214311 h 5092591"/>
              <a:gd name="connsiteX2324" fmla="*/ 3351551 w 4546203"/>
              <a:gd name="connsiteY2324" fmla="*/ 3937735 h 5092591"/>
              <a:gd name="connsiteX2325" fmla="*/ 3297828 w 4546203"/>
              <a:gd name="connsiteY2325" fmla="*/ 3978326 h 5092591"/>
              <a:gd name="connsiteX2326" fmla="*/ 3314940 w 4546203"/>
              <a:gd name="connsiteY2326" fmla="*/ 4004591 h 5092591"/>
              <a:gd name="connsiteX2327" fmla="*/ 3278726 w 4546203"/>
              <a:gd name="connsiteY2327" fmla="*/ 4031651 h 5092591"/>
              <a:gd name="connsiteX2328" fmla="*/ 3307379 w 4546203"/>
              <a:gd name="connsiteY2328" fmla="*/ 4075824 h 5092591"/>
              <a:gd name="connsiteX2329" fmla="*/ 3182422 w 4546203"/>
              <a:gd name="connsiteY2329" fmla="*/ 4153425 h 5092591"/>
              <a:gd name="connsiteX2330" fmla="*/ 3155759 w 4546203"/>
              <a:gd name="connsiteY2330" fmla="*/ 4107660 h 5092591"/>
              <a:gd name="connsiteX2331" fmla="*/ 3111188 w 4546203"/>
              <a:gd name="connsiteY2331" fmla="*/ 4131140 h 5092591"/>
              <a:gd name="connsiteX2332" fmla="*/ 3043537 w 4546203"/>
              <a:gd name="connsiteY2332" fmla="*/ 4004193 h 5092591"/>
              <a:gd name="connsiteX2333" fmla="*/ 2986629 w 4546203"/>
              <a:gd name="connsiteY2333" fmla="*/ 4033641 h 5092591"/>
              <a:gd name="connsiteX2334" fmla="*/ 3196350 w 4546203"/>
              <a:gd name="connsiteY2334" fmla="*/ 4470990 h 5092591"/>
              <a:gd name="connsiteX2335" fmla="*/ 3162524 w 4546203"/>
              <a:gd name="connsiteY2335" fmla="*/ 4486908 h 5092591"/>
              <a:gd name="connsiteX2336" fmla="*/ 3151779 w 4546203"/>
              <a:gd name="connsiteY2336" fmla="*/ 4487307 h 5092591"/>
              <a:gd name="connsiteX2337" fmla="*/ 3131882 w 4546203"/>
              <a:gd name="connsiteY2337" fmla="*/ 4486113 h 5092591"/>
              <a:gd name="connsiteX2338" fmla="*/ 2883958 w 4546203"/>
              <a:gd name="connsiteY2338" fmla="*/ 4577244 h 5092591"/>
              <a:gd name="connsiteX2339" fmla="*/ 2870029 w 4546203"/>
              <a:gd name="connsiteY2339" fmla="*/ 4583213 h 5092591"/>
              <a:gd name="connsiteX2340" fmla="*/ 2831428 w 4546203"/>
              <a:gd name="connsiteY2340" fmla="*/ 4607488 h 5092591"/>
              <a:gd name="connsiteX2341" fmla="*/ 2739103 w 4546203"/>
              <a:gd name="connsiteY2341" fmla="*/ 4264851 h 5092591"/>
              <a:gd name="connsiteX2342" fmla="*/ 2715624 w 4546203"/>
              <a:gd name="connsiteY2342" fmla="*/ 4271616 h 5092591"/>
              <a:gd name="connsiteX2343" fmla="*/ 2727563 w 4546203"/>
              <a:gd name="connsiteY2343" fmla="*/ 4323748 h 5092591"/>
              <a:gd name="connsiteX2344" fmla="*/ 2539729 w 4546203"/>
              <a:gd name="connsiteY2344" fmla="*/ 4360758 h 5092591"/>
              <a:gd name="connsiteX2345" fmla="*/ 2530576 w 4546203"/>
              <a:gd name="connsiteY2345" fmla="*/ 4308228 h 5092591"/>
              <a:gd name="connsiteX2346" fmla="*/ 2465710 w 4546203"/>
              <a:gd name="connsiteY2346" fmla="*/ 4314993 h 5092591"/>
              <a:gd name="connsiteX2347" fmla="*/ 2462129 w 4546203"/>
              <a:gd name="connsiteY2347" fmla="*/ 4289524 h 5092591"/>
              <a:gd name="connsiteX2348" fmla="*/ 2433476 w 4546203"/>
              <a:gd name="connsiteY2348" fmla="*/ 4018519 h 5092591"/>
              <a:gd name="connsiteX2349" fmla="*/ 2413181 w 4546203"/>
              <a:gd name="connsiteY2349" fmla="*/ 4009366 h 5092591"/>
              <a:gd name="connsiteX2350" fmla="*/ 2503118 w 4546203"/>
              <a:gd name="connsiteY2350" fmla="*/ 4975594 h 5092591"/>
              <a:gd name="connsiteX2351" fmla="*/ 2474465 w 4546203"/>
              <a:gd name="connsiteY2351" fmla="*/ 4980767 h 5092591"/>
              <a:gd name="connsiteX2352" fmla="*/ 2479241 w 4546203"/>
              <a:gd name="connsiteY2352" fmla="*/ 5049612 h 5092591"/>
              <a:gd name="connsiteX2353" fmla="*/ 2449792 w 4546203"/>
              <a:gd name="connsiteY2353" fmla="*/ 5054388 h 5092591"/>
              <a:gd name="connsiteX2354" fmla="*/ 2449792 w 4546203"/>
              <a:gd name="connsiteY2354" fmla="*/ 5085428 h 5092591"/>
              <a:gd name="connsiteX2355" fmla="*/ 2370202 w 4546203"/>
              <a:gd name="connsiteY2355" fmla="*/ 5092591 h 5092591"/>
              <a:gd name="connsiteX2356" fmla="*/ 2262755 w 4546203"/>
              <a:gd name="connsiteY2356" fmla="*/ 5092591 h 5092591"/>
              <a:gd name="connsiteX2357" fmla="*/ 2262755 w 4546203"/>
              <a:gd name="connsiteY2357" fmla="*/ 5059561 h 5092591"/>
              <a:gd name="connsiteX2358" fmla="*/ 2203062 w 4546203"/>
              <a:gd name="connsiteY2358" fmla="*/ 5059561 h 5092591"/>
              <a:gd name="connsiteX2359" fmla="*/ 2203062 w 4546203"/>
              <a:gd name="connsiteY2359" fmla="*/ 5092591 h 5092591"/>
              <a:gd name="connsiteX2360" fmla="*/ 2179185 w 4546203"/>
              <a:gd name="connsiteY2360" fmla="*/ 5092591 h 5092591"/>
              <a:gd name="connsiteX2361" fmla="*/ 2149736 w 4546203"/>
              <a:gd name="connsiteY2361" fmla="*/ 5089408 h 5092591"/>
              <a:gd name="connsiteX2362" fmla="*/ 2016422 w 4546203"/>
              <a:gd name="connsiteY2362" fmla="*/ 5079857 h 5092591"/>
              <a:gd name="connsiteX2363" fmla="*/ 2000504 w 4546203"/>
              <a:gd name="connsiteY2363" fmla="*/ 5042847 h 5092591"/>
              <a:gd name="connsiteX2364" fmla="*/ 2007270 w 4546203"/>
              <a:gd name="connsiteY2364" fmla="*/ 4974399 h 5092591"/>
              <a:gd name="connsiteX2365" fmla="*/ 1974637 w 4546203"/>
              <a:gd name="connsiteY2365" fmla="*/ 4967634 h 5092591"/>
              <a:gd name="connsiteX2366" fmla="*/ 2062187 w 4546203"/>
              <a:gd name="connsiteY2366" fmla="*/ 4255300 h 5092591"/>
              <a:gd name="connsiteX2367" fmla="*/ 1978219 w 4546203"/>
              <a:gd name="connsiteY2367" fmla="*/ 4243362 h 5092591"/>
              <a:gd name="connsiteX2368" fmla="*/ 1913353 w 4546203"/>
              <a:gd name="connsiteY2368" fmla="*/ 4615845 h 5092591"/>
              <a:gd name="connsiteX2369" fmla="*/ 1880721 w 4546203"/>
              <a:gd name="connsiteY2369" fmla="*/ 4611467 h 5092591"/>
              <a:gd name="connsiteX2370" fmla="*/ 1870374 w 4546203"/>
              <a:gd name="connsiteY2370" fmla="*/ 4659620 h 5092591"/>
              <a:gd name="connsiteX2371" fmla="*/ 1838538 w 4546203"/>
              <a:gd name="connsiteY2371" fmla="*/ 4655242 h 5092591"/>
              <a:gd name="connsiteX2372" fmla="*/ 1829783 w 4546203"/>
              <a:gd name="connsiteY2372" fmla="*/ 4677925 h 5092591"/>
              <a:gd name="connsiteX2373" fmla="*/ 1640756 w 4546203"/>
              <a:gd name="connsiteY2373" fmla="*/ 4629375 h 5092591"/>
              <a:gd name="connsiteX2374" fmla="*/ 1645929 w 4546203"/>
              <a:gd name="connsiteY2374" fmla="*/ 4605498 h 5092591"/>
              <a:gd name="connsiteX2375" fmla="*/ 1568329 w 4546203"/>
              <a:gd name="connsiteY2375" fmla="*/ 4580029 h 5092591"/>
              <a:gd name="connsiteX2376" fmla="*/ 1558380 w 4546203"/>
              <a:gd name="connsiteY2376" fmla="*/ 4602713 h 5092591"/>
              <a:gd name="connsiteX2377" fmla="*/ 1375720 w 4546203"/>
              <a:gd name="connsiteY2377" fmla="*/ 4529887 h 5092591"/>
              <a:gd name="connsiteX2378" fmla="*/ 1384475 w 4546203"/>
              <a:gd name="connsiteY2378" fmla="*/ 4508000 h 5092591"/>
              <a:gd name="connsiteX2379" fmla="*/ 1368557 w 4546203"/>
              <a:gd name="connsiteY2379" fmla="*/ 4497255 h 5092591"/>
              <a:gd name="connsiteX2380" fmla="*/ 1388454 w 4546203"/>
              <a:gd name="connsiteY2380" fmla="*/ 4453082 h 5092591"/>
              <a:gd name="connsiteX2381" fmla="*/ 1354628 w 4546203"/>
              <a:gd name="connsiteY2381" fmla="*/ 4435573 h 5092591"/>
              <a:gd name="connsiteX2382" fmla="*/ 1595389 w 4546203"/>
              <a:gd name="connsiteY2382" fmla="*/ 3941714 h 5092591"/>
              <a:gd name="connsiteX2383" fmla="*/ 1583849 w 4546203"/>
              <a:gd name="connsiteY2383" fmla="*/ 3929378 h 5092591"/>
              <a:gd name="connsiteX2384" fmla="*/ 1652694 w 4546203"/>
              <a:gd name="connsiteY2384" fmla="*/ 3790493 h 5092591"/>
              <a:gd name="connsiteX2385" fmla="*/ 1644337 w 4546203"/>
              <a:gd name="connsiteY2385" fmla="*/ 3786513 h 5092591"/>
              <a:gd name="connsiteX2386" fmla="*/ 1573104 w 4546203"/>
              <a:gd name="connsiteY2386" fmla="*/ 3925398 h 5092591"/>
              <a:gd name="connsiteX2387" fmla="*/ 1564349 w 4546203"/>
              <a:gd name="connsiteY2387" fmla="*/ 3907092 h 5092591"/>
              <a:gd name="connsiteX2388" fmla="*/ 1631205 w 4546203"/>
              <a:gd name="connsiteY2388" fmla="*/ 3779350 h 5092591"/>
              <a:gd name="connsiteX2389" fmla="*/ 1582655 w 4546203"/>
              <a:gd name="connsiteY2389" fmla="*/ 3753483 h 5092591"/>
              <a:gd name="connsiteX2390" fmla="*/ 1567135 w 4546203"/>
              <a:gd name="connsiteY2390" fmla="*/ 3792482 h 5092591"/>
              <a:gd name="connsiteX2391" fmla="*/ 1564349 w 4546203"/>
              <a:gd name="connsiteY2391" fmla="*/ 3802829 h 5092591"/>
              <a:gd name="connsiteX2392" fmla="*/ 1578277 w 4546203"/>
              <a:gd name="connsiteY2392" fmla="*/ 3812380 h 5092591"/>
              <a:gd name="connsiteX2393" fmla="*/ 1564349 w 4546203"/>
              <a:gd name="connsiteY2393" fmla="*/ 3837053 h 5092591"/>
              <a:gd name="connsiteX2394" fmla="*/ 1540472 w 4546203"/>
              <a:gd name="connsiteY2394" fmla="*/ 3832277 h 5092591"/>
              <a:gd name="connsiteX2395" fmla="*/ 1538880 w 4546203"/>
              <a:gd name="connsiteY2395" fmla="*/ 3838645 h 5092591"/>
              <a:gd name="connsiteX2396" fmla="*/ 1565145 w 4546203"/>
              <a:gd name="connsiteY2396" fmla="*/ 3856155 h 5092591"/>
              <a:gd name="connsiteX2397" fmla="*/ 1550421 w 4546203"/>
              <a:gd name="connsiteY2397" fmla="*/ 3882419 h 5092591"/>
              <a:gd name="connsiteX2398" fmla="*/ 1529329 w 4546203"/>
              <a:gd name="connsiteY2398" fmla="*/ 3871277 h 5092591"/>
              <a:gd name="connsiteX2399" fmla="*/ 1519380 w 4546203"/>
              <a:gd name="connsiteY2399" fmla="*/ 3872471 h 5092591"/>
              <a:gd name="connsiteX2400" fmla="*/ 1523758 w 4546203"/>
              <a:gd name="connsiteY2400" fmla="*/ 3881623 h 5092591"/>
              <a:gd name="connsiteX2401" fmla="*/ 1553604 w 4546203"/>
              <a:gd name="connsiteY2401" fmla="*/ 3898736 h 5092591"/>
              <a:gd name="connsiteX2402" fmla="*/ 1538482 w 4546203"/>
              <a:gd name="connsiteY2402" fmla="*/ 3926592 h 5092591"/>
              <a:gd name="connsiteX2403" fmla="*/ 1512217 w 4546203"/>
              <a:gd name="connsiteY2403" fmla="*/ 3912664 h 5092591"/>
              <a:gd name="connsiteX2404" fmla="*/ 1497493 w 4546203"/>
              <a:gd name="connsiteY2404" fmla="*/ 3911868 h 5092591"/>
              <a:gd name="connsiteX2405" fmla="*/ 1505850 w 4546203"/>
              <a:gd name="connsiteY2405" fmla="*/ 3922613 h 5092591"/>
              <a:gd name="connsiteX2406" fmla="*/ 1541666 w 4546203"/>
              <a:gd name="connsiteY2406" fmla="*/ 3943306 h 5092591"/>
              <a:gd name="connsiteX2407" fmla="*/ 1526544 w 4546203"/>
              <a:gd name="connsiteY2407" fmla="*/ 3970765 h 5092591"/>
              <a:gd name="connsiteX2408" fmla="*/ 1487544 w 4546203"/>
              <a:gd name="connsiteY2408" fmla="*/ 3949673 h 5092591"/>
              <a:gd name="connsiteX2409" fmla="*/ 1475606 w 4546203"/>
              <a:gd name="connsiteY2409" fmla="*/ 3950071 h 5092591"/>
              <a:gd name="connsiteX2410" fmla="*/ 1481973 w 4546203"/>
              <a:gd name="connsiteY2410" fmla="*/ 3960020 h 5092591"/>
              <a:gd name="connsiteX2411" fmla="*/ 1530125 w 4546203"/>
              <a:gd name="connsiteY2411" fmla="*/ 3987081 h 5092591"/>
              <a:gd name="connsiteX2412" fmla="*/ 1515799 w 4546203"/>
              <a:gd name="connsiteY2412" fmla="*/ 4014142 h 5092591"/>
              <a:gd name="connsiteX2413" fmla="*/ 1451729 w 4546203"/>
              <a:gd name="connsiteY2413" fmla="*/ 3994244 h 5092591"/>
              <a:gd name="connsiteX2414" fmla="*/ 1519380 w 4546203"/>
              <a:gd name="connsiteY2414" fmla="*/ 4031651 h 5092591"/>
              <a:gd name="connsiteX2415" fmla="*/ 1504656 w 4546203"/>
              <a:gd name="connsiteY2415" fmla="*/ 4059508 h 5092591"/>
              <a:gd name="connsiteX2416" fmla="*/ 1446157 w 4546203"/>
              <a:gd name="connsiteY2416" fmla="*/ 4028468 h 5092591"/>
              <a:gd name="connsiteX2417" fmla="*/ 1431433 w 4546203"/>
              <a:gd name="connsiteY2417" fmla="*/ 4027672 h 5092591"/>
              <a:gd name="connsiteX2418" fmla="*/ 1440188 w 4546203"/>
              <a:gd name="connsiteY2418" fmla="*/ 4038417 h 5092591"/>
              <a:gd name="connsiteX2419" fmla="*/ 1509034 w 4546203"/>
              <a:gd name="connsiteY2419" fmla="*/ 4076222 h 5092591"/>
              <a:gd name="connsiteX2420" fmla="*/ 1495503 w 4546203"/>
              <a:gd name="connsiteY2420" fmla="*/ 4103283 h 5092591"/>
              <a:gd name="connsiteX2421" fmla="*/ 1384475 w 4546203"/>
              <a:gd name="connsiteY2421" fmla="*/ 4064681 h 5092591"/>
              <a:gd name="connsiteX2422" fmla="*/ 1355424 w 4546203"/>
              <a:gd name="connsiteY2422" fmla="*/ 4111640 h 5092591"/>
              <a:gd name="connsiteX2423" fmla="*/ 1235641 w 4546203"/>
              <a:gd name="connsiteY2423" fmla="*/ 4034835 h 5092591"/>
              <a:gd name="connsiteX2424" fmla="*/ 1080838 w 4546203"/>
              <a:gd name="connsiteY2424" fmla="*/ 4255698 h 5092591"/>
              <a:gd name="connsiteX2425" fmla="*/ 1045420 w 4546203"/>
              <a:gd name="connsiteY2425" fmla="*/ 4231821 h 5092591"/>
              <a:gd name="connsiteX2426" fmla="*/ 1017563 w 4546203"/>
              <a:gd name="connsiteY2426" fmla="*/ 4268035 h 5092591"/>
              <a:gd name="connsiteX2427" fmla="*/ 984533 w 4546203"/>
              <a:gd name="connsiteY2427" fmla="*/ 4244556 h 5092591"/>
              <a:gd name="connsiteX2428" fmla="*/ 964636 w 4546203"/>
              <a:gd name="connsiteY2428" fmla="*/ 4266045 h 5092591"/>
              <a:gd name="connsiteX2429" fmla="*/ 786353 w 4546203"/>
              <a:gd name="connsiteY2429" fmla="*/ 4114425 h 5092591"/>
              <a:gd name="connsiteX2430" fmla="*/ 804261 w 4546203"/>
              <a:gd name="connsiteY2430" fmla="*/ 4092140 h 5092591"/>
              <a:gd name="connsiteX2431" fmla="*/ 781180 w 4546203"/>
              <a:gd name="connsiteY2431" fmla="*/ 4067467 h 5092591"/>
              <a:gd name="connsiteX2432" fmla="*/ 812220 w 4546203"/>
              <a:gd name="connsiteY2432" fmla="*/ 4034835 h 5092591"/>
              <a:gd name="connsiteX2433" fmla="*/ 783965 w 4546203"/>
              <a:gd name="connsiteY2433" fmla="*/ 4004988 h 5092591"/>
              <a:gd name="connsiteX2434" fmla="*/ 1043430 w 4546203"/>
              <a:gd name="connsiteY2434" fmla="*/ 3750697 h 5092591"/>
              <a:gd name="connsiteX2435" fmla="*/ 1013584 w 4546203"/>
              <a:gd name="connsiteY2435" fmla="*/ 3718065 h 5092591"/>
              <a:gd name="connsiteX2436" fmla="*/ 1220917 w 4546203"/>
              <a:gd name="connsiteY2436" fmla="*/ 3525059 h 5092591"/>
              <a:gd name="connsiteX2437" fmla="*/ 1167989 w 4546203"/>
              <a:gd name="connsiteY2437" fmla="*/ 3489243 h 5092591"/>
              <a:gd name="connsiteX2438" fmla="*/ 1158040 w 4546203"/>
              <a:gd name="connsiteY2438" fmla="*/ 3498396 h 5092591"/>
              <a:gd name="connsiteX2439" fmla="*/ 1184305 w 4546203"/>
              <a:gd name="connsiteY2439" fmla="*/ 3529834 h 5092591"/>
              <a:gd name="connsiteX2440" fmla="*/ 1167989 w 4546203"/>
              <a:gd name="connsiteY2440" fmla="*/ 3543762 h 5092591"/>
              <a:gd name="connsiteX2441" fmla="*/ 1139734 w 4546203"/>
              <a:gd name="connsiteY2441" fmla="*/ 3513120 h 5092591"/>
              <a:gd name="connsiteX2442" fmla="*/ 1127000 w 4546203"/>
              <a:gd name="connsiteY2442" fmla="*/ 3525059 h 5092591"/>
              <a:gd name="connsiteX2443" fmla="*/ 1154061 w 4546203"/>
              <a:gd name="connsiteY2443" fmla="*/ 3557293 h 5092591"/>
              <a:gd name="connsiteX2444" fmla="*/ 1137745 w 4546203"/>
              <a:gd name="connsiteY2444" fmla="*/ 3571221 h 5092591"/>
              <a:gd name="connsiteX2445" fmla="*/ 1107898 w 4546203"/>
              <a:gd name="connsiteY2445" fmla="*/ 3539783 h 5092591"/>
              <a:gd name="connsiteX2446" fmla="*/ 1095562 w 4546203"/>
              <a:gd name="connsiteY2446" fmla="*/ 3551721 h 5092591"/>
              <a:gd name="connsiteX2447" fmla="*/ 1123418 w 4546203"/>
              <a:gd name="connsiteY2447" fmla="*/ 3584751 h 5092591"/>
              <a:gd name="connsiteX2448" fmla="*/ 1107102 w 4546203"/>
              <a:gd name="connsiteY2448" fmla="*/ 3598680 h 5092591"/>
              <a:gd name="connsiteX2449" fmla="*/ 1075266 w 4546203"/>
              <a:gd name="connsiteY2449" fmla="*/ 3564854 h 5092591"/>
              <a:gd name="connsiteX2450" fmla="*/ 1062930 w 4546203"/>
              <a:gd name="connsiteY2450" fmla="*/ 3576792 h 5092591"/>
              <a:gd name="connsiteX2451" fmla="*/ 1093174 w 4546203"/>
              <a:gd name="connsiteY2451" fmla="*/ 3612210 h 5092591"/>
              <a:gd name="connsiteX2452" fmla="*/ 1076858 w 4546203"/>
              <a:gd name="connsiteY2452" fmla="*/ 3626536 h 5092591"/>
              <a:gd name="connsiteX2453" fmla="*/ 1044624 w 4546203"/>
              <a:gd name="connsiteY2453" fmla="*/ 3591118 h 5092591"/>
              <a:gd name="connsiteX2454" fmla="*/ 1061338 w 4546203"/>
              <a:gd name="connsiteY2454" fmla="*/ 3641658 h 5092591"/>
              <a:gd name="connsiteX2455" fmla="*/ 1046614 w 4546203"/>
              <a:gd name="connsiteY2455" fmla="*/ 3653995 h 5092591"/>
              <a:gd name="connsiteX2456" fmla="*/ 1014379 w 4546203"/>
              <a:gd name="connsiteY2456" fmla="*/ 3619373 h 5092591"/>
              <a:gd name="connsiteX2457" fmla="*/ 1001247 w 4546203"/>
              <a:gd name="connsiteY2457" fmla="*/ 3630118 h 5092591"/>
              <a:gd name="connsiteX2458" fmla="*/ 1032685 w 4546203"/>
              <a:gd name="connsiteY2458" fmla="*/ 3667923 h 5092591"/>
              <a:gd name="connsiteX2459" fmla="*/ 1016767 w 4546203"/>
              <a:gd name="connsiteY2459" fmla="*/ 3681056 h 5092591"/>
              <a:gd name="connsiteX2460" fmla="*/ 972197 w 4546203"/>
              <a:gd name="connsiteY2460" fmla="*/ 3659566 h 5092591"/>
              <a:gd name="connsiteX2461" fmla="*/ 1002043 w 4546203"/>
              <a:gd name="connsiteY2461" fmla="*/ 3694984 h 5092591"/>
              <a:gd name="connsiteX2462" fmla="*/ 986125 w 4546203"/>
              <a:gd name="connsiteY2462" fmla="*/ 3709708 h 5092591"/>
              <a:gd name="connsiteX2463" fmla="*/ 952697 w 4546203"/>
              <a:gd name="connsiteY2463" fmla="*/ 3673495 h 5092591"/>
              <a:gd name="connsiteX2464" fmla="*/ 939565 w 4546203"/>
              <a:gd name="connsiteY2464" fmla="*/ 3685035 h 5092591"/>
              <a:gd name="connsiteX2465" fmla="*/ 971401 w 4546203"/>
              <a:gd name="connsiteY2465" fmla="*/ 3722841 h 5092591"/>
              <a:gd name="connsiteX2466" fmla="*/ 952299 w 4546203"/>
              <a:gd name="connsiteY2466" fmla="*/ 3739953 h 5092591"/>
              <a:gd name="connsiteX2467" fmla="*/ 912504 w 4546203"/>
              <a:gd name="connsiteY2467" fmla="*/ 3694984 h 5092591"/>
              <a:gd name="connsiteX2468" fmla="*/ 871117 w 4546203"/>
              <a:gd name="connsiteY2468" fmla="*/ 3729208 h 5092591"/>
              <a:gd name="connsiteX2469" fmla="*/ 754915 w 4546203"/>
              <a:gd name="connsiteY2469" fmla="*/ 3575996 h 5092591"/>
              <a:gd name="connsiteX2470" fmla="*/ 798690 w 4546203"/>
              <a:gd name="connsiteY2470" fmla="*/ 3544956 h 5092591"/>
              <a:gd name="connsiteX2471" fmla="*/ 763272 w 4546203"/>
              <a:gd name="connsiteY2471" fmla="*/ 3489243 h 5092591"/>
              <a:gd name="connsiteX2472" fmla="*/ 957472 w 4546203"/>
              <a:gd name="connsiteY2472" fmla="*/ 3367470 h 5092591"/>
              <a:gd name="connsiteX2473" fmla="*/ 882259 w 4546203"/>
              <a:gd name="connsiteY2473" fmla="*/ 3233758 h 5092591"/>
              <a:gd name="connsiteX2474" fmla="*/ 844852 w 4546203"/>
              <a:gd name="connsiteY2474" fmla="*/ 3259227 h 5092591"/>
              <a:gd name="connsiteX2475" fmla="*/ 810628 w 4546203"/>
              <a:gd name="connsiteY2475" fmla="*/ 3286287 h 5092591"/>
              <a:gd name="connsiteX2476" fmla="*/ 748150 w 4546203"/>
              <a:gd name="connsiteY2476" fmla="*/ 3148596 h 5092591"/>
              <a:gd name="connsiteX2477" fmla="*/ 698804 w 4546203"/>
              <a:gd name="connsiteY2477" fmla="*/ 3167698 h 5092591"/>
              <a:gd name="connsiteX2478" fmla="*/ 681294 w 4546203"/>
              <a:gd name="connsiteY2478" fmla="*/ 3125515 h 5092591"/>
              <a:gd name="connsiteX2479" fmla="*/ 640703 w 4546203"/>
              <a:gd name="connsiteY2479" fmla="*/ 3139045 h 5092591"/>
              <a:gd name="connsiteX2480" fmla="*/ 596928 w 4546203"/>
              <a:gd name="connsiteY2480" fmla="*/ 2999364 h 5092591"/>
              <a:gd name="connsiteX2481" fmla="*/ 637917 w 4546203"/>
              <a:gd name="connsiteY2481" fmla="*/ 2987027 h 5092591"/>
              <a:gd name="connsiteX2482" fmla="*/ 626774 w 4546203"/>
              <a:gd name="connsiteY2482" fmla="*/ 2938079 h 5092591"/>
              <a:gd name="connsiteX2483" fmla="*/ 765262 w 4546203"/>
              <a:gd name="connsiteY2483" fmla="*/ 2904651 h 5092591"/>
              <a:gd name="connsiteX2484" fmla="*/ 726262 w 4546203"/>
              <a:gd name="connsiteY2484" fmla="*/ 2625289 h 5092591"/>
              <a:gd name="connsiteX2485" fmla="*/ 883851 w 4546203"/>
              <a:gd name="connsiteY2485" fmla="*/ 2616932 h 5092591"/>
              <a:gd name="connsiteX2486" fmla="*/ 883851 w 4546203"/>
              <a:gd name="connsiteY2486" fmla="*/ 2459343 h 5092591"/>
              <a:gd name="connsiteX2487" fmla="*/ 850025 w 4546203"/>
              <a:gd name="connsiteY2487" fmla="*/ 2456558 h 5092591"/>
              <a:gd name="connsiteX2488" fmla="*/ 742976 w 4546203"/>
              <a:gd name="connsiteY2488" fmla="*/ 2450190 h 5092591"/>
              <a:gd name="connsiteX2489" fmla="*/ 731834 w 4546203"/>
              <a:gd name="connsiteY2489" fmla="*/ 2433476 h 5092591"/>
              <a:gd name="connsiteX2490" fmla="*/ 887035 w 4546203"/>
              <a:gd name="connsiteY2490" fmla="*/ 2444221 h 5092591"/>
              <a:gd name="connsiteX2491" fmla="*/ 889821 w 4546203"/>
              <a:gd name="connsiteY2491" fmla="*/ 2399252 h 5092591"/>
              <a:gd name="connsiteX2492" fmla="*/ 734619 w 4546203"/>
              <a:gd name="connsiteY2492" fmla="*/ 2366620 h 5092591"/>
              <a:gd name="connsiteX2493" fmla="*/ 718303 w 4546203"/>
              <a:gd name="connsiteY2493" fmla="*/ 2333590 h 5092591"/>
              <a:gd name="connsiteX2494" fmla="*/ 622397 w 4546203"/>
              <a:gd name="connsiteY2494" fmla="*/ 2256786 h 5092591"/>
              <a:gd name="connsiteX2495" fmla="*/ 485103 w 4546203"/>
              <a:gd name="connsiteY2495" fmla="*/ 1785610 h 5092591"/>
              <a:gd name="connsiteX2496" fmla="*/ 602101 w 4546203"/>
              <a:gd name="connsiteY2496" fmla="*/ 1490728 h 5092591"/>
              <a:gd name="connsiteX2497" fmla="*/ 596530 w 4546203"/>
              <a:gd name="connsiteY2497" fmla="*/ 1469637 h 5092591"/>
              <a:gd name="connsiteX2498" fmla="*/ 518929 w 4546203"/>
              <a:gd name="connsiteY2498" fmla="*/ 1599767 h 5092591"/>
              <a:gd name="connsiteX2499" fmla="*/ 449288 w 4546203"/>
              <a:gd name="connsiteY2499" fmla="*/ 1562359 h 5092591"/>
              <a:gd name="connsiteX2500" fmla="*/ 534052 w 4546203"/>
              <a:gd name="connsiteY2500" fmla="*/ 1419893 h 5092591"/>
              <a:gd name="connsiteX2501" fmla="*/ 515746 w 4546203"/>
              <a:gd name="connsiteY2501" fmla="*/ 1406760 h 5092591"/>
              <a:gd name="connsiteX2502" fmla="*/ 432972 w 4546203"/>
              <a:gd name="connsiteY2502" fmla="*/ 1544452 h 5092591"/>
              <a:gd name="connsiteX2503" fmla="*/ 365320 w 4546203"/>
              <a:gd name="connsiteY2503" fmla="*/ 1507442 h 5092591"/>
              <a:gd name="connsiteX2504" fmla="*/ 453665 w 4546203"/>
              <a:gd name="connsiteY2504" fmla="*/ 1359802 h 5092591"/>
              <a:gd name="connsiteX2505" fmla="*/ 433768 w 4546203"/>
              <a:gd name="connsiteY2505" fmla="*/ 1345476 h 5092591"/>
              <a:gd name="connsiteX2506" fmla="*/ 347412 w 4546203"/>
              <a:gd name="connsiteY2506" fmla="*/ 1488340 h 5092591"/>
              <a:gd name="connsiteX2507" fmla="*/ 281750 w 4546203"/>
              <a:gd name="connsiteY2507" fmla="*/ 1452127 h 5092591"/>
              <a:gd name="connsiteX2508" fmla="*/ 373677 w 4546203"/>
              <a:gd name="connsiteY2508" fmla="*/ 1299313 h 5092591"/>
              <a:gd name="connsiteX2509" fmla="*/ 352585 w 4546203"/>
              <a:gd name="connsiteY2509" fmla="*/ 1283395 h 5092591"/>
              <a:gd name="connsiteX2510" fmla="*/ 262250 w 4546203"/>
              <a:gd name="connsiteY2510" fmla="*/ 1431831 h 5092591"/>
              <a:gd name="connsiteX2511" fmla="*/ 198578 w 4546203"/>
              <a:gd name="connsiteY2511" fmla="*/ 1396413 h 5092591"/>
              <a:gd name="connsiteX2512" fmla="*/ 294882 w 4546203"/>
              <a:gd name="connsiteY2512" fmla="*/ 1237631 h 5092591"/>
              <a:gd name="connsiteX2513" fmla="*/ 272597 w 4546203"/>
              <a:gd name="connsiteY2513" fmla="*/ 1220121 h 5092591"/>
              <a:gd name="connsiteX2514" fmla="*/ 196190 w 4546203"/>
              <a:gd name="connsiteY2514" fmla="*/ 1310854 h 5092591"/>
              <a:gd name="connsiteX2515" fmla="*/ 132120 w 4546203"/>
              <a:gd name="connsiteY2515" fmla="*/ 1366567 h 5092591"/>
              <a:gd name="connsiteX2516" fmla="*/ 97100 w 4546203"/>
              <a:gd name="connsiteY2516" fmla="*/ 1345476 h 5092591"/>
              <a:gd name="connsiteX2517" fmla="*/ 98692 w 4546203"/>
              <a:gd name="connsiteY2517" fmla="*/ 1331547 h 5092591"/>
              <a:gd name="connsiteX2518" fmla="*/ 158385 w 4546203"/>
              <a:gd name="connsiteY2518" fmla="*/ 1167989 h 5092591"/>
              <a:gd name="connsiteX2519" fmla="*/ 149630 w 4546203"/>
              <a:gd name="connsiteY2519" fmla="*/ 1118245 h 5092591"/>
              <a:gd name="connsiteX2520" fmla="*/ 63672 w 4546203"/>
              <a:gd name="connsiteY2520" fmla="*/ 1044226 h 5092591"/>
              <a:gd name="connsiteX2521" fmla="*/ 0 w 4546203"/>
              <a:gd name="connsiteY2521" fmla="*/ 990900 h 5092591"/>
              <a:gd name="connsiteX2522" fmla="*/ 0 w 4546203"/>
              <a:gd name="connsiteY2522" fmla="*/ 982941 h 5092591"/>
              <a:gd name="connsiteX2523" fmla="*/ 14724 w 4546203"/>
              <a:gd name="connsiteY2523" fmla="*/ 971401 h 5092591"/>
              <a:gd name="connsiteX2524" fmla="*/ 215292 w 4546203"/>
              <a:gd name="connsiteY2524" fmla="*/ 1080440 h 5092591"/>
              <a:gd name="connsiteX2525" fmla="*/ 228424 w 4546203"/>
              <a:gd name="connsiteY2525" fmla="*/ 1064919 h 5092591"/>
              <a:gd name="connsiteX2526" fmla="*/ 344228 w 4546203"/>
              <a:gd name="connsiteY2526" fmla="*/ 953891 h 5092591"/>
              <a:gd name="connsiteX2527" fmla="*/ 386809 w 4546203"/>
              <a:gd name="connsiteY2527" fmla="*/ 933993 h 5092591"/>
              <a:gd name="connsiteX2528" fmla="*/ 411880 w 4546203"/>
              <a:gd name="connsiteY2528" fmla="*/ 955085 h 5092591"/>
              <a:gd name="connsiteX2529" fmla="*/ 402727 w 4546203"/>
              <a:gd name="connsiteY2529" fmla="*/ 995278 h 5092591"/>
              <a:gd name="connsiteX2530" fmla="*/ 333882 w 4546203"/>
              <a:gd name="connsiteY2530" fmla="*/ 1125010 h 5092591"/>
              <a:gd name="connsiteX2531" fmla="*/ 322739 w 4546203"/>
              <a:gd name="connsiteY2531" fmla="*/ 1143714 h 5092591"/>
              <a:gd name="connsiteX2532" fmla="*/ 347810 w 4546203"/>
              <a:gd name="connsiteY2532" fmla="*/ 1158438 h 5092591"/>
              <a:gd name="connsiteX2533" fmla="*/ 460828 w 4546203"/>
              <a:gd name="connsiteY2533" fmla="*/ 1014777 h 5092591"/>
              <a:gd name="connsiteX2534" fmla="*/ 516144 w 4546203"/>
              <a:gd name="connsiteY2534" fmla="*/ 1061736 h 5092591"/>
              <a:gd name="connsiteX2535" fmla="*/ 410686 w 4546203"/>
              <a:gd name="connsiteY2535" fmla="*/ 1196642 h 5092591"/>
              <a:gd name="connsiteX2536" fmla="*/ 433370 w 4546203"/>
              <a:gd name="connsiteY2536" fmla="*/ 1210172 h 5092591"/>
              <a:gd name="connsiteX2537" fmla="*/ 542408 w 4546203"/>
              <a:gd name="connsiteY2537" fmla="*/ 1072481 h 5092591"/>
              <a:gd name="connsiteX2538" fmla="*/ 599316 w 4546203"/>
              <a:gd name="connsiteY2538" fmla="*/ 1121031 h 5092591"/>
              <a:gd name="connsiteX2539" fmla="*/ 497838 w 4546203"/>
              <a:gd name="connsiteY2539" fmla="*/ 1249967 h 5092591"/>
              <a:gd name="connsiteX2540" fmla="*/ 518133 w 4546203"/>
              <a:gd name="connsiteY2540" fmla="*/ 1263100 h 5092591"/>
              <a:gd name="connsiteX2541" fmla="*/ 623591 w 4546203"/>
              <a:gd name="connsiteY2541" fmla="*/ 1130979 h 5092591"/>
              <a:gd name="connsiteX2542" fmla="*/ 681692 w 4546203"/>
              <a:gd name="connsiteY2542" fmla="*/ 1181121 h 5092591"/>
              <a:gd name="connsiteX2543" fmla="*/ 583398 w 4546203"/>
              <a:gd name="connsiteY2543" fmla="*/ 1305283 h 5092591"/>
              <a:gd name="connsiteX2544" fmla="*/ 602499 w 4546203"/>
              <a:gd name="connsiteY2544" fmla="*/ 1316823 h 5092591"/>
              <a:gd name="connsiteX2545" fmla="*/ 704375 w 4546203"/>
              <a:gd name="connsiteY2545" fmla="*/ 1190274 h 5092591"/>
              <a:gd name="connsiteX2546" fmla="*/ 764068 w 4546203"/>
              <a:gd name="connsiteY2546" fmla="*/ 1242008 h 5092591"/>
              <a:gd name="connsiteX2547" fmla="*/ 669355 w 4546203"/>
              <a:gd name="connsiteY2547" fmla="*/ 1360598 h 5092591"/>
              <a:gd name="connsiteX2548" fmla="*/ 686865 w 4546203"/>
              <a:gd name="connsiteY2548" fmla="*/ 1370547 h 5092591"/>
              <a:gd name="connsiteX2549" fmla="*/ 784363 w 4546203"/>
              <a:gd name="connsiteY2549" fmla="*/ 1250365 h 5092591"/>
              <a:gd name="connsiteX2550" fmla="*/ 814210 w 4546203"/>
              <a:gd name="connsiteY2550" fmla="*/ 1275436 h 5092591"/>
              <a:gd name="connsiteX2551" fmla="*/ 829332 w 4546203"/>
              <a:gd name="connsiteY2551" fmla="*/ 1277426 h 5092591"/>
              <a:gd name="connsiteX2552" fmla="*/ 898178 w 4546203"/>
              <a:gd name="connsiteY2552" fmla="*/ 1243202 h 5092591"/>
              <a:gd name="connsiteX2553" fmla="*/ 777598 w 4546203"/>
              <a:gd name="connsiteY2553" fmla="*/ 1127796 h 5092591"/>
              <a:gd name="connsiteX2554" fmla="*/ 829730 w 4546203"/>
              <a:gd name="connsiteY2554" fmla="*/ 1082031 h 5092591"/>
              <a:gd name="connsiteX2555" fmla="*/ 809434 w 4546203"/>
              <a:gd name="connsiteY2555" fmla="*/ 1062930 h 5092591"/>
              <a:gd name="connsiteX2556" fmla="*/ 762078 w 4546203"/>
              <a:gd name="connsiteY2556" fmla="*/ 1111878 h 5092591"/>
              <a:gd name="connsiteX2557" fmla="*/ 740589 w 4546203"/>
              <a:gd name="connsiteY2557" fmla="*/ 1094368 h 5092591"/>
              <a:gd name="connsiteX2558" fmla="*/ 768843 w 4546203"/>
              <a:gd name="connsiteY2558" fmla="*/ 1064124 h 5092591"/>
              <a:gd name="connsiteX2559" fmla="*/ 734619 w 4546203"/>
              <a:gd name="connsiteY2559" fmla="*/ 1037859 h 5092591"/>
              <a:gd name="connsiteX2560" fmla="*/ 778394 w 4546203"/>
              <a:gd name="connsiteY2560" fmla="*/ 1009604 h 5092591"/>
              <a:gd name="connsiteX2561" fmla="*/ 703181 w 4546203"/>
              <a:gd name="connsiteY2561" fmla="*/ 943544 h 5092591"/>
              <a:gd name="connsiteX2562" fmla="*/ 740589 w 4546203"/>
              <a:gd name="connsiteY2562" fmla="*/ 914096 h 5092591"/>
              <a:gd name="connsiteX2563" fmla="*/ 660998 w 4546203"/>
              <a:gd name="connsiteY2563" fmla="*/ 828934 h 5092591"/>
              <a:gd name="connsiteX2564" fmla="*/ 728650 w 4546203"/>
              <a:gd name="connsiteY2564" fmla="*/ 767649 h 5092591"/>
              <a:gd name="connsiteX2565" fmla="*/ 804261 w 4546203"/>
              <a:gd name="connsiteY2565" fmla="*/ 854801 h 5092591"/>
              <a:gd name="connsiteX2566" fmla="*/ 839281 w 4546203"/>
              <a:gd name="connsiteY2566" fmla="*/ 826148 h 5092591"/>
              <a:gd name="connsiteX2567" fmla="*/ 896984 w 4546203"/>
              <a:gd name="connsiteY2567" fmla="*/ 894994 h 5092591"/>
              <a:gd name="connsiteX2568" fmla="*/ 926034 w 4546203"/>
              <a:gd name="connsiteY2568" fmla="*/ 873107 h 5092591"/>
              <a:gd name="connsiteX2569" fmla="*/ 949911 w 4546203"/>
              <a:gd name="connsiteY2569" fmla="*/ 900963 h 5092591"/>
              <a:gd name="connsiteX2570" fmla="*/ 978962 w 4546203"/>
              <a:gd name="connsiteY2570" fmla="*/ 879872 h 5092591"/>
              <a:gd name="connsiteX2571" fmla="*/ 1193458 w 4546203"/>
              <a:gd name="connsiteY2571" fmla="*/ 1156051 h 5092591"/>
              <a:gd name="connsiteX2572" fmla="*/ 1247181 w 4546203"/>
              <a:gd name="connsiteY2572" fmla="*/ 1115857 h 5092591"/>
              <a:gd name="connsiteX2573" fmla="*/ 1230070 w 4546203"/>
              <a:gd name="connsiteY2573" fmla="*/ 1089195 h 5092591"/>
              <a:gd name="connsiteX2574" fmla="*/ 1266283 w 4546203"/>
              <a:gd name="connsiteY2574" fmla="*/ 1062532 h 5092591"/>
              <a:gd name="connsiteX2575" fmla="*/ 1237631 w 4546203"/>
              <a:gd name="connsiteY2575" fmla="*/ 1017961 h 5092591"/>
              <a:gd name="connsiteX2576" fmla="*/ 1362587 w 4546203"/>
              <a:gd name="connsiteY2576" fmla="*/ 940758 h 5092591"/>
              <a:gd name="connsiteX2577" fmla="*/ 1389250 w 4546203"/>
              <a:gd name="connsiteY2577" fmla="*/ 986125 h 5092591"/>
              <a:gd name="connsiteX2578" fmla="*/ 1433821 w 4546203"/>
              <a:gd name="connsiteY2578" fmla="*/ 962646 h 5092591"/>
              <a:gd name="connsiteX2579" fmla="*/ 1501473 w 4546203"/>
              <a:gd name="connsiteY2579" fmla="*/ 1089195 h 5092591"/>
              <a:gd name="connsiteX2580" fmla="*/ 1558380 w 4546203"/>
              <a:gd name="connsiteY2580" fmla="*/ 1059746 h 5092591"/>
              <a:gd name="connsiteX2581" fmla="*/ 1348659 w 4546203"/>
              <a:gd name="connsiteY2581" fmla="*/ 622397 h 5092591"/>
              <a:gd name="connsiteX2582" fmla="*/ 1384077 w 4546203"/>
              <a:gd name="connsiteY2582" fmla="*/ 605683 h 5092591"/>
              <a:gd name="connsiteX2583" fmla="*/ 1392832 w 4546203"/>
              <a:gd name="connsiteY2583" fmla="*/ 605683 h 5092591"/>
              <a:gd name="connsiteX2584" fmla="*/ 1414719 w 4546203"/>
              <a:gd name="connsiteY2584" fmla="*/ 606877 h 5092591"/>
              <a:gd name="connsiteX2585" fmla="*/ 1660653 w 4546203"/>
              <a:gd name="connsiteY2585" fmla="*/ 516144 h 5092591"/>
              <a:gd name="connsiteX2586" fmla="*/ 1674980 w 4546203"/>
              <a:gd name="connsiteY2586" fmla="*/ 510572 h 5092591"/>
              <a:gd name="connsiteX2587" fmla="*/ 1713979 w 4546203"/>
              <a:gd name="connsiteY2587" fmla="*/ 485899 h 5092591"/>
              <a:gd name="connsiteX2588" fmla="*/ 1806702 w 4546203"/>
              <a:gd name="connsiteY2588" fmla="*/ 828536 h 5092591"/>
              <a:gd name="connsiteX2589" fmla="*/ 1829783 w 4546203"/>
              <a:gd name="connsiteY2589" fmla="*/ 820975 h 5092591"/>
              <a:gd name="connsiteX2590" fmla="*/ 1818242 w 4546203"/>
              <a:gd name="connsiteY2590" fmla="*/ 769241 h 5092591"/>
              <a:gd name="connsiteX2591" fmla="*/ 2005678 w 4546203"/>
              <a:gd name="connsiteY2591" fmla="*/ 732232 h 5092591"/>
              <a:gd name="connsiteX2592" fmla="*/ 2014831 w 4546203"/>
              <a:gd name="connsiteY2592" fmla="*/ 784761 h 5092591"/>
              <a:gd name="connsiteX2593" fmla="*/ 2080095 w 4546203"/>
              <a:gd name="connsiteY2593" fmla="*/ 777598 h 5092591"/>
              <a:gd name="connsiteX2594" fmla="*/ 2113125 w 4546203"/>
              <a:gd name="connsiteY2594" fmla="*/ 1086807 h 5092591"/>
              <a:gd name="connsiteX2595" fmla="*/ 2130635 w 4546203"/>
              <a:gd name="connsiteY2595" fmla="*/ 1070093 h 5092591"/>
              <a:gd name="connsiteX2596" fmla="*/ 2097605 w 4546203"/>
              <a:gd name="connsiteY2596" fmla="*/ 715518 h 5092591"/>
              <a:gd name="connsiteX2597" fmla="*/ 2043881 w 4546203"/>
              <a:gd name="connsiteY2597" fmla="*/ 137293 h 5092591"/>
              <a:gd name="connsiteX2598" fmla="*/ 2043881 w 4546203"/>
              <a:gd name="connsiteY2598" fmla="*/ 116600 h 5092591"/>
              <a:gd name="connsiteX2599" fmla="*/ 2070942 w 4546203"/>
              <a:gd name="connsiteY2599" fmla="*/ 111824 h 5092591"/>
              <a:gd name="connsiteX2600" fmla="*/ 2066166 w 4546203"/>
              <a:gd name="connsiteY2600" fmla="*/ 42979 h 5092591"/>
              <a:gd name="connsiteX2601" fmla="*/ 2095615 w 4546203"/>
              <a:gd name="connsiteY2601" fmla="*/ 38203 h 5092591"/>
              <a:gd name="connsiteX2602" fmla="*/ 2095615 w 4546203"/>
              <a:gd name="connsiteY2602" fmla="*/ 7163 h 5092591"/>
              <a:gd name="connsiteX2603" fmla="*/ 2175205 w 4546203"/>
              <a:gd name="connsiteY2603" fmla="*/ 0 h 5092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</a:cxnLst>
            <a:rect l="l" t="t" r="r" b="b"/>
            <a:pathLst>
              <a:path w="4546203" h="5092591">
                <a:moveTo>
                  <a:pt x="2251214" y="4846657"/>
                </a:moveTo>
                <a:cubicBezTo>
                  <a:pt x="2251214" y="4868146"/>
                  <a:pt x="2251214" y="4887646"/>
                  <a:pt x="2251214" y="4907544"/>
                </a:cubicBezTo>
                <a:cubicBezTo>
                  <a:pt x="2278673" y="4907544"/>
                  <a:pt x="2304540" y="4907544"/>
                  <a:pt x="2330407" y="4907544"/>
                </a:cubicBezTo>
                <a:cubicBezTo>
                  <a:pt x="2330407" y="4886452"/>
                  <a:pt x="2330407" y="4866952"/>
                  <a:pt x="2330407" y="4846657"/>
                </a:cubicBezTo>
                <a:cubicBezTo>
                  <a:pt x="2301754" y="4846657"/>
                  <a:pt x="2276683" y="4846657"/>
                  <a:pt x="2251214" y="4846657"/>
                </a:cubicBezTo>
                <a:close/>
                <a:moveTo>
                  <a:pt x="2445813" y="4838698"/>
                </a:moveTo>
                <a:cubicBezTo>
                  <a:pt x="2417956" y="4840290"/>
                  <a:pt x="2392885" y="4841882"/>
                  <a:pt x="2365824" y="4843474"/>
                </a:cubicBezTo>
                <a:cubicBezTo>
                  <a:pt x="2367018" y="4864963"/>
                  <a:pt x="2367814" y="4884860"/>
                  <a:pt x="2369008" y="4907146"/>
                </a:cubicBezTo>
                <a:cubicBezTo>
                  <a:pt x="2397263" y="4905554"/>
                  <a:pt x="2423129" y="4903962"/>
                  <a:pt x="2450588" y="4902370"/>
                </a:cubicBezTo>
                <a:cubicBezTo>
                  <a:pt x="2448598" y="4880085"/>
                  <a:pt x="2447404" y="4860585"/>
                  <a:pt x="2445813" y="4838698"/>
                </a:cubicBezTo>
                <a:close/>
                <a:moveTo>
                  <a:pt x="2019208" y="4832729"/>
                </a:moveTo>
                <a:cubicBezTo>
                  <a:pt x="2016820" y="4855014"/>
                  <a:pt x="2014831" y="4874514"/>
                  <a:pt x="2012841" y="4895605"/>
                </a:cubicBezTo>
                <a:cubicBezTo>
                  <a:pt x="2041095" y="4897993"/>
                  <a:pt x="2067360" y="4900381"/>
                  <a:pt x="2094421" y="4902768"/>
                </a:cubicBezTo>
                <a:cubicBezTo>
                  <a:pt x="2096013" y="4880483"/>
                  <a:pt x="2097605" y="4860983"/>
                  <a:pt x="2099196" y="4839494"/>
                </a:cubicBezTo>
                <a:cubicBezTo>
                  <a:pt x="2070942" y="4837106"/>
                  <a:pt x="2045473" y="4835116"/>
                  <a:pt x="2019208" y="4832729"/>
                </a:cubicBezTo>
                <a:close/>
                <a:moveTo>
                  <a:pt x="2251612" y="4753934"/>
                </a:moveTo>
                <a:cubicBezTo>
                  <a:pt x="2251612" y="4775026"/>
                  <a:pt x="2251612" y="4795321"/>
                  <a:pt x="2251612" y="4814821"/>
                </a:cubicBezTo>
                <a:cubicBezTo>
                  <a:pt x="2278275" y="4814821"/>
                  <a:pt x="2303346" y="4814821"/>
                  <a:pt x="2328019" y="4814821"/>
                </a:cubicBezTo>
                <a:cubicBezTo>
                  <a:pt x="2328019" y="4793730"/>
                  <a:pt x="2328019" y="4774628"/>
                  <a:pt x="2328019" y="4753934"/>
                </a:cubicBezTo>
                <a:cubicBezTo>
                  <a:pt x="2301356" y="4753934"/>
                  <a:pt x="2277081" y="4753934"/>
                  <a:pt x="2251612" y="4753934"/>
                </a:cubicBezTo>
                <a:close/>
                <a:moveTo>
                  <a:pt x="2029157" y="4740404"/>
                </a:moveTo>
                <a:cubicBezTo>
                  <a:pt x="2027167" y="4761894"/>
                  <a:pt x="2024779" y="4781791"/>
                  <a:pt x="2022392" y="4803678"/>
                </a:cubicBezTo>
                <a:cubicBezTo>
                  <a:pt x="2049452" y="4806066"/>
                  <a:pt x="2074125" y="4808454"/>
                  <a:pt x="2101186" y="4811239"/>
                </a:cubicBezTo>
                <a:cubicBezTo>
                  <a:pt x="2102778" y="4788158"/>
                  <a:pt x="2104370" y="4768659"/>
                  <a:pt x="2105564" y="4747965"/>
                </a:cubicBezTo>
                <a:cubicBezTo>
                  <a:pt x="2079697" y="4745577"/>
                  <a:pt x="2055422" y="4743189"/>
                  <a:pt x="2029157" y="4740404"/>
                </a:cubicBezTo>
                <a:close/>
                <a:moveTo>
                  <a:pt x="2252408" y="4661609"/>
                </a:moveTo>
                <a:cubicBezTo>
                  <a:pt x="2252408" y="4682701"/>
                  <a:pt x="2252408" y="4702201"/>
                  <a:pt x="2252408" y="4722894"/>
                </a:cubicBezTo>
                <a:cubicBezTo>
                  <a:pt x="2277081" y="4722894"/>
                  <a:pt x="2300560" y="4722894"/>
                  <a:pt x="2324835" y="4722894"/>
                </a:cubicBezTo>
                <a:cubicBezTo>
                  <a:pt x="2324835" y="4701007"/>
                  <a:pt x="2324835" y="4681507"/>
                  <a:pt x="2324835" y="4661609"/>
                </a:cubicBezTo>
                <a:cubicBezTo>
                  <a:pt x="2299764" y="4661609"/>
                  <a:pt x="2276683" y="4661609"/>
                  <a:pt x="2252408" y="4661609"/>
                </a:cubicBezTo>
                <a:close/>
                <a:moveTo>
                  <a:pt x="2144961" y="4660017"/>
                </a:moveTo>
                <a:cubicBezTo>
                  <a:pt x="2143767" y="4679915"/>
                  <a:pt x="2142971" y="4699415"/>
                  <a:pt x="2141777" y="4721302"/>
                </a:cubicBezTo>
                <a:cubicBezTo>
                  <a:pt x="2168042" y="4721302"/>
                  <a:pt x="2192317" y="4721302"/>
                  <a:pt x="2217388" y="4721302"/>
                </a:cubicBezTo>
                <a:cubicBezTo>
                  <a:pt x="2217388" y="4701405"/>
                  <a:pt x="2217388" y="4681507"/>
                  <a:pt x="2217388" y="4660017"/>
                </a:cubicBezTo>
                <a:cubicBezTo>
                  <a:pt x="2193113" y="4660017"/>
                  <a:pt x="2170032" y="4660017"/>
                  <a:pt x="2144961" y="4660017"/>
                </a:cubicBezTo>
                <a:close/>
                <a:moveTo>
                  <a:pt x="2431088" y="4654844"/>
                </a:moveTo>
                <a:cubicBezTo>
                  <a:pt x="2406018" y="4656834"/>
                  <a:pt x="2382538" y="4658426"/>
                  <a:pt x="2357467" y="4660017"/>
                </a:cubicBezTo>
                <a:cubicBezTo>
                  <a:pt x="2358661" y="4681507"/>
                  <a:pt x="2359855" y="4701007"/>
                  <a:pt x="2361049" y="4723292"/>
                </a:cubicBezTo>
                <a:cubicBezTo>
                  <a:pt x="2387712" y="4721302"/>
                  <a:pt x="2411191" y="4719710"/>
                  <a:pt x="2436660" y="4718119"/>
                </a:cubicBezTo>
                <a:cubicBezTo>
                  <a:pt x="2435068" y="4696231"/>
                  <a:pt x="2433476" y="4676334"/>
                  <a:pt x="2431088" y="4654844"/>
                </a:cubicBezTo>
                <a:close/>
                <a:moveTo>
                  <a:pt x="2150930" y="4567295"/>
                </a:moveTo>
                <a:cubicBezTo>
                  <a:pt x="2149736" y="4587193"/>
                  <a:pt x="2148543" y="4605896"/>
                  <a:pt x="2146951" y="4628580"/>
                </a:cubicBezTo>
                <a:cubicBezTo>
                  <a:pt x="2171624" y="4629375"/>
                  <a:pt x="2194705" y="4630569"/>
                  <a:pt x="2219378" y="4631763"/>
                </a:cubicBezTo>
                <a:cubicBezTo>
                  <a:pt x="2219378" y="4609876"/>
                  <a:pt x="2219378" y="4589978"/>
                  <a:pt x="2219378" y="4567295"/>
                </a:cubicBezTo>
                <a:cubicBezTo>
                  <a:pt x="2196695" y="4567295"/>
                  <a:pt x="2174012" y="4567295"/>
                  <a:pt x="2150930" y="4567295"/>
                </a:cubicBezTo>
                <a:close/>
                <a:moveTo>
                  <a:pt x="2424323" y="4562918"/>
                </a:moveTo>
                <a:cubicBezTo>
                  <a:pt x="2400048" y="4564509"/>
                  <a:pt x="2377365" y="4565703"/>
                  <a:pt x="2353488" y="4567295"/>
                </a:cubicBezTo>
                <a:cubicBezTo>
                  <a:pt x="2355080" y="4590376"/>
                  <a:pt x="2356274" y="4610273"/>
                  <a:pt x="2357467" y="4630967"/>
                </a:cubicBezTo>
                <a:cubicBezTo>
                  <a:pt x="2382936" y="4629375"/>
                  <a:pt x="2404824" y="4627783"/>
                  <a:pt x="2429497" y="4626192"/>
                </a:cubicBezTo>
                <a:cubicBezTo>
                  <a:pt x="2427905" y="4605100"/>
                  <a:pt x="2426711" y="4585601"/>
                  <a:pt x="2424323" y="4562918"/>
                </a:cubicBezTo>
                <a:close/>
                <a:moveTo>
                  <a:pt x="2049452" y="4556550"/>
                </a:moveTo>
                <a:cubicBezTo>
                  <a:pt x="2047065" y="4578039"/>
                  <a:pt x="2045075" y="4597937"/>
                  <a:pt x="2042687" y="4619427"/>
                </a:cubicBezTo>
                <a:cubicBezTo>
                  <a:pt x="2067360" y="4621814"/>
                  <a:pt x="2090044" y="4624202"/>
                  <a:pt x="2114717" y="4626590"/>
                </a:cubicBezTo>
                <a:cubicBezTo>
                  <a:pt x="2116309" y="4605100"/>
                  <a:pt x="2117900" y="4584805"/>
                  <a:pt x="2119492" y="4563315"/>
                </a:cubicBezTo>
                <a:cubicBezTo>
                  <a:pt x="2095615" y="4560928"/>
                  <a:pt x="2073330" y="4558938"/>
                  <a:pt x="2049452" y="4556550"/>
                </a:cubicBezTo>
                <a:close/>
                <a:moveTo>
                  <a:pt x="2897488" y="4513571"/>
                </a:moveTo>
                <a:cubicBezTo>
                  <a:pt x="2880376" y="4518744"/>
                  <a:pt x="2864856" y="4523520"/>
                  <a:pt x="2847744" y="4528693"/>
                </a:cubicBezTo>
                <a:cubicBezTo>
                  <a:pt x="2852122" y="4542622"/>
                  <a:pt x="2855703" y="4554560"/>
                  <a:pt x="2859683" y="4567295"/>
                </a:cubicBezTo>
                <a:cubicBezTo>
                  <a:pt x="2877988" y="4562121"/>
                  <a:pt x="2893509" y="4557346"/>
                  <a:pt x="2910223" y="4551775"/>
                </a:cubicBezTo>
                <a:cubicBezTo>
                  <a:pt x="2905845" y="4538244"/>
                  <a:pt x="2901866" y="4526704"/>
                  <a:pt x="2897488" y="4513571"/>
                </a:cubicBezTo>
                <a:close/>
                <a:moveTo>
                  <a:pt x="1790386" y="4506408"/>
                </a:moveTo>
                <a:cubicBezTo>
                  <a:pt x="1786406" y="4521928"/>
                  <a:pt x="1783223" y="4535061"/>
                  <a:pt x="1779641" y="4549785"/>
                </a:cubicBezTo>
                <a:cubicBezTo>
                  <a:pt x="1811079" y="4556550"/>
                  <a:pt x="1840130" y="4562918"/>
                  <a:pt x="1872364" y="4570080"/>
                </a:cubicBezTo>
                <a:cubicBezTo>
                  <a:pt x="1875547" y="4553764"/>
                  <a:pt x="1877935" y="4540632"/>
                  <a:pt x="1881119" y="4525908"/>
                </a:cubicBezTo>
                <a:cubicBezTo>
                  <a:pt x="1850079" y="4519143"/>
                  <a:pt x="1820630" y="4512775"/>
                  <a:pt x="1790386" y="4506408"/>
                </a:cubicBezTo>
                <a:close/>
                <a:moveTo>
                  <a:pt x="3136658" y="4499245"/>
                </a:moveTo>
                <a:cubicBezTo>
                  <a:pt x="3139842" y="4505612"/>
                  <a:pt x="3143423" y="4513173"/>
                  <a:pt x="3148995" y="4525908"/>
                </a:cubicBezTo>
                <a:cubicBezTo>
                  <a:pt x="3132679" y="4528295"/>
                  <a:pt x="3119546" y="4529887"/>
                  <a:pt x="3106414" y="4531877"/>
                </a:cubicBezTo>
                <a:cubicBezTo>
                  <a:pt x="3103230" y="4532275"/>
                  <a:pt x="3100046" y="4533469"/>
                  <a:pt x="3096863" y="4534662"/>
                </a:cubicBezTo>
                <a:cubicBezTo>
                  <a:pt x="3039956" y="4555357"/>
                  <a:pt x="2983446" y="4576050"/>
                  <a:pt x="2926936" y="4597142"/>
                </a:cubicBezTo>
                <a:cubicBezTo>
                  <a:pt x="2923355" y="4598336"/>
                  <a:pt x="2920569" y="4600724"/>
                  <a:pt x="2917784" y="4602714"/>
                </a:cubicBezTo>
                <a:cubicBezTo>
                  <a:pt x="2918579" y="4604703"/>
                  <a:pt x="2919773" y="4607091"/>
                  <a:pt x="2920569" y="4609479"/>
                </a:cubicBezTo>
                <a:cubicBezTo>
                  <a:pt x="2984242" y="4585999"/>
                  <a:pt x="3047517" y="4562918"/>
                  <a:pt x="3112383" y="4539439"/>
                </a:cubicBezTo>
                <a:cubicBezTo>
                  <a:pt x="3116760" y="4548990"/>
                  <a:pt x="3120740" y="4558540"/>
                  <a:pt x="3126311" y="4570877"/>
                </a:cubicBezTo>
                <a:cubicBezTo>
                  <a:pt x="3061445" y="4594754"/>
                  <a:pt x="2997374" y="4618632"/>
                  <a:pt x="2931314" y="4642907"/>
                </a:cubicBezTo>
                <a:cubicBezTo>
                  <a:pt x="2926539" y="4630172"/>
                  <a:pt x="2922957" y="4621019"/>
                  <a:pt x="2918977" y="4609876"/>
                </a:cubicBezTo>
                <a:cubicBezTo>
                  <a:pt x="2909427" y="4611866"/>
                  <a:pt x="2899876" y="4614254"/>
                  <a:pt x="2888335" y="4617040"/>
                </a:cubicBezTo>
                <a:cubicBezTo>
                  <a:pt x="2885947" y="4608683"/>
                  <a:pt x="2883958" y="4601122"/>
                  <a:pt x="2881570" y="4593560"/>
                </a:cubicBezTo>
                <a:cubicBezTo>
                  <a:pt x="2967130" y="4561724"/>
                  <a:pt x="3051098" y="4530683"/>
                  <a:pt x="3136658" y="4499245"/>
                </a:cubicBezTo>
                <a:close/>
                <a:moveTo>
                  <a:pt x="2955987" y="4494470"/>
                </a:moveTo>
                <a:cubicBezTo>
                  <a:pt x="2938477" y="4500439"/>
                  <a:pt x="2922957" y="4505612"/>
                  <a:pt x="2905845" y="4511184"/>
                </a:cubicBezTo>
                <a:cubicBezTo>
                  <a:pt x="2910621" y="4524714"/>
                  <a:pt x="2914998" y="4536652"/>
                  <a:pt x="2919376" y="4549387"/>
                </a:cubicBezTo>
                <a:cubicBezTo>
                  <a:pt x="2936885" y="4543020"/>
                  <a:pt x="2952405" y="4537846"/>
                  <a:pt x="2969119" y="4532275"/>
                </a:cubicBezTo>
                <a:cubicBezTo>
                  <a:pt x="2964344" y="4518744"/>
                  <a:pt x="2960365" y="4507204"/>
                  <a:pt x="2955987" y="4494470"/>
                </a:cubicBezTo>
                <a:close/>
                <a:moveTo>
                  <a:pt x="2254398" y="4476562"/>
                </a:moveTo>
                <a:cubicBezTo>
                  <a:pt x="2254398" y="4498449"/>
                  <a:pt x="2254398" y="4517949"/>
                  <a:pt x="2254398" y="4538244"/>
                </a:cubicBezTo>
                <a:cubicBezTo>
                  <a:pt x="2277081" y="4538244"/>
                  <a:pt x="2298172" y="4538244"/>
                  <a:pt x="2320060" y="4538244"/>
                </a:cubicBezTo>
                <a:cubicBezTo>
                  <a:pt x="2320060" y="4517153"/>
                  <a:pt x="2320060" y="4496857"/>
                  <a:pt x="2320060" y="4476562"/>
                </a:cubicBezTo>
                <a:cubicBezTo>
                  <a:pt x="2297775" y="4476562"/>
                  <a:pt x="2276683" y="4476562"/>
                  <a:pt x="2254398" y="4476562"/>
                </a:cubicBezTo>
                <a:close/>
                <a:moveTo>
                  <a:pt x="3013292" y="4472980"/>
                </a:moveTo>
                <a:cubicBezTo>
                  <a:pt x="2996180" y="4479348"/>
                  <a:pt x="2981058" y="4484919"/>
                  <a:pt x="2964344" y="4491286"/>
                </a:cubicBezTo>
                <a:cubicBezTo>
                  <a:pt x="2969119" y="4504816"/>
                  <a:pt x="2973099" y="4516357"/>
                  <a:pt x="2977874" y="4529489"/>
                </a:cubicBezTo>
                <a:cubicBezTo>
                  <a:pt x="2995384" y="4522724"/>
                  <a:pt x="3010904" y="4516755"/>
                  <a:pt x="3028016" y="4510388"/>
                </a:cubicBezTo>
                <a:cubicBezTo>
                  <a:pt x="3022843" y="4497255"/>
                  <a:pt x="3018465" y="4486510"/>
                  <a:pt x="3013292" y="4472980"/>
                </a:cubicBezTo>
                <a:close/>
                <a:moveTo>
                  <a:pt x="2156104" y="4472582"/>
                </a:moveTo>
                <a:cubicBezTo>
                  <a:pt x="2154910" y="4494867"/>
                  <a:pt x="2154114" y="4514765"/>
                  <a:pt x="2152920" y="4537051"/>
                </a:cubicBezTo>
                <a:cubicBezTo>
                  <a:pt x="2177195" y="4537051"/>
                  <a:pt x="2199083" y="4537051"/>
                  <a:pt x="2222164" y="4537051"/>
                </a:cubicBezTo>
                <a:cubicBezTo>
                  <a:pt x="2222164" y="4516755"/>
                  <a:pt x="2222164" y="4497653"/>
                  <a:pt x="2222164" y="4475766"/>
                </a:cubicBezTo>
                <a:cubicBezTo>
                  <a:pt x="2199878" y="4474970"/>
                  <a:pt x="2179185" y="4473776"/>
                  <a:pt x="2156104" y="4472582"/>
                </a:cubicBezTo>
                <a:close/>
                <a:moveTo>
                  <a:pt x="2059401" y="4465021"/>
                </a:moveTo>
                <a:cubicBezTo>
                  <a:pt x="2057014" y="4486510"/>
                  <a:pt x="2055024" y="4506408"/>
                  <a:pt x="2052636" y="4528295"/>
                </a:cubicBezTo>
                <a:cubicBezTo>
                  <a:pt x="2076513" y="4530285"/>
                  <a:pt x="2098401" y="4532275"/>
                  <a:pt x="2121482" y="4534265"/>
                </a:cubicBezTo>
                <a:cubicBezTo>
                  <a:pt x="2123074" y="4511979"/>
                  <a:pt x="2124665" y="4492480"/>
                  <a:pt x="2126257" y="4470990"/>
                </a:cubicBezTo>
                <a:cubicBezTo>
                  <a:pt x="2103574" y="4469000"/>
                  <a:pt x="2082483" y="4467011"/>
                  <a:pt x="2059401" y="4465021"/>
                </a:cubicBezTo>
                <a:close/>
                <a:moveTo>
                  <a:pt x="2881172" y="4462236"/>
                </a:moveTo>
                <a:cubicBezTo>
                  <a:pt x="2864060" y="4467409"/>
                  <a:pt x="2849336" y="4472184"/>
                  <a:pt x="2833020" y="4477358"/>
                </a:cubicBezTo>
                <a:cubicBezTo>
                  <a:pt x="2836602" y="4488898"/>
                  <a:pt x="2839387" y="4498847"/>
                  <a:pt x="2842571" y="4511184"/>
                </a:cubicBezTo>
                <a:cubicBezTo>
                  <a:pt x="2860479" y="4505612"/>
                  <a:pt x="2875203" y="4501235"/>
                  <a:pt x="2891917" y="4496061"/>
                </a:cubicBezTo>
                <a:cubicBezTo>
                  <a:pt x="2887937" y="4483725"/>
                  <a:pt x="2884754" y="4473378"/>
                  <a:pt x="2881172" y="4462236"/>
                </a:cubicBezTo>
                <a:close/>
                <a:moveTo>
                  <a:pt x="3070199" y="4449899"/>
                </a:moveTo>
                <a:cubicBezTo>
                  <a:pt x="3052291" y="4457460"/>
                  <a:pt x="3037169" y="4463827"/>
                  <a:pt x="3021649" y="4470195"/>
                </a:cubicBezTo>
                <a:cubicBezTo>
                  <a:pt x="3026823" y="4483725"/>
                  <a:pt x="3031598" y="4494867"/>
                  <a:pt x="3036373" y="4507602"/>
                </a:cubicBezTo>
                <a:cubicBezTo>
                  <a:pt x="3053883" y="4500041"/>
                  <a:pt x="3069403" y="4493674"/>
                  <a:pt x="3085719" y="4486908"/>
                </a:cubicBezTo>
                <a:cubicBezTo>
                  <a:pt x="3080148" y="4473776"/>
                  <a:pt x="3075771" y="4463031"/>
                  <a:pt x="3070199" y="4449899"/>
                </a:cubicBezTo>
                <a:close/>
                <a:moveTo>
                  <a:pt x="2937283" y="4443134"/>
                </a:moveTo>
                <a:cubicBezTo>
                  <a:pt x="2920171" y="4449103"/>
                  <a:pt x="2905049" y="4454674"/>
                  <a:pt x="2889131" y="4460644"/>
                </a:cubicBezTo>
                <a:cubicBezTo>
                  <a:pt x="2893509" y="4472582"/>
                  <a:pt x="2896692" y="4482531"/>
                  <a:pt x="2900672" y="4493276"/>
                </a:cubicBezTo>
                <a:cubicBezTo>
                  <a:pt x="2917386" y="4487705"/>
                  <a:pt x="2932110" y="4482531"/>
                  <a:pt x="2949620" y="4476562"/>
                </a:cubicBezTo>
                <a:cubicBezTo>
                  <a:pt x="2945242" y="4464225"/>
                  <a:pt x="2941263" y="4454276"/>
                  <a:pt x="2937283" y="4443134"/>
                </a:cubicBezTo>
                <a:close/>
                <a:moveTo>
                  <a:pt x="1805906" y="4442736"/>
                </a:moveTo>
                <a:cubicBezTo>
                  <a:pt x="1802324" y="4457460"/>
                  <a:pt x="1799141" y="4470990"/>
                  <a:pt x="1795161" y="4486510"/>
                </a:cubicBezTo>
                <a:cubicBezTo>
                  <a:pt x="1826599" y="4493276"/>
                  <a:pt x="1854854" y="4499245"/>
                  <a:pt x="1885098" y="4506010"/>
                </a:cubicBezTo>
                <a:cubicBezTo>
                  <a:pt x="1887884" y="4489694"/>
                  <a:pt x="1890670" y="4476164"/>
                  <a:pt x="1893455" y="4461838"/>
                </a:cubicBezTo>
                <a:cubicBezTo>
                  <a:pt x="1862813" y="4455072"/>
                  <a:pt x="1834956" y="4449103"/>
                  <a:pt x="1805906" y="4442736"/>
                </a:cubicBezTo>
                <a:close/>
                <a:moveTo>
                  <a:pt x="3125515" y="4426022"/>
                </a:moveTo>
                <a:cubicBezTo>
                  <a:pt x="3108403" y="4433583"/>
                  <a:pt x="3093678" y="4440348"/>
                  <a:pt x="3078158" y="4447113"/>
                </a:cubicBezTo>
                <a:cubicBezTo>
                  <a:pt x="3083332" y="4459848"/>
                  <a:pt x="3088107" y="4470592"/>
                  <a:pt x="3093678" y="4484123"/>
                </a:cubicBezTo>
                <a:cubicBezTo>
                  <a:pt x="3110790" y="4476164"/>
                  <a:pt x="3126311" y="4469399"/>
                  <a:pt x="3142626" y="4461838"/>
                </a:cubicBezTo>
                <a:cubicBezTo>
                  <a:pt x="3136259" y="4448705"/>
                  <a:pt x="3131086" y="4437563"/>
                  <a:pt x="3125515" y="4426022"/>
                </a:cubicBezTo>
                <a:close/>
                <a:moveTo>
                  <a:pt x="1534503" y="4425226"/>
                </a:moveTo>
                <a:cubicBezTo>
                  <a:pt x="1528931" y="4439552"/>
                  <a:pt x="1524156" y="4452287"/>
                  <a:pt x="1518187" y="4467011"/>
                </a:cubicBezTo>
                <a:cubicBezTo>
                  <a:pt x="1548431" y="4478154"/>
                  <a:pt x="1577481" y="4488500"/>
                  <a:pt x="1607328" y="4499643"/>
                </a:cubicBezTo>
                <a:cubicBezTo>
                  <a:pt x="1612501" y="4484521"/>
                  <a:pt x="1617277" y="4471786"/>
                  <a:pt x="1621654" y="4457062"/>
                </a:cubicBezTo>
                <a:cubicBezTo>
                  <a:pt x="1592206" y="4446317"/>
                  <a:pt x="1563951" y="4435971"/>
                  <a:pt x="1534503" y="4425226"/>
                </a:cubicBezTo>
                <a:close/>
                <a:moveTo>
                  <a:pt x="2993394" y="4422440"/>
                </a:moveTo>
                <a:cubicBezTo>
                  <a:pt x="2976680" y="4428807"/>
                  <a:pt x="2961558" y="4434777"/>
                  <a:pt x="2945640" y="4440746"/>
                </a:cubicBezTo>
                <a:cubicBezTo>
                  <a:pt x="2950416" y="4452685"/>
                  <a:pt x="2954395" y="4463031"/>
                  <a:pt x="2958375" y="4473378"/>
                </a:cubicBezTo>
                <a:cubicBezTo>
                  <a:pt x="2975089" y="4467011"/>
                  <a:pt x="2989813" y="4461440"/>
                  <a:pt x="3006527" y="4455072"/>
                </a:cubicBezTo>
                <a:cubicBezTo>
                  <a:pt x="3001752" y="4443134"/>
                  <a:pt x="2997772" y="4433583"/>
                  <a:pt x="2993394" y="4422440"/>
                </a:cubicBezTo>
                <a:close/>
                <a:moveTo>
                  <a:pt x="1680949" y="4407318"/>
                </a:moveTo>
                <a:cubicBezTo>
                  <a:pt x="1676174" y="4422838"/>
                  <a:pt x="1672194" y="4435573"/>
                  <a:pt x="1667817" y="4450297"/>
                </a:cubicBezTo>
                <a:cubicBezTo>
                  <a:pt x="1698061" y="4459052"/>
                  <a:pt x="1726315" y="4467409"/>
                  <a:pt x="1755764" y="4475766"/>
                </a:cubicBezTo>
                <a:cubicBezTo>
                  <a:pt x="1759743" y="4460644"/>
                  <a:pt x="1763325" y="4447511"/>
                  <a:pt x="1767305" y="4431991"/>
                </a:cubicBezTo>
                <a:cubicBezTo>
                  <a:pt x="1737856" y="4423634"/>
                  <a:pt x="1709999" y="4415675"/>
                  <a:pt x="1680949" y="4407318"/>
                </a:cubicBezTo>
                <a:close/>
                <a:moveTo>
                  <a:pt x="3048710" y="4400155"/>
                </a:moveTo>
                <a:cubicBezTo>
                  <a:pt x="3031996" y="4407318"/>
                  <a:pt x="3017272" y="4413686"/>
                  <a:pt x="3001752" y="4420451"/>
                </a:cubicBezTo>
                <a:cubicBezTo>
                  <a:pt x="3006527" y="4431991"/>
                  <a:pt x="3010506" y="4441542"/>
                  <a:pt x="3014884" y="4452685"/>
                </a:cubicBezTo>
                <a:cubicBezTo>
                  <a:pt x="3031200" y="4445920"/>
                  <a:pt x="3046322" y="4439950"/>
                  <a:pt x="3062638" y="4433185"/>
                </a:cubicBezTo>
                <a:cubicBezTo>
                  <a:pt x="3057863" y="4421645"/>
                  <a:pt x="3053883" y="4412094"/>
                  <a:pt x="3048710" y="4400155"/>
                </a:cubicBezTo>
                <a:close/>
                <a:moveTo>
                  <a:pt x="2161277" y="4383043"/>
                </a:moveTo>
                <a:cubicBezTo>
                  <a:pt x="2160481" y="4402941"/>
                  <a:pt x="2159287" y="4422440"/>
                  <a:pt x="2158094" y="4444328"/>
                </a:cubicBezTo>
                <a:cubicBezTo>
                  <a:pt x="2181175" y="4444328"/>
                  <a:pt x="2201868" y="4444328"/>
                  <a:pt x="2224153" y="4444328"/>
                </a:cubicBezTo>
                <a:cubicBezTo>
                  <a:pt x="2224153" y="4424828"/>
                  <a:pt x="2224153" y="4404930"/>
                  <a:pt x="2224153" y="4383043"/>
                </a:cubicBezTo>
                <a:cubicBezTo>
                  <a:pt x="2203858" y="4383043"/>
                  <a:pt x="2183164" y="4383043"/>
                  <a:pt x="2161277" y="4383043"/>
                </a:cubicBezTo>
                <a:close/>
                <a:moveTo>
                  <a:pt x="2411191" y="4378666"/>
                </a:moveTo>
                <a:cubicBezTo>
                  <a:pt x="2388508" y="4379860"/>
                  <a:pt x="2368610" y="4381053"/>
                  <a:pt x="2346723" y="4382247"/>
                </a:cubicBezTo>
                <a:cubicBezTo>
                  <a:pt x="2347916" y="4404532"/>
                  <a:pt x="2348712" y="4424430"/>
                  <a:pt x="2349906" y="4445920"/>
                </a:cubicBezTo>
                <a:cubicBezTo>
                  <a:pt x="2372988" y="4444328"/>
                  <a:pt x="2393681" y="4443134"/>
                  <a:pt x="2415170" y="4441940"/>
                </a:cubicBezTo>
                <a:cubicBezTo>
                  <a:pt x="2413977" y="4419655"/>
                  <a:pt x="2412783" y="4400553"/>
                  <a:pt x="2411191" y="4378666"/>
                </a:cubicBezTo>
                <a:close/>
                <a:moveTo>
                  <a:pt x="3103229" y="4376676"/>
                </a:moveTo>
                <a:cubicBezTo>
                  <a:pt x="3086913" y="4383839"/>
                  <a:pt x="3072189" y="4390604"/>
                  <a:pt x="3056669" y="4397369"/>
                </a:cubicBezTo>
                <a:cubicBezTo>
                  <a:pt x="3061842" y="4409308"/>
                  <a:pt x="3066220" y="4418859"/>
                  <a:pt x="3070995" y="4430001"/>
                </a:cubicBezTo>
                <a:cubicBezTo>
                  <a:pt x="3087709" y="4422440"/>
                  <a:pt x="3102831" y="4415675"/>
                  <a:pt x="3118351" y="4408512"/>
                </a:cubicBezTo>
                <a:cubicBezTo>
                  <a:pt x="3112780" y="4396573"/>
                  <a:pt x="3108403" y="4387022"/>
                  <a:pt x="3103229" y="4376676"/>
                </a:cubicBezTo>
                <a:close/>
                <a:moveTo>
                  <a:pt x="1411933" y="4372696"/>
                </a:moveTo>
                <a:cubicBezTo>
                  <a:pt x="1405566" y="4386227"/>
                  <a:pt x="1399597" y="4398961"/>
                  <a:pt x="1392832" y="4413287"/>
                </a:cubicBezTo>
                <a:cubicBezTo>
                  <a:pt x="1422280" y="4426420"/>
                  <a:pt x="1449739" y="4438358"/>
                  <a:pt x="1479187" y="4451491"/>
                </a:cubicBezTo>
                <a:cubicBezTo>
                  <a:pt x="1485555" y="4436369"/>
                  <a:pt x="1490728" y="4423634"/>
                  <a:pt x="1496697" y="4410104"/>
                </a:cubicBezTo>
                <a:cubicBezTo>
                  <a:pt x="1467647" y="4397369"/>
                  <a:pt x="1440586" y="4385431"/>
                  <a:pt x="1411933" y="4372696"/>
                </a:cubicBezTo>
                <a:close/>
                <a:moveTo>
                  <a:pt x="1558778" y="4364339"/>
                </a:moveTo>
                <a:cubicBezTo>
                  <a:pt x="1553206" y="4379063"/>
                  <a:pt x="1548033" y="4392196"/>
                  <a:pt x="1542462" y="4406522"/>
                </a:cubicBezTo>
                <a:cubicBezTo>
                  <a:pt x="1572308" y="4417665"/>
                  <a:pt x="1600165" y="4427614"/>
                  <a:pt x="1628817" y="4437961"/>
                </a:cubicBezTo>
                <a:cubicBezTo>
                  <a:pt x="1633991" y="4422440"/>
                  <a:pt x="1637970" y="4409308"/>
                  <a:pt x="1642746" y="4394982"/>
                </a:cubicBezTo>
                <a:cubicBezTo>
                  <a:pt x="1614093" y="4384635"/>
                  <a:pt x="1587032" y="4374686"/>
                  <a:pt x="1558778" y="4364339"/>
                </a:cubicBezTo>
                <a:close/>
                <a:moveTo>
                  <a:pt x="2904253" y="4347227"/>
                </a:moveTo>
                <a:cubicBezTo>
                  <a:pt x="2888335" y="4352401"/>
                  <a:pt x="2874009" y="4357176"/>
                  <a:pt x="2858489" y="4362350"/>
                </a:cubicBezTo>
                <a:cubicBezTo>
                  <a:pt x="2868040" y="4392594"/>
                  <a:pt x="2877591" y="4421246"/>
                  <a:pt x="2887539" y="4452287"/>
                </a:cubicBezTo>
                <a:cubicBezTo>
                  <a:pt x="2905049" y="4446317"/>
                  <a:pt x="2919773" y="4441144"/>
                  <a:pt x="2935691" y="4435573"/>
                </a:cubicBezTo>
                <a:cubicBezTo>
                  <a:pt x="2924947" y="4405328"/>
                  <a:pt x="2914998" y="4377074"/>
                  <a:pt x="2904253" y="4347227"/>
                </a:cubicBezTo>
                <a:close/>
                <a:moveTo>
                  <a:pt x="2956783" y="4327330"/>
                </a:moveTo>
                <a:cubicBezTo>
                  <a:pt x="2940865" y="4333299"/>
                  <a:pt x="2927335" y="4338473"/>
                  <a:pt x="2911416" y="4344442"/>
                </a:cubicBezTo>
                <a:cubicBezTo>
                  <a:pt x="2922559" y="4375482"/>
                  <a:pt x="2932906" y="4403737"/>
                  <a:pt x="2943253" y="4433185"/>
                </a:cubicBezTo>
                <a:cubicBezTo>
                  <a:pt x="2959967" y="4426818"/>
                  <a:pt x="2974691" y="4421246"/>
                  <a:pt x="2991007" y="4415277"/>
                </a:cubicBezTo>
                <a:cubicBezTo>
                  <a:pt x="2979466" y="4385033"/>
                  <a:pt x="2968324" y="4356778"/>
                  <a:pt x="2956783" y="4327330"/>
                </a:cubicBezTo>
                <a:close/>
                <a:moveTo>
                  <a:pt x="1836150" y="4315789"/>
                </a:moveTo>
                <a:cubicBezTo>
                  <a:pt x="1832569" y="4331707"/>
                  <a:pt x="1829783" y="4344840"/>
                  <a:pt x="1826599" y="4359564"/>
                </a:cubicBezTo>
                <a:cubicBezTo>
                  <a:pt x="1854854" y="4365931"/>
                  <a:pt x="1881119" y="4371502"/>
                  <a:pt x="1909771" y="4377870"/>
                </a:cubicBezTo>
                <a:cubicBezTo>
                  <a:pt x="1912955" y="4361553"/>
                  <a:pt x="1915343" y="4348421"/>
                  <a:pt x="1918128" y="4333299"/>
                </a:cubicBezTo>
                <a:cubicBezTo>
                  <a:pt x="1890272" y="4327330"/>
                  <a:pt x="1863609" y="4321758"/>
                  <a:pt x="1836150" y="4315789"/>
                </a:cubicBezTo>
                <a:close/>
                <a:moveTo>
                  <a:pt x="3009313" y="4306239"/>
                </a:moveTo>
                <a:cubicBezTo>
                  <a:pt x="2993394" y="4312606"/>
                  <a:pt x="2979864" y="4318177"/>
                  <a:pt x="2964344" y="4324544"/>
                </a:cubicBezTo>
                <a:cubicBezTo>
                  <a:pt x="2976283" y="4354788"/>
                  <a:pt x="2987425" y="4383441"/>
                  <a:pt x="2998966" y="4412094"/>
                </a:cubicBezTo>
                <a:cubicBezTo>
                  <a:pt x="3015680" y="4405328"/>
                  <a:pt x="3029608" y="4399757"/>
                  <a:pt x="3045924" y="4392992"/>
                </a:cubicBezTo>
                <a:cubicBezTo>
                  <a:pt x="3033190" y="4363145"/>
                  <a:pt x="3021649" y="4335289"/>
                  <a:pt x="3009313" y="4306239"/>
                </a:cubicBezTo>
                <a:close/>
                <a:moveTo>
                  <a:pt x="2166848" y="4291116"/>
                </a:moveTo>
                <a:cubicBezTo>
                  <a:pt x="2165654" y="4311014"/>
                  <a:pt x="2164461" y="4330514"/>
                  <a:pt x="2163267" y="4352003"/>
                </a:cubicBezTo>
                <a:cubicBezTo>
                  <a:pt x="2184756" y="4352003"/>
                  <a:pt x="2204654" y="4352003"/>
                  <a:pt x="2226143" y="4352003"/>
                </a:cubicBezTo>
                <a:cubicBezTo>
                  <a:pt x="2226143" y="4332105"/>
                  <a:pt x="2226143" y="4312606"/>
                  <a:pt x="2225745" y="4291116"/>
                </a:cubicBezTo>
                <a:cubicBezTo>
                  <a:pt x="2206246" y="4291116"/>
                  <a:pt x="2187144" y="4291116"/>
                  <a:pt x="2166848" y="4291116"/>
                </a:cubicBezTo>
                <a:close/>
                <a:moveTo>
                  <a:pt x="2297619" y="4290519"/>
                </a:moveTo>
                <a:cubicBezTo>
                  <a:pt x="2288995" y="4290868"/>
                  <a:pt x="2276683" y="4292012"/>
                  <a:pt x="2259173" y="4292310"/>
                </a:cubicBezTo>
                <a:cubicBezTo>
                  <a:pt x="2258377" y="4292310"/>
                  <a:pt x="2257979" y="4292708"/>
                  <a:pt x="2255592" y="4293902"/>
                </a:cubicBezTo>
                <a:cubicBezTo>
                  <a:pt x="2255592" y="4313799"/>
                  <a:pt x="2255592" y="4333299"/>
                  <a:pt x="2255592" y="4353197"/>
                </a:cubicBezTo>
                <a:cubicBezTo>
                  <a:pt x="2276683" y="4353197"/>
                  <a:pt x="2296581" y="4353197"/>
                  <a:pt x="2316478" y="4353197"/>
                </a:cubicBezTo>
                <a:cubicBezTo>
                  <a:pt x="2316179" y="4295594"/>
                  <a:pt x="2323492" y="4289475"/>
                  <a:pt x="2297619" y="4290519"/>
                </a:cubicBezTo>
                <a:close/>
                <a:moveTo>
                  <a:pt x="3061046" y="4283555"/>
                </a:moveTo>
                <a:cubicBezTo>
                  <a:pt x="3045526" y="4290320"/>
                  <a:pt x="3031996" y="4296688"/>
                  <a:pt x="3016874" y="4303453"/>
                </a:cubicBezTo>
                <a:cubicBezTo>
                  <a:pt x="3029608" y="4332901"/>
                  <a:pt x="3041547" y="4361156"/>
                  <a:pt x="3053883" y="4390206"/>
                </a:cubicBezTo>
                <a:cubicBezTo>
                  <a:pt x="3070597" y="4382645"/>
                  <a:pt x="3084526" y="4376278"/>
                  <a:pt x="3100046" y="4369115"/>
                </a:cubicBezTo>
                <a:cubicBezTo>
                  <a:pt x="3086913" y="4340064"/>
                  <a:pt x="3074577" y="4313401"/>
                  <a:pt x="3061046" y="4283555"/>
                </a:cubicBezTo>
                <a:close/>
                <a:moveTo>
                  <a:pt x="1719948" y="4283157"/>
                </a:moveTo>
                <a:cubicBezTo>
                  <a:pt x="1715571" y="4298677"/>
                  <a:pt x="1711591" y="4311809"/>
                  <a:pt x="1706816" y="4326136"/>
                </a:cubicBezTo>
                <a:cubicBezTo>
                  <a:pt x="1734673" y="4334493"/>
                  <a:pt x="1760539" y="4341656"/>
                  <a:pt x="1788794" y="4350013"/>
                </a:cubicBezTo>
                <a:cubicBezTo>
                  <a:pt x="1793171" y="4334493"/>
                  <a:pt x="1796753" y="4321360"/>
                  <a:pt x="1800733" y="4306239"/>
                </a:cubicBezTo>
                <a:cubicBezTo>
                  <a:pt x="1773274" y="4298279"/>
                  <a:pt x="1747407" y="4290718"/>
                  <a:pt x="1719948" y="4283157"/>
                </a:cubicBezTo>
                <a:close/>
                <a:moveTo>
                  <a:pt x="2079299" y="4281167"/>
                </a:moveTo>
                <a:cubicBezTo>
                  <a:pt x="2076911" y="4303055"/>
                  <a:pt x="2074921" y="4322952"/>
                  <a:pt x="2072534" y="4344442"/>
                </a:cubicBezTo>
                <a:cubicBezTo>
                  <a:pt x="2094023" y="4346432"/>
                  <a:pt x="2113523" y="4348023"/>
                  <a:pt x="2135012" y="4350013"/>
                </a:cubicBezTo>
                <a:cubicBezTo>
                  <a:pt x="2136604" y="4327728"/>
                  <a:pt x="2138196" y="4307830"/>
                  <a:pt x="2139390" y="4287137"/>
                </a:cubicBezTo>
                <a:cubicBezTo>
                  <a:pt x="2118696" y="4285147"/>
                  <a:pt x="2100390" y="4283157"/>
                  <a:pt x="2079299" y="4281167"/>
                </a:cubicBezTo>
                <a:close/>
                <a:moveTo>
                  <a:pt x="2819489" y="4267637"/>
                </a:moveTo>
                <a:cubicBezTo>
                  <a:pt x="2803969" y="4272413"/>
                  <a:pt x="2790439" y="4276790"/>
                  <a:pt x="2775715" y="4281167"/>
                </a:cubicBezTo>
                <a:cubicBezTo>
                  <a:pt x="2784868" y="4312208"/>
                  <a:pt x="2793225" y="4340860"/>
                  <a:pt x="2801980" y="4371104"/>
                </a:cubicBezTo>
                <a:cubicBezTo>
                  <a:pt x="2817898" y="4366329"/>
                  <a:pt x="2831826" y="4362350"/>
                  <a:pt x="2848142" y="4357574"/>
                </a:cubicBezTo>
                <a:cubicBezTo>
                  <a:pt x="2838193" y="4326534"/>
                  <a:pt x="2829040" y="4297881"/>
                  <a:pt x="2819489" y="4267637"/>
                </a:cubicBezTo>
                <a:close/>
                <a:moveTo>
                  <a:pt x="1467647" y="4254106"/>
                </a:moveTo>
                <a:cubicBezTo>
                  <a:pt x="1460882" y="4268035"/>
                  <a:pt x="1454912" y="4280372"/>
                  <a:pt x="1448545" y="4295096"/>
                </a:cubicBezTo>
                <a:cubicBezTo>
                  <a:pt x="1476004" y="4307034"/>
                  <a:pt x="1502269" y="4318575"/>
                  <a:pt x="1529727" y="4330911"/>
                </a:cubicBezTo>
                <a:cubicBezTo>
                  <a:pt x="1535697" y="4316187"/>
                  <a:pt x="1540870" y="4303453"/>
                  <a:pt x="1546839" y="4289524"/>
                </a:cubicBezTo>
                <a:cubicBezTo>
                  <a:pt x="1520574" y="4277586"/>
                  <a:pt x="1495503" y="4266443"/>
                  <a:pt x="1467647" y="4254106"/>
                </a:cubicBezTo>
                <a:close/>
                <a:moveTo>
                  <a:pt x="1851670" y="4251719"/>
                </a:moveTo>
                <a:cubicBezTo>
                  <a:pt x="1848487" y="4267637"/>
                  <a:pt x="1845303" y="4280770"/>
                  <a:pt x="1842120" y="4295494"/>
                </a:cubicBezTo>
                <a:cubicBezTo>
                  <a:pt x="1869578" y="4301861"/>
                  <a:pt x="1895047" y="4307432"/>
                  <a:pt x="1922108" y="4313401"/>
                </a:cubicBezTo>
                <a:cubicBezTo>
                  <a:pt x="1925291" y="4298677"/>
                  <a:pt x="1928077" y="4285147"/>
                  <a:pt x="1930863" y="4268831"/>
                </a:cubicBezTo>
                <a:cubicBezTo>
                  <a:pt x="1903404" y="4262862"/>
                  <a:pt x="1877935" y="4257290"/>
                  <a:pt x="1851670" y="4251719"/>
                </a:cubicBezTo>
                <a:close/>
                <a:moveTo>
                  <a:pt x="2870029" y="4250525"/>
                </a:moveTo>
                <a:cubicBezTo>
                  <a:pt x="2854907" y="4255698"/>
                  <a:pt x="2841775" y="4260474"/>
                  <a:pt x="2826653" y="4265647"/>
                </a:cubicBezTo>
                <a:cubicBezTo>
                  <a:pt x="2836999" y="4296688"/>
                  <a:pt x="2846152" y="4325340"/>
                  <a:pt x="2856101" y="4355186"/>
                </a:cubicBezTo>
                <a:cubicBezTo>
                  <a:pt x="2872417" y="4349217"/>
                  <a:pt x="2886346" y="4344442"/>
                  <a:pt x="2901468" y="4338870"/>
                </a:cubicBezTo>
                <a:cubicBezTo>
                  <a:pt x="2890325" y="4307830"/>
                  <a:pt x="2880376" y="4279575"/>
                  <a:pt x="2870029" y="4250525"/>
                </a:cubicBezTo>
                <a:close/>
                <a:moveTo>
                  <a:pt x="1606134" y="4242964"/>
                </a:moveTo>
                <a:cubicBezTo>
                  <a:pt x="1600563" y="4257290"/>
                  <a:pt x="1595787" y="4270025"/>
                  <a:pt x="1589818" y="4284749"/>
                </a:cubicBezTo>
                <a:cubicBezTo>
                  <a:pt x="1617277" y="4294698"/>
                  <a:pt x="1643144" y="4304249"/>
                  <a:pt x="1670204" y="4314198"/>
                </a:cubicBezTo>
                <a:cubicBezTo>
                  <a:pt x="1675378" y="4299075"/>
                  <a:pt x="1679755" y="4286739"/>
                  <a:pt x="1684929" y="4271616"/>
                </a:cubicBezTo>
                <a:cubicBezTo>
                  <a:pt x="1658266" y="4261668"/>
                  <a:pt x="1633195" y="4252515"/>
                  <a:pt x="1606134" y="4242964"/>
                </a:cubicBezTo>
                <a:close/>
                <a:moveTo>
                  <a:pt x="2919773" y="4232219"/>
                </a:moveTo>
                <a:cubicBezTo>
                  <a:pt x="2904651" y="4237791"/>
                  <a:pt x="2891917" y="4242566"/>
                  <a:pt x="2877192" y="4248137"/>
                </a:cubicBezTo>
                <a:cubicBezTo>
                  <a:pt x="2887937" y="4277984"/>
                  <a:pt x="2898284" y="4307034"/>
                  <a:pt x="2909029" y="4336881"/>
                </a:cubicBezTo>
                <a:cubicBezTo>
                  <a:pt x="2925345" y="4330911"/>
                  <a:pt x="2939273" y="4325738"/>
                  <a:pt x="2953997" y="4320167"/>
                </a:cubicBezTo>
                <a:cubicBezTo>
                  <a:pt x="2942059" y="4289922"/>
                  <a:pt x="2931314" y="4261270"/>
                  <a:pt x="2919773" y="4232219"/>
                </a:cubicBezTo>
                <a:close/>
                <a:moveTo>
                  <a:pt x="1739846" y="4221077"/>
                </a:moveTo>
                <a:cubicBezTo>
                  <a:pt x="1735070" y="4235801"/>
                  <a:pt x="1731091" y="4248137"/>
                  <a:pt x="1726315" y="4264055"/>
                </a:cubicBezTo>
                <a:cubicBezTo>
                  <a:pt x="1754172" y="4271616"/>
                  <a:pt x="1779641" y="4278780"/>
                  <a:pt x="1806304" y="4286341"/>
                </a:cubicBezTo>
                <a:cubicBezTo>
                  <a:pt x="1810283" y="4270423"/>
                  <a:pt x="1813865" y="4257290"/>
                  <a:pt x="1817446" y="4242964"/>
                </a:cubicBezTo>
                <a:cubicBezTo>
                  <a:pt x="1790386" y="4235403"/>
                  <a:pt x="1765713" y="4228240"/>
                  <a:pt x="1739846" y="4221077"/>
                </a:cubicBezTo>
                <a:close/>
                <a:moveTo>
                  <a:pt x="2969915" y="4211924"/>
                </a:moveTo>
                <a:cubicBezTo>
                  <a:pt x="2955191" y="4218291"/>
                  <a:pt x="2942059" y="4223862"/>
                  <a:pt x="2927732" y="4229831"/>
                </a:cubicBezTo>
                <a:cubicBezTo>
                  <a:pt x="2939273" y="4260076"/>
                  <a:pt x="2950416" y="4288331"/>
                  <a:pt x="2961956" y="4317381"/>
                </a:cubicBezTo>
                <a:cubicBezTo>
                  <a:pt x="2978272" y="4310616"/>
                  <a:pt x="2992201" y="4304647"/>
                  <a:pt x="3006527" y="4298677"/>
                </a:cubicBezTo>
                <a:cubicBezTo>
                  <a:pt x="2994190" y="4269229"/>
                  <a:pt x="2982650" y="4241770"/>
                  <a:pt x="2969915" y="4211924"/>
                </a:cubicBezTo>
                <a:close/>
                <a:moveTo>
                  <a:pt x="2171624" y="4197995"/>
                </a:moveTo>
                <a:cubicBezTo>
                  <a:pt x="2170828" y="4218291"/>
                  <a:pt x="2170032" y="4238188"/>
                  <a:pt x="2168838" y="4259678"/>
                </a:cubicBezTo>
                <a:cubicBezTo>
                  <a:pt x="2189532" y="4259678"/>
                  <a:pt x="2208235" y="4259678"/>
                  <a:pt x="2228133" y="4259678"/>
                </a:cubicBezTo>
                <a:cubicBezTo>
                  <a:pt x="2228133" y="4239382"/>
                  <a:pt x="2228133" y="4219485"/>
                  <a:pt x="2227735" y="4197995"/>
                </a:cubicBezTo>
                <a:cubicBezTo>
                  <a:pt x="2208633" y="4197995"/>
                  <a:pt x="2191123" y="4197995"/>
                  <a:pt x="2171624" y="4197995"/>
                </a:cubicBezTo>
                <a:close/>
                <a:moveTo>
                  <a:pt x="2396069" y="4194016"/>
                </a:moveTo>
                <a:cubicBezTo>
                  <a:pt x="2376171" y="4195608"/>
                  <a:pt x="2358661" y="4196802"/>
                  <a:pt x="2341947" y="4197995"/>
                </a:cubicBezTo>
                <a:cubicBezTo>
                  <a:pt x="2341947" y="4219485"/>
                  <a:pt x="2341947" y="4239382"/>
                  <a:pt x="2341549" y="4261270"/>
                </a:cubicBezTo>
                <a:cubicBezTo>
                  <a:pt x="2362243" y="4260076"/>
                  <a:pt x="2380549" y="4258882"/>
                  <a:pt x="2401640" y="4257688"/>
                </a:cubicBezTo>
                <a:cubicBezTo>
                  <a:pt x="2399650" y="4235005"/>
                  <a:pt x="2398058" y="4214710"/>
                  <a:pt x="2396069" y="4194016"/>
                </a:cubicBezTo>
                <a:close/>
                <a:moveTo>
                  <a:pt x="2089248" y="4189638"/>
                </a:moveTo>
                <a:cubicBezTo>
                  <a:pt x="2087258" y="4210730"/>
                  <a:pt x="2084870" y="4230229"/>
                  <a:pt x="2082483" y="4252515"/>
                </a:cubicBezTo>
                <a:cubicBezTo>
                  <a:pt x="2103574" y="4254505"/>
                  <a:pt x="2122278" y="4256096"/>
                  <a:pt x="2141777" y="4258086"/>
                </a:cubicBezTo>
                <a:cubicBezTo>
                  <a:pt x="2143369" y="4235403"/>
                  <a:pt x="2144563" y="4215505"/>
                  <a:pt x="2146155" y="4194812"/>
                </a:cubicBezTo>
                <a:cubicBezTo>
                  <a:pt x="2125859" y="4192822"/>
                  <a:pt x="2108350" y="4191230"/>
                  <a:pt x="2089248" y="4189638"/>
                </a:cubicBezTo>
                <a:close/>
                <a:moveTo>
                  <a:pt x="2687767" y="4183669"/>
                </a:moveTo>
                <a:cubicBezTo>
                  <a:pt x="2673839" y="4187251"/>
                  <a:pt x="2662697" y="4190434"/>
                  <a:pt x="2649962" y="4193618"/>
                </a:cubicBezTo>
                <a:cubicBezTo>
                  <a:pt x="2653544" y="4207944"/>
                  <a:pt x="2656727" y="4220281"/>
                  <a:pt x="2659911" y="4233811"/>
                </a:cubicBezTo>
                <a:cubicBezTo>
                  <a:pt x="2673441" y="4230628"/>
                  <a:pt x="2684982" y="4227444"/>
                  <a:pt x="2697716" y="4224260"/>
                </a:cubicBezTo>
                <a:cubicBezTo>
                  <a:pt x="2694135" y="4210730"/>
                  <a:pt x="2691349" y="4198393"/>
                  <a:pt x="2687767" y="4183669"/>
                </a:cubicBezTo>
                <a:close/>
                <a:moveTo>
                  <a:pt x="1630011" y="4182077"/>
                </a:moveTo>
                <a:cubicBezTo>
                  <a:pt x="1624440" y="4196403"/>
                  <a:pt x="1619664" y="4209536"/>
                  <a:pt x="1614093" y="4223862"/>
                </a:cubicBezTo>
                <a:cubicBezTo>
                  <a:pt x="1640358" y="4233413"/>
                  <a:pt x="1665429" y="4242566"/>
                  <a:pt x="1691296" y="4252515"/>
                </a:cubicBezTo>
                <a:cubicBezTo>
                  <a:pt x="1696469" y="4237393"/>
                  <a:pt x="1700847" y="4225056"/>
                  <a:pt x="1706020" y="4209934"/>
                </a:cubicBezTo>
                <a:cubicBezTo>
                  <a:pt x="1679755" y="4200383"/>
                  <a:pt x="1655480" y="4191230"/>
                  <a:pt x="1630011" y="4182077"/>
                </a:cubicBezTo>
                <a:close/>
                <a:moveTo>
                  <a:pt x="2788449" y="4170139"/>
                </a:moveTo>
                <a:cubicBezTo>
                  <a:pt x="2773327" y="4174914"/>
                  <a:pt x="2760991" y="4178894"/>
                  <a:pt x="2747062" y="4183271"/>
                </a:cubicBezTo>
                <a:cubicBezTo>
                  <a:pt x="2756215" y="4213913"/>
                  <a:pt x="2764970" y="4243362"/>
                  <a:pt x="2773725" y="4273208"/>
                </a:cubicBezTo>
                <a:cubicBezTo>
                  <a:pt x="2789245" y="4268433"/>
                  <a:pt x="2802378" y="4264454"/>
                  <a:pt x="2817102" y="4259678"/>
                </a:cubicBezTo>
                <a:cubicBezTo>
                  <a:pt x="2807153" y="4229036"/>
                  <a:pt x="2798000" y="4199985"/>
                  <a:pt x="2788449" y="4170139"/>
                </a:cubicBezTo>
                <a:close/>
                <a:moveTo>
                  <a:pt x="2836203" y="4154220"/>
                </a:moveTo>
                <a:cubicBezTo>
                  <a:pt x="2821479" y="4159394"/>
                  <a:pt x="2809143" y="4163374"/>
                  <a:pt x="2794817" y="4167751"/>
                </a:cubicBezTo>
                <a:cubicBezTo>
                  <a:pt x="2804765" y="4198393"/>
                  <a:pt x="2814316" y="4227444"/>
                  <a:pt x="2824265" y="4257688"/>
                </a:cubicBezTo>
                <a:cubicBezTo>
                  <a:pt x="2840183" y="4252117"/>
                  <a:pt x="2853315" y="4247341"/>
                  <a:pt x="2867244" y="4242168"/>
                </a:cubicBezTo>
                <a:cubicBezTo>
                  <a:pt x="2856897" y="4211924"/>
                  <a:pt x="2846948" y="4184067"/>
                  <a:pt x="2836203" y="4154220"/>
                </a:cubicBezTo>
                <a:close/>
                <a:moveTo>
                  <a:pt x="2599820" y="4145864"/>
                </a:moveTo>
                <a:cubicBezTo>
                  <a:pt x="2587484" y="4148251"/>
                  <a:pt x="2576739" y="4150241"/>
                  <a:pt x="2563209" y="4152629"/>
                </a:cubicBezTo>
                <a:cubicBezTo>
                  <a:pt x="2565994" y="4168149"/>
                  <a:pt x="2568382" y="4180485"/>
                  <a:pt x="2571168" y="4194016"/>
                </a:cubicBezTo>
                <a:cubicBezTo>
                  <a:pt x="2584698" y="4191230"/>
                  <a:pt x="2595841" y="4188843"/>
                  <a:pt x="2608575" y="4186454"/>
                </a:cubicBezTo>
                <a:cubicBezTo>
                  <a:pt x="2605391" y="4171730"/>
                  <a:pt x="2602606" y="4159394"/>
                  <a:pt x="2599820" y="4145864"/>
                </a:cubicBezTo>
                <a:close/>
                <a:moveTo>
                  <a:pt x="1522962" y="4135915"/>
                </a:moveTo>
                <a:cubicBezTo>
                  <a:pt x="1516595" y="4149843"/>
                  <a:pt x="1510626" y="4162577"/>
                  <a:pt x="1504258" y="4176506"/>
                </a:cubicBezTo>
                <a:cubicBezTo>
                  <a:pt x="1530125" y="4188046"/>
                  <a:pt x="1554002" y="4198792"/>
                  <a:pt x="1579471" y="4209934"/>
                </a:cubicBezTo>
                <a:cubicBezTo>
                  <a:pt x="1585441" y="4196006"/>
                  <a:pt x="1590614" y="4183271"/>
                  <a:pt x="1596981" y="4168547"/>
                </a:cubicBezTo>
                <a:cubicBezTo>
                  <a:pt x="1571512" y="4157404"/>
                  <a:pt x="1548033" y="4147058"/>
                  <a:pt x="1522962" y="4135915"/>
                </a:cubicBezTo>
                <a:close/>
                <a:moveTo>
                  <a:pt x="2773725" y="4125568"/>
                </a:moveTo>
                <a:cubicBezTo>
                  <a:pt x="2759399" y="4130343"/>
                  <a:pt x="2747460" y="4134323"/>
                  <a:pt x="2734328" y="4138700"/>
                </a:cubicBezTo>
                <a:cubicBezTo>
                  <a:pt x="2738307" y="4151833"/>
                  <a:pt x="2741491" y="4162976"/>
                  <a:pt x="2745073" y="4175312"/>
                </a:cubicBezTo>
                <a:cubicBezTo>
                  <a:pt x="2759001" y="4170935"/>
                  <a:pt x="2770939" y="4167353"/>
                  <a:pt x="2786062" y="4162976"/>
                </a:cubicBezTo>
                <a:cubicBezTo>
                  <a:pt x="2781684" y="4149047"/>
                  <a:pt x="2777704" y="4137905"/>
                  <a:pt x="2773725" y="4125568"/>
                </a:cubicBezTo>
                <a:close/>
                <a:moveTo>
                  <a:pt x="1883507" y="4125170"/>
                </a:moveTo>
                <a:cubicBezTo>
                  <a:pt x="1879925" y="4140292"/>
                  <a:pt x="1876343" y="4154220"/>
                  <a:pt x="1872762" y="4168945"/>
                </a:cubicBezTo>
                <a:cubicBezTo>
                  <a:pt x="1898231" y="4174516"/>
                  <a:pt x="1921312" y="4179689"/>
                  <a:pt x="1947577" y="4185659"/>
                </a:cubicBezTo>
                <a:cubicBezTo>
                  <a:pt x="1950363" y="4169741"/>
                  <a:pt x="1953148" y="4155812"/>
                  <a:pt x="1956332" y="4141088"/>
                </a:cubicBezTo>
                <a:cubicBezTo>
                  <a:pt x="1930863" y="4135517"/>
                  <a:pt x="1908180" y="4130741"/>
                  <a:pt x="1883507" y="4125170"/>
                </a:cubicBezTo>
                <a:close/>
                <a:moveTo>
                  <a:pt x="1996525" y="4124374"/>
                </a:moveTo>
                <a:cubicBezTo>
                  <a:pt x="1991352" y="4153027"/>
                  <a:pt x="1986974" y="4179292"/>
                  <a:pt x="1982199" y="4207546"/>
                </a:cubicBezTo>
                <a:cubicBezTo>
                  <a:pt x="2004882" y="4210730"/>
                  <a:pt x="2025177" y="4213913"/>
                  <a:pt x="2047463" y="4217097"/>
                </a:cubicBezTo>
                <a:cubicBezTo>
                  <a:pt x="2051442" y="4188444"/>
                  <a:pt x="2055024" y="4161782"/>
                  <a:pt x="2058605" y="4133527"/>
                </a:cubicBezTo>
                <a:cubicBezTo>
                  <a:pt x="2037514" y="4130343"/>
                  <a:pt x="2017616" y="4127558"/>
                  <a:pt x="1996525" y="4124374"/>
                </a:cubicBezTo>
                <a:close/>
                <a:moveTo>
                  <a:pt x="1653888" y="4120792"/>
                </a:moveTo>
                <a:cubicBezTo>
                  <a:pt x="1648317" y="4135517"/>
                  <a:pt x="1643144" y="4148649"/>
                  <a:pt x="1637572" y="4162976"/>
                </a:cubicBezTo>
                <a:cubicBezTo>
                  <a:pt x="1663837" y="4172526"/>
                  <a:pt x="1687316" y="4181281"/>
                  <a:pt x="1712785" y="4190036"/>
                </a:cubicBezTo>
                <a:cubicBezTo>
                  <a:pt x="1717958" y="4174516"/>
                  <a:pt x="1721938" y="4161782"/>
                  <a:pt x="1726713" y="4147455"/>
                </a:cubicBezTo>
                <a:cubicBezTo>
                  <a:pt x="1702040" y="4138700"/>
                  <a:pt x="1678561" y="4129945"/>
                  <a:pt x="1653888" y="4120792"/>
                </a:cubicBezTo>
                <a:close/>
                <a:moveTo>
                  <a:pt x="2930518" y="4117609"/>
                </a:moveTo>
                <a:cubicBezTo>
                  <a:pt x="2916192" y="4123578"/>
                  <a:pt x="2904651" y="4127956"/>
                  <a:pt x="2890325" y="4133925"/>
                </a:cubicBezTo>
                <a:cubicBezTo>
                  <a:pt x="2901866" y="4164169"/>
                  <a:pt x="2913008" y="4192026"/>
                  <a:pt x="2924549" y="4221872"/>
                </a:cubicBezTo>
                <a:cubicBezTo>
                  <a:pt x="2939273" y="4215903"/>
                  <a:pt x="2952405" y="4210730"/>
                  <a:pt x="2967130" y="4204362"/>
                </a:cubicBezTo>
                <a:cubicBezTo>
                  <a:pt x="2954395" y="4174516"/>
                  <a:pt x="2942457" y="4146261"/>
                  <a:pt x="2930518" y="4117609"/>
                </a:cubicBezTo>
                <a:close/>
                <a:moveTo>
                  <a:pt x="2820683" y="4110446"/>
                </a:moveTo>
                <a:cubicBezTo>
                  <a:pt x="2806755" y="4114823"/>
                  <a:pt x="2795214" y="4118803"/>
                  <a:pt x="2780888" y="4123976"/>
                </a:cubicBezTo>
                <a:cubicBezTo>
                  <a:pt x="2785266" y="4137109"/>
                  <a:pt x="2788847" y="4147853"/>
                  <a:pt x="2792827" y="4160588"/>
                </a:cubicBezTo>
                <a:cubicBezTo>
                  <a:pt x="2807153" y="4155415"/>
                  <a:pt x="2819888" y="4151037"/>
                  <a:pt x="2833418" y="4146261"/>
                </a:cubicBezTo>
                <a:cubicBezTo>
                  <a:pt x="2828643" y="4132731"/>
                  <a:pt x="2824663" y="4121986"/>
                  <a:pt x="2820683" y="4110446"/>
                </a:cubicBezTo>
                <a:close/>
                <a:moveTo>
                  <a:pt x="2256786" y="4107660"/>
                </a:moveTo>
                <a:cubicBezTo>
                  <a:pt x="2256786" y="4128751"/>
                  <a:pt x="2256786" y="4148251"/>
                  <a:pt x="2256786" y="4168547"/>
                </a:cubicBezTo>
                <a:cubicBezTo>
                  <a:pt x="2275887" y="4168547"/>
                  <a:pt x="2293795" y="4168547"/>
                  <a:pt x="2310111" y="4168547"/>
                </a:cubicBezTo>
                <a:cubicBezTo>
                  <a:pt x="2310111" y="4146659"/>
                  <a:pt x="2310111" y="4126762"/>
                  <a:pt x="2310111" y="4107660"/>
                </a:cubicBezTo>
                <a:cubicBezTo>
                  <a:pt x="2291009" y="4107660"/>
                  <a:pt x="2274295" y="4107660"/>
                  <a:pt x="2256786" y="4107660"/>
                </a:cubicBezTo>
                <a:close/>
                <a:moveTo>
                  <a:pt x="2177593" y="4104079"/>
                </a:moveTo>
                <a:cubicBezTo>
                  <a:pt x="2176399" y="4125568"/>
                  <a:pt x="2175205" y="4145466"/>
                  <a:pt x="2173613" y="4167751"/>
                </a:cubicBezTo>
                <a:cubicBezTo>
                  <a:pt x="2193511" y="4167751"/>
                  <a:pt x="2211021" y="4167751"/>
                  <a:pt x="2230123" y="4167751"/>
                </a:cubicBezTo>
                <a:cubicBezTo>
                  <a:pt x="2230123" y="4147853"/>
                  <a:pt x="2230123" y="4128354"/>
                  <a:pt x="2230123" y="4106466"/>
                </a:cubicBezTo>
                <a:cubicBezTo>
                  <a:pt x="2212613" y="4105671"/>
                  <a:pt x="2196297" y="4104874"/>
                  <a:pt x="2177593" y="4104079"/>
                </a:cubicBezTo>
                <a:close/>
                <a:moveTo>
                  <a:pt x="2389701" y="4102089"/>
                </a:moveTo>
                <a:cubicBezTo>
                  <a:pt x="2370600" y="4103283"/>
                  <a:pt x="2354284" y="4104476"/>
                  <a:pt x="2335580" y="4105671"/>
                </a:cubicBezTo>
                <a:cubicBezTo>
                  <a:pt x="2336376" y="4127956"/>
                  <a:pt x="2337570" y="4147455"/>
                  <a:pt x="2338764" y="4169343"/>
                </a:cubicBezTo>
                <a:cubicBezTo>
                  <a:pt x="2357865" y="4168149"/>
                  <a:pt x="2375375" y="4166955"/>
                  <a:pt x="2394875" y="4165363"/>
                </a:cubicBezTo>
                <a:cubicBezTo>
                  <a:pt x="2392885" y="4143476"/>
                  <a:pt x="2391293" y="4123578"/>
                  <a:pt x="2389701" y="4102089"/>
                </a:cubicBezTo>
                <a:close/>
                <a:moveTo>
                  <a:pt x="2514260" y="4101293"/>
                </a:moveTo>
                <a:cubicBezTo>
                  <a:pt x="2502720" y="4102487"/>
                  <a:pt x="2492373" y="4104079"/>
                  <a:pt x="2478843" y="4105671"/>
                </a:cubicBezTo>
                <a:cubicBezTo>
                  <a:pt x="2481230" y="4121191"/>
                  <a:pt x="2483220" y="4133527"/>
                  <a:pt x="2485210" y="4147455"/>
                </a:cubicBezTo>
                <a:cubicBezTo>
                  <a:pt x="2498342" y="4145068"/>
                  <a:pt x="2509485" y="4143476"/>
                  <a:pt x="2521025" y="4141486"/>
                </a:cubicBezTo>
                <a:cubicBezTo>
                  <a:pt x="2518638" y="4127160"/>
                  <a:pt x="2516648" y="4114823"/>
                  <a:pt x="2514260" y="4101293"/>
                </a:cubicBezTo>
                <a:close/>
                <a:moveTo>
                  <a:pt x="1067705" y="4101293"/>
                </a:moveTo>
                <a:cubicBezTo>
                  <a:pt x="1057358" y="4114823"/>
                  <a:pt x="1047807" y="4127160"/>
                  <a:pt x="1037859" y="4140292"/>
                </a:cubicBezTo>
                <a:cubicBezTo>
                  <a:pt x="1054573" y="4152231"/>
                  <a:pt x="1067307" y="4161782"/>
                  <a:pt x="1081235" y="4172128"/>
                </a:cubicBezTo>
                <a:cubicBezTo>
                  <a:pt x="1091582" y="4158200"/>
                  <a:pt x="1100337" y="4145864"/>
                  <a:pt x="1109888" y="4133129"/>
                </a:cubicBezTo>
                <a:cubicBezTo>
                  <a:pt x="1095164" y="4121986"/>
                  <a:pt x="1082031" y="4112038"/>
                  <a:pt x="1067705" y="4101293"/>
                </a:cubicBezTo>
                <a:close/>
                <a:moveTo>
                  <a:pt x="2975885" y="4097711"/>
                </a:moveTo>
                <a:cubicBezTo>
                  <a:pt x="2962354" y="4104079"/>
                  <a:pt x="2950018" y="4109650"/>
                  <a:pt x="2936487" y="4115619"/>
                </a:cubicBezTo>
                <a:cubicBezTo>
                  <a:pt x="2949222" y="4145068"/>
                  <a:pt x="2961160" y="4173322"/>
                  <a:pt x="2973497" y="4201975"/>
                </a:cubicBezTo>
                <a:cubicBezTo>
                  <a:pt x="2989017" y="4195210"/>
                  <a:pt x="3001354" y="4189638"/>
                  <a:pt x="3015282" y="4183271"/>
                </a:cubicBezTo>
                <a:cubicBezTo>
                  <a:pt x="3002149" y="4154220"/>
                  <a:pt x="2989813" y="4126762"/>
                  <a:pt x="2975885" y="4097711"/>
                </a:cubicBezTo>
                <a:close/>
                <a:moveTo>
                  <a:pt x="1779243" y="4096120"/>
                </a:moveTo>
                <a:cubicBezTo>
                  <a:pt x="1774866" y="4110844"/>
                  <a:pt x="1770886" y="4123976"/>
                  <a:pt x="1766111" y="4139099"/>
                </a:cubicBezTo>
                <a:cubicBezTo>
                  <a:pt x="1791580" y="4146261"/>
                  <a:pt x="1815059" y="4153027"/>
                  <a:pt x="1839732" y="4159792"/>
                </a:cubicBezTo>
                <a:cubicBezTo>
                  <a:pt x="1843711" y="4144272"/>
                  <a:pt x="1846895" y="4131537"/>
                  <a:pt x="1850875" y="4116415"/>
                </a:cubicBezTo>
                <a:cubicBezTo>
                  <a:pt x="1825803" y="4109252"/>
                  <a:pt x="1803518" y="4102885"/>
                  <a:pt x="1779243" y="4096120"/>
                </a:cubicBezTo>
                <a:close/>
                <a:moveTo>
                  <a:pt x="2866050" y="4093334"/>
                </a:moveTo>
                <a:cubicBezTo>
                  <a:pt x="2852122" y="4098507"/>
                  <a:pt x="2840183" y="4103283"/>
                  <a:pt x="2827448" y="4108058"/>
                </a:cubicBezTo>
                <a:cubicBezTo>
                  <a:pt x="2831826" y="4120395"/>
                  <a:pt x="2835806" y="4130741"/>
                  <a:pt x="2840581" y="4144272"/>
                </a:cubicBezTo>
                <a:cubicBezTo>
                  <a:pt x="2854907" y="4138700"/>
                  <a:pt x="2867642" y="4133527"/>
                  <a:pt x="2880774" y="4128354"/>
                </a:cubicBezTo>
                <a:cubicBezTo>
                  <a:pt x="2875203" y="4115221"/>
                  <a:pt x="2870825" y="4104476"/>
                  <a:pt x="2866050" y="4093334"/>
                </a:cubicBezTo>
                <a:close/>
                <a:moveTo>
                  <a:pt x="3548537" y="4083783"/>
                </a:moveTo>
                <a:cubicBezTo>
                  <a:pt x="3535007" y="4094926"/>
                  <a:pt x="3522671" y="4104874"/>
                  <a:pt x="3509538" y="4115619"/>
                </a:cubicBezTo>
                <a:cubicBezTo>
                  <a:pt x="3517895" y="4125966"/>
                  <a:pt x="3525058" y="4135119"/>
                  <a:pt x="3533017" y="4145068"/>
                </a:cubicBezTo>
                <a:cubicBezTo>
                  <a:pt x="3546946" y="4133925"/>
                  <a:pt x="3559282" y="4123578"/>
                  <a:pt x="3572813" y="4112436"/>
                </a:cubicBezTo>
                <a:cubicBezTo>
                  <a:pt x="3564058" y="4102487"/>
                  <a:pt x="3556895" y="4093334"/>
                  <a:pt x="3548537" y="4083783"/>
                </a:cubicBezTo>
                <a:close/>
                <a:moveTo>
                  <a:pt x="1550819" y="4077018"/>
                </a:moveTo>
                <a:cubicBezTo>
                  <a:pt x="1544452" y="4090946"/>
                  <a:pt x="1538880" y="4102487"/>
                  <a:pt x="1531717" y="4117211"/>
                </a:cubicBezTo>
                <a:cubicBezTo>
                  <a:pt x="1556788" y="4128751"/>
                  <a:pt x="1579869" y="4139099"/>
                  <a:pt x="1604542" y="4149843"/>
                </a:cubicBezTo>
                <a:cubicBezTo>
                  <a:pt x="1610909" y="4134721"/>
                  <a:pt x="1616481" y="4121589"/>
                  <a:pt x="1622052" y="4108058"/>
                </a:cubicBezTo>
                <a:cubicBezTo>
                  <a:pt x="1596981" y="4096915"/>
                  <a:pt x="1574298" y="4087365"/>
                  <a:pt x="1550819" y="4077018"/>
                </a:cubicBezTo>
                <a:close/>
                <a:moveTo>
                  <a:pt x="2911814" y="4075028"/>
                </a:moveTo>
                <a:cubicBezTo>
                  <a:pt x="2898284" y="4080599"/>
                  <a:pt x="2886346" y="4085375"/>
                  <a:pt x="2873213" y="4090946"/>
                </a:cubicBezTo>
                <a:cubicBezTo>
                  <a:pt x="2878387" y="4103681"/>
                  <a:pt x="2882764" y="4114425"/>
                  <a:pt x="2887539" y="4127160"/>
                </a:cubicBezTo>
                <a:cubicBezTo>
                  <a:pt x="2901468" y="4121191"/>
                  <a:pt x="2913804" y="4116017"/>
                  <a:pt x="2926936" y="4110446"/>
                </a:cubicBezTo>
                <a:cubicBezTo>
                  <a:pt x="2921763" y="4097711"/>
                  <a:pt x="2916988" y="4087365"/>
                  <a:pt x="2911814" y="4075028"/>
                </a:cubicBezTo>
                <a:close/>
                <a:moveTo>
                  <a:pt x="2757409" y="4073038"/>
                </a:moveTo>
                <a:cubicBezTo>
                  <a:pt x="2743481" y="4077416"/>
                  <a:pt x="2731940" y="4080997"/>
                  <a:pt x="2718808" y="4084977"/>
                </a:cubicBezTo>
                <a:cubicBezTo>
                  <a:pt x="2722389" y="4097314"/>
                  <a:pt x="2725573" y="4107660"/>
                  <a:pt x="2729155" y="4119997"/>
                </a:cubicBezTo>
                <a:cubicBezTo>
                  <a:pt x="2742685" y="4116017"/>
                  <a:pt x="2755021" y="4112436"/>
                  <a:pt x="2768552" y="4108058"/>
                </a:cubicBezTo>
                <a:cubicBezTo>
                  <a:pt x="2764970" y="4096120"/>
                  <a:pt x="2761389" y="4085375"/>
                  <a:pt x="2757409" y="4073038"/>
                </a:cubicBezTo>
                <a:close/>
                <a:moveTo>
                  <a:pt x="2801980" y="4057916"/>
                </a:moveTo>
                <a:cubicBezTo>
                  <a:pt x="2788449" y="4062692"/>
                  <a:pt x="2776909" y="4066671"/>
                  <a:pt x="2763776" y="4071447"/>
                </a:cubicBezTo>
                <a:cubicBezTo>
                  <a:pt x="2768154" y="4083385"/>
                  <a:pt x="2771735" y="4094528"/>
                  <a:pt x="2775715" y="4106068"/>
                </a:cubicBezTo>
                <a:cubicBezTo>
                  <a:pt x="2789245" y="4101293"/>
                  <a:pt x="2801184" y="4097314"/>
                  <a:pt x="2814316" y="4092538"/>
                </a:cubicBezTo>
                <a:cubicBezTo>
                  <a:pt x="2809939" y="4080599"/>
                  <a:pt x="2806357" y="4069457"/>
                  <a:pt x="2801980" y="4057916"/>
                </a:cubicBezTo>
                <a:close/>
                <a:moveTo>
                  <a:pt x="2956783" y="4055528"/>
                </a:moveTo>
                <a:cubicBezTo>
                  <a:pt x="2942855" y="4061896"/>
                  <a:pt x="2930916" y="4067069"/>
                  <a:pt x="2918580" y="4072640"/>
                </a:cubicBezTo>
                <a:cubicBezTo>
                  <a:pt x="2924151" y="4085375"/>
                  <a:pt x="2928528" y="4095722"/>
                  <a:pt x="2934100" y="4107660"/>
                </a:cubicBezTo>
                <a:cubicBezTo>
                  <a:pt x="2947630" y="4101691"/>
                  <a:pt x="2959569" y="4096517"/>
                  <a:pt x="2973497" y="4090548"/>
                </a:cubicBezTo>
                <a:cubicBezTo>
                  <a:pt x="2967130" y="4077018"/>
                  <a:pt x="2961956" y="4066671"/>
                  <a:pt x="2956783" y="4055528"/>
                </a:cubicBezTo>
                <a:close/>
                <a:moveTo>
                  <a:pt x="1008410" y="4053539"/>
                </a:moveTo>
                <a:cubicBezTo>
                  <a:pt x="997666" y="4066671"/>
                  <a:pt x="988115" y="4078610"/>
                  <a:pt x="977370" y="4091344"/>
                </a:cubicBezTo>
                <a:cubicBezTo>
                  <a:pt x="992094" y="4103283"/>
                  <a:pt x="1005227" y="4113630"/>
                  <a:pt x="1019155" y="4125170"/>
                </a:cubicBezTo>
                <a:cubicBezTo>
                  <a:pt x="1029900" y="4111640"/>
                  <a:pt x="1039053" y="4100099"/>
                  <a:pt x="1049399" y="4086966"/>
                </a:cubicBezTo>
                <a:cubicBezTo>
                  <a:pt x="1035471" y="4075824"/>
                  <a:pt x="1022339" y="4065079"/>
                  <a:pt x="1008410" y="4053539"/>
                </a:cubicBezTo>
                <a:close/>
                <a:moveTo>
                  <a:pt x="1111082" y="4045182"/>
                </a:moveTo>
                <a:cubicBezTo>
                  <a:pt x="1100337" y="4059110"/>
                  <a:pt x="1091184" y="4071049"/>
                  <a:pt x="1081235" y="4084181"/>
                </a:cubicBezTo>
                <a:cubicBezTo>
                  <a:pt x="1095960" y="4094926"/>
                  <a:pt x="1108694" y="4104476"/>
                  <a:pt x="1123020" y="4115221"/>
                </a:cubicBezTo>
                <a:cubicBezTo>
                  <a:pt x="1132571" y="4101691"/>
                  <a:pt x="1141724" y="4089752"/>
                  <a:pt x="1151673" y="4075824"/>
                </a:cubicBezTo>
                <a:cubicBezTo>
                  <a:pt x="1137347" y="4064681"/>
                  <a:pt x="1124612" y="4055131"/>
                  <a:pt x="1111082" y="4045182"/>
                </a:cubicBezTo>
                <a:close/>
                <a:moveTo>
                  <a:pt x="2846152" y="4041600"/>
                </a:moveTo>
                <a:cubicBezTo>
                  <a:pt x="2833020" y="4046773"/>
                  <a:pt x="2821479" y="4051151"/>
                  <a:pt x="2808745" y="4056722"/>
                </a:cubicBezTo>
                <a:cubicBezTo>
                  <a:pt x="2813122" y="4068661"/>
                  <a:pt x="2816704" y="4079007"/>
                  <a:pt x="2821081" y="4090946"/>
                </a:cubicBezTo>
                <a:cubicBezTo>
                  <a:pt x="2834214" y="4085773"/>
                  <a:pt x="2846550" y="4081396"/>
                  <a:pt x="2860081" y="4076222"/>
                </a:cubicBezTo>
                <a:cubicBezTo>
                  <a:pt x="2855305" y="4063886"/>
                  <a:pt x="2850928" y="4053141"/>
                  <a:pt x="2846152" y="4041600"/>
                </a:cubicBezTo>
                <a:close/>
                <a:moveTo>
                  <a:pt x="3512722" y="4040008"/>
                </a:moveTo>
                <a:cubicBezTo>
                  <a:pt x="3499192" y="4051151"/>
                  <a:pt x="3486855" y="4061100"/>
                  <a:pt x="3474518" y="4071447"/>
                </a:cubicBezTo>
                <a:cubicBezTo>
                  <a:pt x="3482079" y="4080997"/>
                  <a:pt x="3488447" y="4088956"/>
                  <a:pt x="3495610" y="4097314"/>
                </a:cubicBezTo>
                <a:cubicBezTo>
                  <a:pt x="3509538" y="4085773"/>
                  <a:pt x="3521079" y="4076222"/>
                  <a:pt x="3534211" y="4065875"/>
                </a:cubicBezTo>
                <a:cubicBezTo>
                  <a:pt x="3526650" y="4057120"/>
                  <a:pt x="3520681" y="4049559"/>
                  <a:pt x="3512722" y="4040008"/>
                </a:cubicBezTo>
                <a:close/>
                <a:moveTo>
                  <a:pt x="2889927" y="4024090"/>
                </a:moveTo>
                <a:cubicBezTo>
                  <a:pt x="2876795" y="4029662"/>
                  <a:pt x="2865254" y="4034437"/>
                  <a:pt x="2852917" y="4039610"/>
                </a:cubicBezTo>
                <a:cubicBezTo>
                  <a:pt x="2857693" y="4051151"/>
                  <a:pt x="2861672" y="4061498"/>
                  <a:pt x="2866448" y="4073834"/>
                </a:cubicBezTo>
                <a:cubicBezTo>
                  <a:pt x="2881172" y="4067467"/>
                  <a:pt x="2892315" y="4062692"/>
                  <a:pt x="2904651" y="4057518"/>
                </a:cubicBezTo>
                <a:cubicBezTo>
                  <a:pt x="2899478" y="4045580"/>
                  <a:pt x="2894702" y="4035631"/>
                  <a:pt x="2889927" y="4024090"/>
                </a:cubicBezTo>
                <a:close/>
                <a:moveTo>
                  <a:pt x="2629667" y="4019713"/>
                </a:moveTo>
                <a:cubicBezTo>
                  <a:pt x="2617330" y="4022498"/>
                  <a:pt x="2607381" y="4024886"/>
                  <a:pt x="2595841" y="4027672"/>
                </a:cubicBezTo>
                <a:cubicBezTo>
                  <a:pt x="2599422" y="4041600"/>
                  <a:pt x="2602208" y="4053937"/>
                  <a:pt x="2605391" y="4067865"/>
                </a:cubicBezTo>
                <a:cubicBezTo>
                  <a:pt x="2616932" y="4065079"/>
                  <a:pt x="2627279" y="4063090"/>
                  <a:pt x="2639615" y="4060304"/>
                </a:cubicBezTo>
                <a:cubicBezTo>
                  <a:pt x="2636034" y="4045580"/>
                  <a:pt x="2632850" y="4033243"/>
                  <a:pt x="2629667" y="4019713"/>
                </a:cubicBezTo>
                <a:close/>
                <a:moveTo>
                  <a:pt x="2183562" y="4012152"/>
                </a:moveTo>
                <a:cubicBezTo>
                  <a:pt x="2181971" y="4034039"/>
                  <a:pt x="2180777" y="4053937"/>
                  <a:pt x="2179583" y="4075426"/>
                </a:cubicBezTo>
                <a:cubicBezTo>
                  <a:pt x="2197889" y="4076222"/>
                  <a:pt x="2213807" y="4077018"/>
                  <a:pt x="2232908" y="4078212"/>
                </a:cubicBezTo>
                <a:cubicBezTo>
                  <a:pt x="2232908" y="4054732"/>
                  <a:pt x="2232908" y="4034835"/>
                  <a:pt x="2232908" y="4014539"/>
                </a:cubicBezTo>
                <a:cubicBezTo>
                  <a:pt x="2216194" y="4013743"/>
                  <a:pt x="2200674" y="4012948"/>
                  <a:pt x="2183562" y="4012152"/>
                </a:cubicBezTo>
                <a:close/>
                <a:moveTo>
                  <a:pt x="2382538" y="4010162"/>
                </a:moveTo>
                <a:cubicBezTo>
                  <a:pt x="2364630" y="4011356"/>
                  <a:pt x="2349110" y="4012550"/>
                  <a:pt x="2334386" y="4013346"/>
                </a:cubicBezTo>
                <a:cubicBezTo>
                  <a:pt x="2334386" y="4035631"/>
                  <a:pt x="2334386" y="4055131"/>
                  <a:pt x="2334386" y="4076620"/>
                </a:cubicBezTo>
                <a:cubicBezTo>
                  <a:pt x="2352294" y="4075426"/>
                  <a:pt x="2368610" y="4074630"/>
                  <a:pt x="2387712" y="4073834"/>
                </a:cubicBezTo>
                <a:cubicBezTo>
                  <a:pt x="2385722" y="4051549"/>
                  <a:pt x="2384130" y="4031651"/>
                  <a:pt x="2382538" y="4010162"/>
                </a:cubicBezTo>
                <a:close/>
                <a:moveTo>
                  <a:pt x="2109145" y="4005387"/>
                </a:moveTo>
                <a:cubicBezTo>
                  <a:pt x="2106758" y="4027274"/>
                  <a:pt x="2104768" y="4047172"/>
                  <a:pt x="2102380" y="4068661"/>
                </a:cubicBezTo>
                <a:cubicBezTo>
                  <a:pt x="2120686" y="4070651"/>
                  <a:pt x="2136604" y="4072242"/>
                  <a:pt x="2155308" y="4073436"/>
                </a:cubicBezTo>
                <a:cubicBezTo>
                  <a:pt x="2156899" y="4051947"/>
                  <a:pt x="2158094" y="4032049"/>
                  <a:pt x="2159685" y="4010162"/>
                </a:cubicBezTo>
                <a:cubicBezTo>
                  <a:pt x="2142175" y="4008570"/>
                  <a:pt x="2126655" y="4006978"/>
                  <a:pt x="2109145" y="4005387"/>
                </a:cubicBezTo>
                <a:close/>
                <a:moveTo>
                  <a:pt x="2933702" y="4004988"/>
                </a:moveTo>
                <a:cubicBezTo>
                  <a:pt x="2921365" y="4010560"/>
                  <a:pt x="2910621" y="4015335"/>
                  <a:pt x="2897090" y="4021305"/>
                </a:cubicBezTo>
                <a:cubicBezTo>
                  <a:pt x="2902264" y="4033641"/>
                  <a:pt x="2907039" y="4043988"/>
                  <a:pt x="2912212" y="4055528"/>
                </a:cubicBezTo>
                <a:cubicBezTo>
                  <a:pt x="2925743" y="4049161"/>
                  <a:pt x="2936885" y="4043590"/>
                  <a:pt x="2949620" y="4037621"/>
                </a:cubicBezTo>
                <a:cubicBezTo>
                  <a:pt x="2943650" y="4025284"/>
                  <a:pt x="2938875" y="4015733"/>
                  <a:pt x="2933702" y="4004988"/>
                </a:cubicBezTo>
                <a:close/>
                <a:moveTo>
                  <a:pt x="951503" y="4003397"/>
                </a:moveTo>
                <a:cubicBezTo>
                  <a:pt x="939962" y="4015733"/>
                  <a:pt x="930014" y="4026876"/>
                  <a:pt x="918473" y="4039610"/>
                </a:cubicBezTo>
                <a:cubicBezTo>
                  <a:pt x="933197" y="4052743"/>
                  <a:pt x="945534" y="4063487"/>
                  <a:pt x="959064" y="4075426"/>
                </a:cubicBezTo>
                <a:cubicBezTo>
                  <a:pt x="970207" y="4061896"/>
                  <a:pt x="980156" y="4050355"/>
                  <a:pt x="990900" y="4037621"/>
                </a:cubicBezTo>
                <a:cubicBezTo>
                  <a:pt x="976574" y="4025284"/>
                  <a:pt x="964636" y="4014539"/>
                  <a:pt x="951503" y="4003397"/>
                </a:cubicBezTo>
                <a:close/>
                <a:moveTo>
                  <a:pt x="1701643" y="3999815"/>
                </a:moveTo>
                <a:cubicBezTo>
                  <a:pt x="1696071" y="4014539"/>
                  <a:pt x="1691296" y="4027274"/>
                  <a:pt x="1685724" y="4041600"/>
                </a:cubicBezTo>
                <a:cubicBezTo>
                  <a:pt x="1708806" y="4049957"/>
                  <a:pt x="1731091" y="4058314"/>
                  <a:pt x="1754570" y="4066671"/>
                </a:cubicBezTo>
                <a:cubicBezTo>
                  <a:pt x="1759346" y="4051549"/>
                  <a:pt x="1764121" y="4038417"/>
                  <a:pt x="1768896" y="4024090"/>
                </a:cubicBezTo>
                <a:cubicBezTo>
                  <a:pt x="1745019" y="4015335"/>
                  <a:pt x="1723928" y="4007376"/>
                  <a:pt x="1701643" y="3999815"/>
                </a:cubicBezTo>
                <a:close/>
                <a:moveTo>
                  <a:pt x="1054175" y="3999019"/>
                </a:moveTo>
                <a:cubicBezTo>
                  <a:pt x="1043032" y="4012550"/>
                  <a:pt x="1033083" y="4024090"/>
                  <a:pt x="1022737" y="4036825"/>
                </a:cubicBezTo>
                <a:cubicBezTo>
                  <a:pt x="1036267" y="4047967"/>
                  <a:pt x="1049001" y="4058314"/>
                  <a:pt x="1062930" y="4069457"/>
                </a:cubicBezTo>
                <a:cubicBezTo>
                  <a:pt x="1073674" y="4056324"/>
                  <a:pt x="1083225" y="4044386"/>
                  <a:pt x="1093572" y="4031253"/>
                </a:cubicBezTo>
                <a:cubicBezTo>
                  <a:pt x="1080042" y="4020111"/>
                  <a:pt x="1067705" y="4010162"/>
                  <a:pt x="1054175" y="3999019"/>
                </a:cubicBezTo>
                <a:close/>
                <a:moveTo>
                  <a:pt x="1914149" y="3997825"/>
                </a:moveTo>
                <a:cubicBezTo>
                  <a:pt x="1910169" y="4012948"/>
                  <a:pt x="1906986" y="4026478"/>
                  <a:pt x="1903404" y="4041998"/>
                </a:cubicBezTo>
                <a:cubicBezTo>
                  <a:pt x="1927281" y="4047172"/>
                  <a:pt x="1948771" y="4051549"/>
                  <a:pt x="1972648" y="4056722"/>
                </a:cubicBezTo>
                <a:cubicBezTo>
                  <a:pt x="1975831" y="4041202"/>
                  <a:pt x="1978219" y="4027672"/>
                  <a:pt x="1980607" y="4012550"/>
                </a:cubicBezTo>
                <a:cubicBezTo>
                  <a:pt x="1957924" y="4007774"/>
                  <a:pt x="1937230" y="4002999"/>
                  <a:pt x="1914149" y="3997825"/>
                </a:cubicBezTo>
                <a:close/>
                <a:moveTo>
                  <a:pt x="2515056" y="3993846"/>
                </a:moveTo>
                <a:cubicBezTo>
                  <a:pt x="2503516" y="3995836"/>
                  <a:pt x="2493965" y="3997428"/>
                  <a:pt x="2482026" y="3999417"/>
                </a:cubicBezTo>
                <a:cubicBezTo>
                  <a:pt x="2484016" y="4014142"/>
                  <a:pt x="2486006" y="4026080"/>
                  <a:pt x="2487996" y="4040008"/>
                </a:cubicBezTo>
                <a:cubicBezTo>
                  <a:pt x="2499934" y="4038417"/>
                  <a:pt x="2509883" y="4036825"/>
                  <a:pt x="2521821" y="4035233"/>
                </a:cubicBezTo>
                <a:cubicBezTo>
                  <a:pt x="2519434" y="4020509"/>
                  <a:pt x="2517444" y="4007774"/>
                  <a:pt x="2515056" y="3993846"/>
                </a:cubicBezTo>
                <a:close/>
                <a:moveTo>
                  <a:pt x="1266681" y="3993050"/>
                </a:moveTo>
                <a:cubicBezTo>
                  <a:pt x="1262304" y="3999417"/>
                  <a:pt x="1259120" y="4004193"/>
                  <a:pt x="1253947" y="4010958"/>
                </a:cubicBezTo>
                <a:cubicBezTo>
                  <a:pt x="1283793" y="4030458"/>
                  <a:pt x="1311650" y="4048365"/>
                  <a:pt x="1340302" y="4067069"/>
                </a:cubicBezTo>
                <a:cubicBezTo>
                  <a:pt x="1344680" y="4059110"/>
                  <a:pt x="1347465" y="4053539"/>
                  <a:pt x="1350251" y="4047569"/>
                </a:cubicBezTo>
                <a:cubicBezTo>
                  <a:pt x="1321996" y="4028866"/>
                  <a:pt x="1294538" y="4010958"/>
                  <a:pt x="1266681" y="3993050"/>
                </a:cubicBezTo>
                <a:close/>
                <a:moveTo>
                  <a:pt x="3163718" y="3989866"/>
                </a:moveTo>
                <a:cubicBezTo>
                  <a:pt x="3153769" y="3995836"/>
                  <a:pt x="3145412" y="4001009"/>
                  <a:pt x="3135861" y="4006978"/>
                </a:cubicBezTo>
                <a:cubicBezTo>
                  <a:pt x="3142626" y="4018121"/>
                  <a:pt x="3148198" y="4027274"/>
                  <a:pt x="3154565" y="4038019"/>
                </a:cubicBezTo>
                <a:cubicBezTo>
                  <a:pt x="3164514" y="4031651"/>
                  <a:pt x="3173269" y="4026478"/>
                  <a:pt x="3183218" y="4020509"/>
                </a:cubicBezTo>
                <a:cubicBezTo>
                  <a:pt x="3176054" y="4009764"/>
                  <a:pt x="3170483" y="4000213"/>
                  <a:pt x="3163718" y="3989866"/>
                </a:cubicBezTo>
                <a:close/>
                <a:moveTo>
                  <a:pt x="1154459" y="3989070"/>
                </a:moveTo>
                <a:cubicBezTo>
                  <a:pt x="1144112" y="4002601"/>
                  <a:pt x="1134959" y="4014539"/>
                  <a:pt x="1125010" y="4027672"/>
                </a:cubicBezTo>
                <a:cubicBezTo>
                  <a:pt x="1138938" y="4038019"/>
                  <a:pt x="1151275" y="4047569"/>
                  <a:pt x="1164805" y="4057518"/>
                </a:cubicBezTo>
                <a:cubicBezTo>
                  <a:pt x="1174754" y="4043988"/>
                  <a:pt x="1183907" y="4032049"/>
                  <a:pt x="1193458" y="4018519"/>
                </a:cubicBezTo>
                <a:cubicBezTo>
                  <a:pt x="1179928" y="4008172"/>
                  <a:pt x="1167591" y="3999019"/>
                  <a:pt x="1154459" y="3989070"/>
                </a:cubicBezTo>
                <a:close/>
                <a:moveTo>
                  <a:pt x="2726369" y="3975938"/>
                </a:moveTo>
                <a:cubicBezTo>
                  <a:pt x="2713634" y="3979918"/>
                  <a:pt x="2702492" y="3983499"/>
                  <a:pt x="2690155" y="3987479"/>
                </a:cubicBezTo>
                <a:cubicBezTo>
                  <a:pt x="2699308" y="4018121"/>
                  <a:pt x="2707665" y="4047172"/>
                  <a:pt x="2716818" y="4077416"/>
                </a:cubicBezTo>
                <a:cubicBezTo>
                  <a:pt x="2730348" y="4073436"/>
                  <a:pt x="2741889" y="4069855"/>
                  <a:pt x="2755419" y="4065875"/>
                </a:cubicBezTo>
                <a:cubicBezTo>
                  <a:pt x="2745470" y="4034437"/>
                  <a:pt x="2735920" y="4005784"/>
                  <a:pt x="2726369" y="3975938"/>
                </a:cubicBezTo>
                <a:close/>
                <a:moveTo>
                  <a:pt x="1818640" y="3971561"/>
                </a:moveTo>
                <a:cubicBezTo>
                  <a:pt x="1814263" y="3986285"/>
                  <a:pt x="1810283" y="3999417"/>
                  <a:pt x="1805508" y="4014142"/>
                </a:cubicBezTo>
                <a:cubicBezTo>
                  <a:pt x="1828589" y="4020907"/>
                  <a:pt x="1850079" y="4026876"/>
                  <a:pt x="1873160" y="4033641"/>
                </a:cubicBezTo>
                <a:cubicBezTo>
                  <a:pt x="1877139" y="4018917"/>
                  <a:pt x="1880721" y="4005784"/>
                  <a:pt x="1884700" y="3990264"/>
                </a:cubicBezTo>
                <a:cubicBezTo>
                  <a:pt x="1861619" y="3983897"/>
                  <a:pt x="1840926" y="3977928"/>
                  <a:pt x="1818640" y="3971561"/>
                </a:cubicBezTo>
                <a:close/>
                <a:moveTo>
                  <a:pt x="3108801" y="3966387"/>
                </a:moveTo>
                <a:cubicBezTo>
                  <a:pt x="3098056" y="3973152"/>
                  <a:pt x="3089699" y="3977928"/>
                  <a:pt x="3081342" y="3983101"/>
                </a:cubicBezTo>
                <a:cubicBezTo>
                  <a:pt x="3088107" y="3994642"/>
                  <a:pt x="3093678" y="4003795"/>
                  <a:pt x="3099648" y="4014142"/>
                </a:cubicBezTo>
                <a:cubicBezTo>
                  <a:pt x="3109994" y="4008172"/>
                  <a:pt x="3117953" y="4003397"/>
                  <a:pt x="3127106" y="3997825"/>
                </a:cubicBezTo>
                <a:cubicBezTo>
                  <a:pt x="3120739" y="3986683"/>
                  <a:pt x="3115168" y="3977132"/>
                  <a:pt x="3108801" y="3966387"/>
                </a:cubicBezTo>
                <a:close/>
                <a:moveTo>
                  <a:pt x="2768154" y="3961612"/>
                </a:moveTo>
                <a:cubicBezTo>
                  <a:pt x="2755021" y="3965989"/>
                  <a:pt x="2744675" y="3969571"/>
                  <a:pt x="2732338" y="3973948"/>
                </a:cubicBezTo>
                <a:cubicBezTo>
                  <a:pt x="2742287" y="4004193"/>
                  <a:pt x="2751440" y="4033243"/>
                  <a:pt x="2761389" y="4063487"/>
                </a:cubicBezTo>
                <a:cubicBezTo>
                  <a:pt x="2774919" y="4059110"/>
                  <a:pt x="2786062" y="4055528"/>
                  <a:pt x="2799592" y="4050753"/>
                </a:cubicBezTo>
                <a:cubicBezTo>
                  <a:pt x="2788847" y="4019713"/>
                  <a:pt x="2778500" y="3991060"/>
                  <a:pt x="2768154" y="3961612"/>
                </a:cubicBezTo>
                <a:close/>
                <a:moveTo>
                  <a:pt x="1606532" y="3958428"/>
                </a:moveTo>
                <a:cubicBezTo>
                  <a:pt x="1600165" y="3972357"/>
                  <a:pt x="1594196" y="3984693"/>
                  <a:pt x="1587430" y="3999019"/>
                </a:cubicBezTo>
                <a:cubicBezTo>
                  <a:pt x="1610511" y="4008968"/>
                  <a:pt x="1631603" y="4018519"/>
                  <a:pt x="1654684" y="4028866"/>
                </a:cubicBezTo>
                <a:cubicBezTo>
                  <a:pt x="1660653" y="4014539"/>
                  <a:pt x="1666225" y="4002203"/>
                  <a:pt x="1672194" y="3987479"/>
                </a:cubicBezTo>
                <a:cubicBezTo>
                  <a:pt x="1649113" y="3977132"/>
                  <a:pt x="1628419" y="3967979"/>
                  <a:pt x="1606532" y="3958428"/>
                </a:cubicBezTo>
                <a:close/>
                <a:moveTo>
                  <a:pt x="897780" y="3953653"/>
                </a:moveTo>
                <a:cubicBezTo>
                  <a:pt x="885443" y="3964795"/>
                  <a:pt x="874300" y="3975142"/>
                  <a:pt x="861566" y="3986683"/>
                </a:cubicBezTo>
                <a:cubicBezTo>
                  <a:pt x="875892" y="3999815"/>
                  <a:pt x="887831" y="4011356"/>
                  <a:pt x="900565" y="4022896"/>
                </a:cubicBezTo>
                <a:cubicBezTo>
                  <a:pt x="912106" y="4010560"/>
                  <a:pt x="922453" y="3999417"/>
                  <a:pt x="933595" y="3987479"/>
                </a:cubicBezTo>
                <a:cubicBezTo>
                  <a:pt x="920463" y="3975142"/>
                  <a:pt x="908524" y="3963602"/>
                  <a:pt x="897780" y="3953653"/>
                </a:cubicBezTo>
                <a:close/>
                <a:moveTo>
                  <a:pt x="998859" y="3950867"/>
                </a:moveTo>
                <a:cubicBezTo>
                  <a:pt x="987319" y="3963602"/>
                  <a:pt x="976972" y="3975142"/>
                  <a:pt x="966227" y="3987479"/>
                </a:cubicBezTo>
                <a:cubicBezTo>
                  <a:pt x="979360" y="3999019"/>
                  <a:pt x="991298" y="4009366"/>
                  <a:pt x="1004829" y="4021703"/>
                </a:cubicBezTo>
                <a:cubicBezTo>
                  <a:pt x="1016369" y="4008570"/>
                  <a:pt x="1026318" y="3997428"/>
                  <a:pt x="1037063" y="3984693"/>
                </a:cubicBezTo>
                <a:cubicBezTo>
                  <a:pt x="1023930" y="3973152"/>
                  <a:pt x="1011992" y="3962408"/>
                  <a:pt x="998859" y="3950867"/>
                </a:cubicBezTo>
                <a:close/>
                <a:moveTo>
                  <a:pt x="1099541" y="3944898"/>
                </a:moveTo>
                <a:cubicBezTo>
                  <a:pt x="1088399" y="3958030"/>
                  <a:pt x="1078848" y="3969173"/>
                  <a:pt x="1068103" y="3982305"/>
                </a:cubicBezTo>
                <a:cubicBezTo>
                  <a:pt x="1081633" y="3993050"/>
                  <a:pt x="1093970" y="4002999"/>
                  <a:pt x="1107102" y="4013743"/>
                </a:cubicBezTo>
                <a:cubicBezTo>
                  <a:pt x="1117847" y="4000213"/>
                  <a:pt x="1127000" y="3988275"/>
                  <a:pt x="1137347" y="3975540"/>
                </a:cubicBezTo>
                <a:cubicBezTo>
                  <a:pt x="1124612" y="3965193"/>
                  <a:pt x="1113072" y="3956040"/>
                  <a:pt x="1099541" y="3944898"/>
                </a:cubicBezTo>
                <a:close/>
                <a:moveTo>
                  <a:pt x="3234553" y="3943704"/>
                </a:moveTo>
                <a:cubicBezTo>
                  <a:pt x="3225003" y="3950071"/>
                  <a:pt x="3217043" y="3955643"/>
                  <a:pt x="3207493" y="3962010"/>
                </a:cubicBezTo>
                <a:cubicBezTo>
                  <a:pt x="3213860" y="3971959"/>
                  <a:pt x="3220227" y="3981111"/>
                  <a:pt x="3227788" y="3992652"/>
                </a:cubicBezTo>
                <a:cubicBezTo>
                  <a:pt x="3238135" y="3984693"/>
                  <a:pt x="3246094" y="3978326"/>
                  <a:pt x="3254849" y="3971959"/>
                </a:cubicBezTo>
                <a:cubicBezTo>
                  <a:pt x="3247288" y="3961214"/>
                  <a:pt x="3241318" y="3952857"/>
                  <a:pt x="3234553" y="3943704"/>
                </a:cubicBezTo>
                <a:close/>
                <a:moveTo>
                  <a:pt x="2712441" y="3932959"/>
                </a:moveTo>
                <a:cubicBezTo>
                  <a:pt x="2700502" y="3936939"/>
                  <a:pt x="2689757" y="3940122"/>
                  <a:pt x="2677819" y="3943704"/>
                </a:cubicBezTo>
                <a:cubicBezTo>
                  <a:pt x="2681400" y="3956439"/>
                  <a:pt x="2684584" y="3967183"/>
                  <a:pt x="2688165" y="3979122"/>
                </a:cubicBezTo>
                <a:cubicBezTo>
                  <a:pt x="2700900" y="3975142"/>
                  <a:pt x="2711247" y="3971959"/>
                  <a:pt x="2723981" y="3967979"/>
                </a:cubicBezTo>
                <a:cubicBezTo>
                  <a:pt x="2719604" y="3955244"/>
                  <a:pt x="2716420" y="3944898"/>
                  <a:pt x="2712441" y="3932959"/>
                </a:cubicBezTo>
                <a:close/>
                <a:moveTo>
                  <a:pt x="1197835" y="3932561"/>
                </a:moveTo>
                <a:cubicBezTo>
                  <a:pt x="1187489" y="3946490"/>
                  <a:pt x="1178336" y="3958428"/>
                  <a:pt x="1168387" y="3971561"/>
                </a:cubicBezTo>
                <a:cubicBezTo>
                  <a:pt x="1181519" y="3981509"/>
                  <a:pt x="1193458" y="3990662"/>
                  <a:pt x="1206590" y="4000611"/>
                </a:cubicBezTo>
                <a:cubicBezTo>
                  <a:pt x="1216539" y="3986683"/>
                  <a:pt x="1225692" y="3974346"/>
                  <a:pt x="1235243" y="3960816"/>
                </a:cubicBezTo>
                <a:cubicBezTo>
                  <a:pt x="1222110" y="3950867"/>
                  <a:pt x="1210570" y="3942112"/>
                  <a:pt x="1197835" y="3932561"/>
                </a:cubicBezTo>
                <a:close/>
                <a:moveTo>
                  <a:pt x="2850928" y="3929378"/>
                </a:moveTo>
                <a:cubicBezTo>
                  <a:pt x="2838193" y="3934949"/>
                  <a:pt x="2827448" y="3939326"/>
                  <a:pt x="2815908" y="3944500"/>
                </a:cubicBezTo>
                <a:cubicBezTo>
                  <a:pt x="2827448" y="3974744"/>
                  <a:pt x="2838591" y="4002999"/>
                  <a:pt x="2850132" y="4032049"/>
                </a:cubicBezTo>
                <a:cubicBezTo>
                  <a:pt x="2864458" y="4026080"/>
                  <a:pt x="2875601" y="4021305"/>
                  <a:pt x="2887539" y="4016131"/>
                </a:cubicBezTo>
                <a:cubicBezTo>
                  <a:pt x="2875203" y="3986683"/>
                  <a:pt x="2863662" y="3959224"/>
                  <a:pt x="2850928" y="3929378"/>
                </a:cubicBezTo>
                <a:close/>
                <a:moveTo>
                  <a:pt x="3171677" y="3928184"/>
                </a:moveTo>
                <a:cubicBezTo>
                  <a:pt x="3162126" y="3934153"/>
                  <a:pt x="3154565" y="3938929"/>
                  <a:pt x="3145014" y="3945296"/>
                </a:cubicBezTo>
                <a:cubicBezTo>
                  <a:pt x="3151779" y="3956040"/>
                  <a:pt x="3157749" y="3965591"/>
                  <a:pt x="3164514" y="3975938"/>
                </a:cubicBezTo>
                <a:cubicBezTo>
                  <a:pt x="3174065" y="3969173"/>
                  <a:pt x="3182422" y="3963602"/>
                  <a:pt x="3191973" y="3958030"/>
                </a:cubicBezTo>
                <a:cubicBezTo>
                  <a:pt x="3184411" y="3946888"/>
                  <a:pt x="3178044" y="3937735"/>
                  <a:pt x="3171677" y="3928184"/>
                </a:cubicBezTo>
                <a:close/>
                <a:moveTo>
                  <a:pt x="3480488" y="3921817"/>
                </a:moveTo>
                <a:cubicBezTo>
                  <a:pt x="3468151" y="3932561"/>
                  <a:pt x="3457407" y="3941714"/>
                  <a:pt x="3445468" y="3952061"/>
                </a:cubicBezTo>
                <a:cubicBezTo>
                  <a:pt x="3453427" y="3961612"/>
                  <a:pt x="3460590" y="3969969"/>
                  <a:pt x="3468151" y="3979520"/>
                </a:cubicBezTo>
                <a:cubicBezTo>
                  <a:pt x="3480488" y="3969173"/>
                  <a:pt x="3491630" y="3959622"/>
                  <a:pt x="3504365" y="3948877"/>
                </a:cubicBezTo>
                <a:cubicBezTo>
                  <a:pt x="3495610" y="3938929"/>
                  <a:pt x="3488447" y="3930970"/>
                  <a:pt x="3480488" y="3921817"/>
                </a:cubicBezTo>
                <a:close/>
                <a:moveTo>
                  <a:pt x="3055873" y="3919827"/>
                </a:moveTo>
                <a:cubicBezTo>
                  <a:pt x="3046720" y="3925000"/>
                  <a:pt x="3038761" y="3929378"/>
                  <a:pt x="3029210" y="3934551"/>
                </a:cubicBezTo>
                <a:cubicBezTo>
                  <a:pt x="3035975" y="3946490"/>
                  <a:pt x="3041547" y="3956040"/>
                  <a:pt x="3047516" y="3966387"/>
                </a:cubicBezTo>
                <a:cubicBezTo>
                  <a:pt x="3057465" y="3960816"/>
                  <a:pt x="3065424" y="3956040"/>
                  <a:pt x="3074179" y="3950469"/>
                </a:cubicBezTo>
                <a:cubicBezTo>
                  <a:pt x="3067414" y="3939326"/>
                  <a:pt x="3061842" y="3930174"/>
                  <a:pt x="3055873" y="3919827"/>
                </a:cubicBezTo>
                <a:close/>
                <a:moveTo>
                  <a:pt x="2753032" y="3919031"/>
                </a:moveTo>
                <a:cubicBezTo>
                  <a:pt x="2740695" y="3923408"/>
                  <a:pt x="2729950" y="3927388"/>
                  <a:pt x="2718808" y="3931367"/>
                </a:cubicBezTo>
                <a:cubicBezTo>
                  <a:pt x="2722787" y="3943704"/>
                  <a:pt x="2725971" y="3953653"/>
                  <a:pt x="2729950" y="3966785"/>
                </a:cubicBezTo>
                <a:cubicBezTo>
                  <a:pt x="2743083" y="3962010"/>
                  <a:pt x="2753430" y="3958030"/>
                  <a:pt x="2765368" y="3953653"/>
                </a:cubicBezTo>
                <a:cubicBezTo>
                  <a:pt x="2760991" y="3940918"/>
                  <a:pt x="2757011" y="3930572"/>
                  <a:pt x="2753032" y="3919031"/>
                </a:cubicBezTo>
                <a:close/>
                <a:moveTo>
                  <a:pt x="2032341" y="3917439"/>
                </a:moveTo>
                <a:cubicBezTo>
                  <a:pt x="2022392" y="3974744"/>
                  <a:pt x="2012841" y="4030458"/>
                  <a:pt x="2002892" y="4087763"/>
                </a:cubicBezTo>
                <a:cubicBezTo>
                  <a:pt x="2023984" y="4090946"/>
                  <a:pt x="2042687" y="4093732"/>
                  <a:pt x="2063779" y="4096517"/>
                </a:cubicBezTo>
                <a:cubicBezTo>
                  <a:pt x="2071340" y="4038814"/>
                  <a:pt x="2078901" y="3982703"/>
                  <a:pt x="2086462" y="3925000"/>
                </a:cubicBezTo>
                <a:cubicBezTo>
                  <a:pt x="2067360" y="3922613"/>
                  <a:pt x="2050646" y="3920225"/>
                  <a:pt x="2032341" y="3917439"/>
                </a:cubicBezTo>
                <a:close/>
                <a:moveTo>
                  <a:pt x="2891917" y="3911868"/>
                </a:moveTo>
                <a:cubicBezTo>
                  <a:pt x="2879580" y="3917041"/>
                  <a:pt x="2869632" y="3921419"/>
                  <a:pt x="2856897" y="3926990"/>
                </a:cubicBezTo>
                <a:cubicBezTo>
                  <a:pt x="2870029" y="3957632"/>
                  <a:pt x="2881968" y="3985489"/>
                  <a:pt x="2894305" y="4014142"/>
                </a:cubicBezTo>
                <a:cubicBezTo>
                  <a:pt x="2907835" y="4007774"/>
                  <a:pt x="2918977" y="4002601"/>
                  <a:pt x="2930916" y="3996632"/>
                </a:cubicBezTo>
                <a:cubicBezTo>
                  <a:pt x="2917386" y="3967183"/>
                  <a:pt x="2905049" y="3940122"/>
                  <a:pt x="2891917" y="3911868"/>
                </a:cubicBezTo>
                <a:close/>
                <a:moveTo>
                  <a:pt x="1838538" y="3909082"/>
                </a:moveTo>
                <a:cubicBezTo>
                  <a:pt x="1833763" y="3924602"/>
                  <a:pt x="1829385" y="3937735"/>
                  <a:pt x="1825008" y="3952061"/>
                </a:cubicBezTo>
                <a:cubicBezTo>
                  <a:pt x="1847691" y="3958826"/>
                  <a:pt x="1868384" y="3964795"/>
                  <a:pt x="1889874" y="3970765"/>
                </a:cubicBezTo>
                <a:cubicBezTo>
                  <a:pt x="1893853" y="3954847"/>
                  <a:pt x="1897435" y="3941714"/>
                  <a:pt x="1901016" y="3926990"/>
                </a:cubicBezTo>
                <a:cubicBezTo>
                  <a:pt x="1879925" y="3921021"/>
                  <a:pt x="1860425" y="3915449"/>
                  <a:pt x="1838538" y="3909082"/>
                </a:cubicBezTo>
                <a:close/>
                <a:moveTo>
                  <a:pt x="2793225" y="3904307"/>
                </a:moveTo>
                <a:cubicBezTo>
                  <a:pt x="2780888" y="3909082"/>
                  <a:pt x="2770541" y="3912664"/>
                  <a:pt x="2759001" y="3917041"/>
                </a:cubicBezTo>
                <a:cubicBezTo>
                  <a:pt x="2763378" y="3928980"/>
                  <a:pt x="2766960" y="3939326"/>
                  <a:pt x="2771735" y="3952061"/>
                </a:cubicBezTo>
                <a:cubicBezTo>
                  <a:pt x="2784470" y="3947285"/>
                  <a:pt x="2794817" y="3943306"/>
                  <a:pt x="2806755" y="3938929"/>
                </a:cubicBezTo>
                <a:cubicBezTo>
                  <a:pt x="2801980" y="3926592"/>
                  <a:pt x="2798000" y="3915847"/>
                  <a:pt x="2793225" y="3904307"/>
                </a:cubicBezTo>
                <a:close/>
                <a:moveTo>
                  <a:pt x="949115" y="3904307"/>
                </a:moveTo>
                <a:cubicBezTo>
                  <a:pt x="935585" y="3915847"/>
                  <a:pt x="924044" y="3925398"/>
                  <a:pt x="911708" y="3936143"/>
                </a:cubicBezTo>
                <a:cubicBezTo>
                  <a:pt x="924044" y="3948081"/>
                  <a:pt x="935983" y="3959224"/>
                  <a:pt x="948717" y="3971561"/>
                </a:cubicBezTo>
                <a:cubicBezTo>
                  <a:pt x="960258" y="3959224"/>
                  <a:pt x="971003" y="3948081"/>
                  <a:pt x="982145" y="3935745"/>
                </a:cubicBezTo>
                <a:cubicBezTo>
                  <a:pt x="969411" y="3923408"/>
                  <a:pt x="958268" y="3912664"/>
                  <a:pt x="949115" y="3904307"/>
                </a:cubicBezTo>
                <a:close/>
                <a:moveTo>
                  <a:pt x="2983844" y="3899531"/>
                </a:moveTo>
                <a:cubicBezTo>
                  <a:pt x="2965936" y="3908684"/>
                  <a:pt x="2949222" y="3917439"/>
                  <a:pt x="2930916" y="3926592"/>
                </a:cubicBezTo>
                <a:cubicBezTo>
                  <a:pt x="2946834" y="3959622"/>
                  <a:pt x="2961956" y="3991458"/>
                  <a:pt x="2977874" y="4024090"/>
                </a:cubicBezTo>
                <a:cubicBezTo>
                  <a:pt x="2998170" y="4013743"/>
                  <a:pt x="3016078" y="4004591"/>
                  <a:pt x="3034782" y="3995040"/>
                </a:cubicBezTo>
                <a:cubicBezTo>
                  <a:pt x="3017272" y="3962408"/>
                  <a:pt x="3000956" y="3931367"/>
                  <a:pt x="2983844" y="3899531"/>
                </a:cubicBezTo>
                <a:close/>
                <a:moveTo>
                  <a:pt x="1046216" y="3898337"/>
                </a:moveTo>
                <a:cubicBezTo>
                  <a:pt x="1035073" y="3911072"/>
                  <a:pt x="1025124" y="3922613"/>
                  <a:pt x="1013982" y="3934949"/>
                </a:cubicBezTo>
                <a:cubicBezTo>
                  <a:pt x="1026716" y="3946490"/>
                  <a:pt x="1038257" y="3956439"/>
                  <a:pt x="1051389" y="3967979"/>
                </a:cubicBezTo>
                <a:cubicBezTo>
                  <a:pt x="1062532" y="3954449"/>
                  <a:pt x="1072481" y="3942510"/>
                  <a:pt x="1082827" y="3930174"/>
                </a:cubicBezTo>
                <a:cubicBezTo>
                  <a:pt x="1069695" y="3918633"/>
                  <a:pt x="1058552" y="3909082"/>
                  <a:pt x="1046216" y="3898337"/>
                </a:cubicBezTo>
                <a:close/>
                <a:moveTo>
                  <a:pt x="1145306" y="3890378"/>
                </a:moveTo>
                <a:cubicBezTo>
                  <a:pt x="1134163" y="3903511"/>
                  <a:pt x="1124612" y="3915449"/>
                  <a:pt x="1113868" y="3928184"/>
                </a:cubicBezTo>
                <a:cubicBezTo>
                  <a:pt x="1127398" y="3938929"/>
                  <a:pt x="1138938" y="3948081"/>
                  <a:pt x="1151673" y="3958428"/>
                </a:cubicBezTo>
                <a:cubicBezTo>
                  <a:pt x="1162020" y="3944898"/>
                  <a:pt x="1171173" y="3933357"/>
                  <a:pt x="1181519" y="3920225"/>
                </a:cubicBezTo>
                <a:cubicBezTo>
                  <a:pt x="1169183" y="3909878"/>
                  <a:pt x="1157642" y="3900725"/>
                  <a:pt x="1145306" y="3890378"/>
                </a:cubicBezTo>
                <a:close/>
                <a:moveTo>
                  <a:pt x="3438902" y="3889384"/>
                </a:moveTo>
                <a:cubicBezTo>
                  <a:pt x="3429948" y="3889881"/>
                  <a:pt x="3420198" y="3896348"/>
                  <a:pt x="3408856" y="3908684"/>
                </a:cubicBezTo>
                <a:cubicBezTo>
                  <a:pt x="3415622" y="3916643"/>
                  <a:pt x="3422785" y="3925000"/>
                  <a:pt x="3429948" y="3934153"/>
                </a:cubicBezTo>
                <a:cubicBezTo>
                  <a:pt x="3438305" y="3926990"/>
                  <a:pt x="3445070" y="3921419"/>
                  <a:pt x="3452233" y="3915449"/>
                </a:cubicBezTo>
                <a:cubicBezTo>
                  <a:pt x="3456213" y="3912266"/>
                  <a:pt x="3460590" y="3909082"/>
                  <a:pt x="3464172" y="3905899"/>
                </a:cubicBezTo>
                <a:cubicBezTo>
                  <a:pt x="3456014" y="3894358"/>
                  <a:pt x="3447856" y="3888886"/>
                  <a:pt x="3438902" y="3889384"/>
                </a:cubicBezTo>
                <a:close/>
                <a:moveTo>
                  <a:pt x="2833418" y="3888389"/>
                </a:moveTo>
                <a:cubicBezTo>
                  <a:pt x="2821479" y="3893164"/>
                  <a:pt x="2811133" y="3897541"/>
                  <a:pt x="2799592" y="3902317"/>
                </a:cubicBezTo>
                <a:cubicBezTo>
                  <a:pt x="2804367" y="3914654"/>
                  <a:pt x="2808347" y="3925000"/>
                  <a:pt x="2813520" y="3936541"/>
                </a:cubicBezTo>
                <a:cubicBezTo>
                  <a:pt x="2825061" y="3931765"/>
                  <a:pt x="2835408" y="3927388"/>
                  <a:pt x="2848142" y="3922215"/>
                </a:cubicBezTo>
                <a:cubicBezTo>
                  <a:pt x="2842969" y="3910276"/>
                  <a:pt x="2838591" y="3899929"/>
                  <a:pt x="2833418" y="3888389"/>
                </a:cubicBezTo>
                <a:close/>
                <a:moveTo>
                  <a:pt x="2694135" y="3878440"/>
                </a:moveTo>
                <a:cubicBezTo>
                  <a:pt x="2682196" y="3882419"/>
                  <a:pt x="2672645" y="3885603"/>
                  <a:pt x="2661503" y="3889185"/>
                </a:cubicBezTo>
                <a:cubicBezTo>
                  <a:pt x="2665482" y="3902317"/>
                  <a:pt x="2669064" y="3913460"/>
                  <a:pt x="2672645" y="3925398"/>
                </a:cubicBezTo>
                <a:cubicBezTo>
                  <a:pt x="2684186" y="3922215"/>
                  <a:pt x="2694135" y="3919031"/>
                  <a:pt x="2707267" y="3915449"/>
                </a:cubicBezTo>
                <a:cubicBezTo>
                  <a:pt x="2702492" y="3901521"/>
                  <a:pt x="2698512" y="3890378"/>
                  <a:pt x="2694135" y="3878440"/>
                </a:cubicBezTo>
                <a:close/>
                <a:moveTo>
                  <a:pt x="1749397" y="3877644"/>
                </a:moveTo>
                <a:cubicBezTo>
                  <a:pt x="1743428" y="3892766"/>
                  <a:pt x="1738652" y="3905500"/>
                  <a:pt x="1733081" y="3919827"/>
                </a:cubicBezTo>
                <a:cubicBezTo>
                  <a:pt x="1754172" y="3927388"/>
                  <a:pt x="1774468" y="3934949"/>
                  <a:pt x="1796355" y="3942908"/>
                </a:cubicBezTo>
                <a:cubicBezTo>
                  <a:pt x="1801528" y="3927786"/>
                  <a:pt x="1805906" y="3914654"/>
                  <a:pt x="1810681" y="3900327"/>
                </a:cubicBezTo>
                <a:cubicBezTo>
                  <a:pt x="1789590" y="3892368"/>
                  <a:pt x="1770488" y="3885603"/>
                  <a:pt x="1749397" y="3877644"/>
                </a:cubicBezTo>
                <a:close/>
                <a:moveTo>
                  <a:pt x="1241610" y="3876848"/>
                </a:moveTo>
                <a:cubicBezTo>
                  <a:pt x="1231263" y="3889981"/>
                  <a:pt x="1222110" y="3901521"/>
                  <a:pt x="1211366" y="3915449"/>
                </a:cubicBezTo>
                <a:cubicBezTo>
                  <a:pt x="1224896" y="3925398"/>
                  <a:pt x="1236437" y="3934153"/>
                  <a:pt x="1248773" y="3943306"/>
                </a:cubicBezTo>
                <a:cubicBezTo>
                  <a:pt x="1258722" y="3929378"/>
                  <a:pt x="1267477" y="3916643"/>
                  <a:pt x="1277028" y="3903511"/>
                </a:cubicBezTo>
                <a:cubicBezTo>
                  <a:pt x="1264293" y="3893960"/>
                  <a:pt x="1253549" y="3885603"/>
                  <a:pt x="1241610" y="3876848"/>
                </a:cubicBezTo>
                <a:close/>
                <a:moveTo>
                  <a:pt x="2872815" y="3870879"/>
                </a:moveTo>
                <a:cubicBezTo>
                  <a:pt x="2860877" y="3876052"/>
                  <a:pt x="2850530" y="3880828"/>
                  <a:pt x="2839387" y="3885603"/>
                </a:cubicBezTo>
                <a:cubicBezTo>
                  <a:pt x="2844561" y="3897940"/>
                  <a:pt x="2848938" y="3907888"/>
                  <a:pt x="2854111" y="3920225"/>
                </a:cubicBezTo>
                <a:cubicBezTo>
                  <a:pt x="2866846" y="3914255"/>
                  <a:pt x="2877192" y="3909480"/>
                  <a:pt x="2888335" y="3904307"/>
                </a:cubicBezTo>
                <a:cubicBezTo>
                  <a:pt x="2882764" y="3891970"/>
                  <a:pt x="2877988" y="3882021"/>
                  <a:pt x="2872815" y="3870879"/>
                </a:cubicBezTo>
                <a:close/>
                <a:moveTo>
                  <a:pt x="3182024" y="3868093"/>
                </a:moveTo>
                <a:cubicBezTo>
                  <a:pt x="3172871" y="3874460"/>
                  <a:pt x="3165310" y="3879634"/>
                  <a:pt x="3156953" y="3885603"/>
                </a:cubicBezTo>
                <a:cubicBezTo>
                  <a:pt x="3164116" y="3896348"/>
                  <a:pt x="3170483" y="3905899"/>
                  <a:pt x="3177248" y="3915847"/>
                </a:cubicBezTo>
                <a:cubicBezTo>
                  <a:pt x="3186799" y="3909082"/>
                  <a:pt x="3193962" y="3903909"/>
                  <a:pt x="3203115" y="3897541"/>
                </a:cubicBezTo>
                <a:cubicBezTo>
                  <a:pt x="3195156" y="3886399"/>
                  <a:pt x="3188789" y="3877644"/>
                  <a:pt x="3182024" y="3868093"/>
                </a:cubicBezTo>
                <a:close/>
                <a:moveTo>
                  <a:pt x="2734328" y="3865307"/>
                </a:moveTo>
                <a:cubicBezTo>
                  <a:pt x="2722389" y="3869685"/>
                  <a:pt x="2712838" y="3872869"/>
                  <a:pt x="2701696" y="3876848"/>
                </a:cubicBezTo>
                <a:cubicBezTo>
                  <a:pt x="2705675" y="3889185"/>
                  <a:pt x="2709257" y="3900327"/>
                  <a:pt x="2713236" y="3913062"/>
                </a:cubicBezTo>
                <a:cubicBezTo>
                  <a:pt x="2724777" y="3909082"/>
                  <a:pt x="2735124" y="3905500"/>
                  <a:pt x="2747460" y="3901521"/>
                </a:cubicBezTo>
                <a:cubicBezTo>
                  <a:pt x="2742287" y="3887991"/>
                  <a:pt x="2738307" y="3876848"/>
                  <a:pt x="2734328" y="3865307"/>
                </a:cubicBezTo>
                <a:close/>
                <a:moveTo>
                  <a:pt x="997268" y="3852573"/>
                </a:moveTo>
                <a:cubicBezTo>
                  <a:pt x="984533" y="3863716"/>
                  <a:pt x="972993" y="3873664"/>
                  <a:pt x="960258" y="3884807"/>
                </a:cubicBezTo>
                <a:cubicBezTo>
                  <a:pt x="973390" y="3897144"/>
                  <a:pt x="984533" y="3907888"/>
                  <a:pt x="996870" y="3919429"/>
                </a:cubicBezTo>
                <a:cubicBezTo>
                  <a:pt x="1008410" y="3907092"/>
                  <a:pt x="1018757" y="3896348"/>
                  <a:pt x="1030298" y="3883613"/>
                </a:cubicBezTo>
                <a:cubicBezTo>
                  <a:pt x="1017563" y="3871675"/>
                  <a:pt x="1006818" y="3861328"/>
                  <a:pt x="997268" y="3852573"/>
                </a:cubicBezTo>
                <a:close/>
                <a:moveTo>
                  <a:pt x="3121933" y="3850981"/>
                </a:moveTo>
                <a:cubicBezTo>
                  <a:pt x="3112382" y="3857348"/>
                  <a:pt x="3104821" y="3862124"/>
                  <a:pt x="3096862" y="3867695"/>
                </a:cubicBezTo>
                <a:cubicBezTo>
                  <a:pt x="3103627" y="3878440"/>
                  <a:pt x="3109199" y="3887593"/>
                  <a:pt x="3115964" y="3897940"/>
                </a:cubicBezTo>
                <a:cubicBezTo>
                  <a:pt x="3125117" y="3891970"/>
                  <a:pt x="3132678" y="3887195"/>
                  <a:pt x="3141433" y="3881623"/>
                </a:cubicBezTo>
                <a:cubicBezTo>
                  <a:pt x="3134667" y="3871675"/>
                  <a:pt x="3128698" y="3862124"/>
                  <a:pt x="3121933" y="3850981"/>
                </a:cubicBezTo>
                <a:close/>
                <a:moveTo>
                  <a:pt x="2772531" y="3850583"/>
                </a:moveTo>
                <a:cubicBezTo>
                  <a:pt x="2760593" y="3855359"/>
                  <a:pt x="2751042" y="3858940"/>
                  <a:pt x="2739899" y="3863318"/>
                </a:cubicBezTo>
                <a:cubicBezTo>
                  <a:pt x="2744675" y="3876052"/>
                  <a:pt x="2748654" y="3887195"/>
                  <a:pt x="2753032" y="3899531"/>
                </a:cubicBezTo>
                <a:cubicBezTo>
                  <a:pt x="2765368" y="3894756"/>
                  <a:pt x="2775317" y="3890776"/>
                  <a:pt x="2786459" y="3886399"/>
                </a:cubicBezTo>
                <a:cubicBezTo>
                  <a:pt x="2782082" y="3874062"/>
                  <a:pt x="2777704" y="3863318"/>
                  <a:pt x="2772531" y="3850583"/>
                </a:cubicBezTo>
                <a:close/>
                <a:moveTo>
                  <a:pt x="3039159" y="3848593"/>
                </a:moveTo>
                <a:cubicBezTo>
                  <a:pt x="3029608" y="3854563"/>
                  <a:pt x="3022047" y="3858940"/>
                  <a:pt x="3014088" y="3863318"/>
                </a:cubicBezTo>
                <a:cubicBezTo>
                  <a:pt x="3020853" y="3874858"/>
                  <a:pt x="3026027" y="3884409"/>
                  <a:pt x="3031996" y="3894358"/>
                </a:cubicBezTo>
                <a:cubicBezTo>
                  <a:pt x="3041149" y="3889185"/>
                  <a:pt x="3048312" y="3885205"/>
                  <a:pt x="3057863" y="3879634"/>
                </a:cubicBezTo>
                <a:cubicBezTo>
                  <a:pt x="3051097" y="3868491"/>
                  <a:pt x="3045526" y="3858940"/>
                  <a:pt x="3039159" y="3848593"/>
                </a:cubicBezTo>
                <a:close/>
                <a:moveTo>
                  <a:pt x="1093970" y="3846206"/>
                </a:moveTo>
                <a:cubicBezTo>
                  <a:pt x="1082827" y="3858542"/>
                  <a:pt x="1072481" y="3869685"/>
                  <a:pt x="1061338" y="3882419"/>
                </a:cubicBezTo>
                <a:cubicBezTo>
                  <a:pt x="1074072" y="3893164"/>
                  <a:pt x="1085215" y="3903113"/>
                  <a:pt x="1097551" y="3913858"/>
                </a:cubicBezTo>
                <a:cubicBezTo>
                  <a:pt x="1108694" y="3901123"/>
                  <a:pt x="1118643" y="3889185"/>
                  <a:pt x="1129388" y="3876848"/>
                </a:cubicBezTo>
                <a:cubicBezTo>
                  <a:pt x="1117051" y="3866103"/>
                  <a:pt x="1106306" y="3856552"/>
                  <a:pt x="1093970" y="3846206"/>
                </a:cubicBezTo>
                <a:close/>
                <a:moveTo>
                  <a:pt x="1662245" y="3840237"/>
                </a:moveTo>
                <a:cubicBezTo>
                  <a:pt x="1655480" y="3854165"/>
                  <a:pt x="1649511" y="3866899"/>
                  <a:pt x="1643144" y="3880828"/>
                </a:cubicBezTo>
                <a:cubicBezTo>
                  <a:pt x="1665429" y="3890776"/>
                  <a:pt x="1684929" y="3899133"/>
                  <a:pt x="1705224" y="3908286"/>
                </a:cubicBezTo>
                <a:cubicBezTo>
                  <a:pt x="1711193" y="3893562"/>
                  <a:pt x="1716367" y="3881623"/>
                  <a:pt x="1722336" y="3866899"/>
                </a:cubicBezTo>
                <a:cubicBezTo>
                  <a:pt x="1701643" y="3857746"/>
                  <a:pt x="1682541" y="3849389"/>
                  <a:pt x="1662245" y="3840237"/>
                </a:cubicBezTo>
                <a:close/>
                <a:moveTo>
                  <a:pt x="1190274" y="3836257"/>
                </a:moveTo>
                <a:cubicBezTo>
                  <a:pt x="1179530" y="3849389"/>
                  <a:pt x="1169581" y="3860930"/>
                  <a:pt x="1159234" y="3873664"/>
                </a:cubicBezTo>
                <a:cubicBezTo>
                  <a:pt x="1171969" y="3883613"/>
                  <a:pt x="1183509" y="3892766"/>
                  <a:pt x="1195448" y="3902317"/>
                </a:cubicBezTo>
                <a:cubicBezTo>
                  <a:pt x="1206192" y="3888787"/>
                  <a:pt x="1215345" y="3876848"/>
                  <a:pt x="1225692" y="3864114"/>
                </a:cubicBezTo>
                <a:cubicBezTo>
                  <a:pt x="1212958" y="3854165"/>
                  <a:pt x="1201815" y="3845410"/>
                  <a:pt x="1190274" y="3836257"/>
                </a:cubicBezTo>
                <a:close/>
                <a:moveTo>
                  <a:pt x="2810337" y="3835859"/>
                </a:moveTo>
                <a:cubicBezTo>
                  <a:pt x="2799194" y="3840237"/>
                  <a:pt x="2790041" y="3844216"/>
                  <a:pt x="2778500" y="3848992"/>
                </a:cubicBezTo>
                <a:cubicBezTo>
                  <a:pt x="2783674" y="3861726"/>
                  <a:pt x="2788051" y="3872471"/>
                  <a:pt x="2792827" y="3884807"/>
                </a:cubicBezTo>
                <a:cubicBezTo>
                  <a:pt x="2804367" y="3879634"/>
                  <a:pt x="2814714" y="3875256"/>
                  <a:pt x="2826255" y="3870481"/>
                </a:cubicBezTo>
                <a:cubicBezTo>
                  <a:pt x="2820683" y="3858144"/>
                  <a:pt x="2815908" y="3847002"/>
                  <a:pt x="2810337" y="3835859"/>
                </a:cubicBezTo>
                <a:close/>
                <a:moveTo>
                  <a:pt x="3191574" y="3828298"/>
                </a:moveTo>
                <a:cubicBezTo>
                  <a:pt x="3190779" y="3829492"/>
                  <a:pt x="3189585" y="3830686"/>
                  <a:pt x="3188789" y="3831879"/>
                </a:cubicBezTo>
                <a:cubicBezTo>
                  <a:pt x="3221421" y="3877246"/>
                  <a:pt x="3253655" y="3922613"/>
                  <a:pt x="3287481" y="3969571"/>
                </a:cubicBezTo>
                <a:cubicBezTo>
                  <a:pt x="3306185" y="3955643"/>
                  <a:pt x="3323297" y="3942908"/>
                  <a:pt x="3340806" y="3929378"/>
                </a:cubicBezTo>
                <a:cubicBezTo>
                  <a:pt x="3318521" y="3895154"/>
                  <a:pt x="3297032" y="3863716"/>
                  <a:pt x="3254053" y="3854961"/>
                </a:cubicBezTo>
                <a:cubicBezTo>
                  <a:pt x="3236941" y="3851777"/>
                  <a:pt x="3221421" y="3841032"/>
                  <a:pt x="3205105" y="3833471"/>
                </a:cubicBezTo>
                <a:cubicBezTo>
                  <a:pt x="3200728" y="3831482"/>
                  <a:pt x="3195952" y="3829890"/>
                  <a:pt x="3191574" y="3828298"/>
                </a:cubicBezTo>
                <a:close/>
                <a:moveTo>
                  <a:pt x="1284987" y="3820737"/>
                </a:moveTo>
                <a:cubicBezTo>
                  <a:pt x="1274242" y="3834665"/>
                  <a:pt x="1265089" y="3846206"/>
                  <a:pt x="1255140" y="3859338"/>
                </a:cubicBezTo>
                <a:cubicBezTo>
                  <a:pt x="1267875" y="3868491"/>
                  <a:pt x="1279018" y="3876848"/>
                  <a:pt x="1290956" y="3885603"/>
                </a:cubicBezTo>
                <a:cubicBezTo>
                  <a:pt x="1300905" y="3872073"/>
                  <a:pt x="1309660" y="3860134"/>
                  <a:pt x="1319609" y="3846604"/>
                </a:cubicBezTo>
                <a:cubicBezTo>
                  <a:pt x="1307272" y="3837451"/>
                  <a:pt x="1296527" y="3829492"/>
                  <a:pt x="1284987" y="3820737"/>
                </a:cubicBezTo>
                <a:close/>
                <a:moveTo>
                  <a:pt x="2848938" y="3818747"/>
                </a:moveTo>
                <a:cubicBezTo>
                  <a:pt x="2837795" y="3823522"/>
                  <a:pt x="2827847" y="3827900"/>
                  <a:pt x="2816704" y="3833073"/>
                </a:cubicBezTo>
                <a:cubicBezTo>
                  <a:pt x="2822275" y="3845410"/>
                  <a:pt x="2827051" y="3856155"/>
                  <a:pt x="2832224" y="3868491"/>
                </a:cubicBezTo>
                <a:cubicBezTo>
                  <a:pt x="2843367" y="3863716"/>
                  <a:pt x="2853315" y="3858940"/>
                  <a:pt x="2864856" y="3853369"/>
                </a:cubicBezTo>
                <a:cubicBezTo>
                  <a:pt x="2859285" y="3841430"/>
                  <a:pt x="2854509" y="3831084"/>
                  <a:pt x="2848938" y="3818747"/>
                </a:cubicBezTo>
                <a:close/>
                <a:moveTo>
                  <a:pt x="1048205" y="3802829"/>
                </a:moveTo>
                <a:cubicBezTo>
                  <a:pt x="1034675" y="3813972"/>
                  <a:pt x="1023134" y="3823522"/>
                  <a:pt x="1010400" y="3834665"/>
                </a:cubicBezTo>
                <a:cubicBezTo>
                  <a:pt x="1022737" y="3845808"/>
                  <a:pt x="1033481" y="3856155"/>
                  <a:pt x="1045420" y="3867695"/>
                </a:cubicBezTo>
                <a:cubicBezTo>
                  <a:pt x="1056960" y="3854961"/>
                  <a:pt x="1067307" y="3843818"/>
                  <a:pt x="1078450" y="3831482"/>
                </a:cubicBezTo>
                <a:cubicBezTo>
                  <a:pt x="1066113" y="3819941"/>
                  <a:pt x="1055766" y="3809992"/>
                  <a:pt x="1048205" y="3802829"/>
                </a:cubicBezTo>
                <a:close/>
                <a:moveTo>
                  <a:pt x="3237339" y="3794870"/>
                </a:moveTo>
                <a:cubicBezTo>
                  <a:pt x="3227390" y="3802431"/>
                  <a:pt x="3219033" y="3808798"/>
                  <a:pt x="3208289" y="3817553"/>
                </a:cubicBezTo>
                <a:cubicBezTo>
                  <a:pt x="3230972" y="3827502"/>
                  <a:pt x="3250472" y="3835859"/>
                  <a:pt x="3269573" y="3844216"/>
                </a:cubicBezTo>
                <a:cubicBezTo>
                  <a:pt x="3270767" y="3843420"/>
                  <a:pt x="3271961" y="3842226"/>
                  <a:pt x="3273155" y="3841032"/>
                </a:cubicBezTo>
                <a:cubicBezTo>
                  <a:pt x="3261614" y="3825910"/>
                  <a:pt x="3250073" y="3811186"/>
                  <a:pt x="3237339" y="3794870"/>
                </a:cubicBezTo>
                <a:close/>
                <a:moveTo>
                  <a:pt x="1141326" y="3792880"/>
                </a:moveTo>
                <a:cubicBezTo>
                  <a:pt x="1129786" y="3805615"/>
                  <a:pt x="1119837" y="3816757"/>
                  <a:pt x="1108694" y="3829492"/>
                </a:cubicBezTo>
                <a:cubicBezTo>
                  <a:pt x="1121031" y="3839838"/>
                  <a:pt x="1132173" y="3849389"/>
                  <a:pt x="1143714" y="3859736"/>
                </a:cubicBezTo>
                <a:cubicBezTo>
                  <a:pt x="1154857" y="3846604"/>
                  <a:pt x="1164805" y="3835461"/>
                  <a:pt x="1175550" y="3822727"/>
                </a:cubicBezTo>
                <a:cubicBezTo>
                  <a:pt x="1164009" y="3812778"/>
                  <a:pt x="1154061" y="3804023"/>
                  <a:pt x="1141326" y="3792880"/>
                </a:cubicBezTo>
                <a:close/>
                <a:moveTo>
                  <a:pt x="3128698" y="3790890"/>
                </a:moveTo>
                <a:cubicBezTo>
                  <a:pt x="3119943" y="3797258"/>
                  <a:pt x="3112780" y="3802431"/>
                  <a:pt x="3105219" y="3808002"/>
                </a:cubicBezTo>
                <a:cubicBezTo>
                  <a:pt x="3112780" y="3819145"/>
                  <a:pt x="3119147" y="3827900"/>
                  <a:pt x="3125515" y="3837451"/>
                </a:cubicBezTo>
                <a:cubicBezTo>
                  <a:pt x="3134667" y="3831084"/>
                  <a:pt x="3141830" y="3826308"/>
                  <a:pt x="3150188" y="3820737"/>
                </a:cubicBezTo>
                <a:cubicBezTo>
                  <a:pt x="3142626" y="3810390"/>
                  <a:pt x="3135861" y="3800839"/>
                  <a:pt x="3128698" y="3790890"/>
                </a:cubicBezTo>
                <a:close/>
                <a:moveTo>
                  <a:pt x="1236437" y="3781340"/>
                </a:moveTo>
                <a:cubicBezTo>
                  <a:pt x="1225692" y="3794472"/>
                  <a:pt x="1216141" y="3806411"/>
                  <a:pt x="1205396" y="3819145"/>
                </a:cubicBezTo>
                <a:cubicBezTo>
                  <a:pt x="1216937" y="3829094"/>
                  <a:pt x="1227284" y="3837053"/>
                  <a:pt x="1239620" y="3847002"/>
                </a:cubicBezTo>
                <a:cubicBezTo>
                  <a:pt x="1250365" y="3833471"/>
                  <a:pt x="1259518" y="3821931"/>
                  <a:pt x="1269865" y="3808798"/>
                </a:cubicBezTo>
                <a:cubicBezTo>
                  <a:pt x="1258722" y="3799645"/>
                  <a:pt x="1247977" y="3790890"/>
                  <a:pt x="1236437" y="3781340"/>
                </a:cubicBezTo>
                <a:close/>
                <a:moveTo>
                  <a:pt x="2919376" y="3776166"/>
                </a:moveTo>
                <a:cubicBezTo>
                  <a:pt x="2902661" y="3784921"/>
                  <a:pt x="2887937" y="3792482"/>
                  <a:pt x="2872019" y="3800839"/>
                </a:cubicBezTo>
                <a:cubicBezTo>
                  <a:pt x="2888335" y="3834665"/>
                  <a:pt x="2903855" y="3867297"/>
                  <a:pt x="2920171" y="3901123"/>
                </a:cubicBezTo>
                <a:cubicBezTo>
                  <a:pt x="2938079" y="3891970"/>
                  <a:pt x="2954395" y="3883613"/>
                  <a:pt x="2971507" y="3874858"/>
                </a:cubicBezTo>
                <a:cubicBezTo>
                  <a:pt x="2953599" y="3841032"/>
                  <a:pt x="2936885" y="3808798"/>
                  <a:pt x="2919376" y="3776166"/>
                </a:cubicBezTo>
                <a:close/>
                <a:moveTo>
                  <a:pt x="3070199" y="3772983"/>
                </a:moveTo>
                <a:cubicBezTo>
                  <a:pt x="3061444" y="3778952"/>
                  <a:pt x="3054679" y="3783329"/>
                  <a:pt x="3046720" y="3788503"/>
                </a:cubicBezTo>
                <a:cubicBezTo>
                  <a:pt x="3053485" y="3798849"/>
                  <a:pt x="3059057" y="3808400"/>
                  <a:pt x="3065822" y="3819145"/>
                </a:cubicBezTo>
                <a:cubicBezTo>
                  <a:pt x="3074577" y="3813176"/>
                  <a:pt x="3082138" y="3808400"/>
                  <a:pt x="3090097" y="3803227"/>
                </a:cubicBezTo>
                <a:cubicBezTo>
                  <a:pt x="3082934" y="3792482"/>
                  <a:pt x="3076964" y="3783329"/>
                  <a:pt x="3070199" y="3772983"/>
                </a:cubicBezTo>
                <a:close/>
                <a:moveTo>
                  <a:pt x="1328364" y="3764626"/>
                </a:moveTo>
                <a:cubicBezTo>
                  <a:pt x="1317619" y="3778554"/>
                  <a:pt x="1308466" y="3790094"/>
                  <a:pt x="1298517" y="3803227"/>
                </a:cubicBezTo>
                <a:cubicBezTo>
                  <a:pt x="1310456" y="3812380"/>
                  <a:pt x="1321200" y="3820339"/>
                  <a:pt x="1332741" y="3828696"/>
                </a:cubicBezTo>
                <a:cubicBezTo>
                  <a:pt x="1343088" y="3814767"/>
                  <a:pt x="1351843" y="3802431"/>
                  <a:pt x="1360996" y="3789697"/>
                </a:cubicBezTo>
                <a:cubicBezTo>
                  <a:pt x="1349853" y="3780942"/>
                  <a:pt x="1339904" y="3773381"/>
                  <a:pt x="1328364" y="3764626"/>
                </a:cubicBezTo>
                <a:close/>
                <a:moveTo>
                  <a:pt x="3011302" y="3758656"/>
                </a:moveTo>
                <a:cubicBezTo>
                  <a:pt x="3002945" y="3763830"/>
                  <a:pt x="2996180" y="3767809"/>
                  <a:pt x="2987823" y="3772983"/>
                </a:cubicBezTo>
                <a:cubicBezTo>
                  <a:pt x="2994986" y="3784921"/>
                  <a:pt x="3000956" y="3794074"/>
                  <a:pt x="3006925" y="3804023"/>
                </a:cubicBezTo>
                <a:cubicBezTo>
                  <a:pt x="3015680" y="3798452"/>
                  <a:pt x="3022843" y="3794074"/>
                  <a:pt x="3030404" y="3789299"/>
                </a:cubicBezTo>
                <a:cubicBezTo>
                  <a:pt x="3023241" y="3778156"/>
                  <a:pt x="3017670" y="3769003"/>
                  <a:pt x="3011302" y="3758656"/>
                </a:cubicBezTo>
                <a:close/>
                <a:moveTo>
                  <a:pt x="3476508" y="3754279"/>
                </a:moveTo>
                <a:cubicBezTo>
                  <a:pt x="3466559" y="3763830"/>
                  <a:pt x="3456611" y="3772983"/>
                  <a:pt x="3445468" y="3783727"/>
                </a:cubicBezTo>
                <a:cubicBezTo>
                  <a:pt x="3453427" y="3791686"/>
                  <a:pt x="3460590" y="3798849"/>
                  <a:pt x="3469345" y="3807604"/>
                </a:cubicBezTo>
                <a:cubicBezTo>
                  <a:pt x="3479692" y="3795666"/>
                  <a:pt x="3488845" y="3785717"/>
                  <a:pt x="3497202" y="3776166"/>
                </a:cubicBezTo>
                <a:cubicBezTo>
                  <a:pt x="3490437" y="3769003"/>
                  <a:pt x="3482875" y="3761044"/>
                  <a:pt x="3476508" y="3754279"/>
                </a:cubicBezTo>
                <a:close/>
                <a:moveTo>
                  <a:pt x="1097153" y="3751891"/>
                </a:moveTo>
                <a:cubicBezTo>
                  <a:pt x="1084419" y="3763034"/>
                  <a:pt x="1073276" y="3773381"/>
                  <a:pt x="1060542" y="3784523"/>
                </a:cubicBezTo>
                <a:cubicBezTo>
                  <a:pt x="1071685" y="3794870"/>
                  <a:pt x="1082429" y="3804819"/>
                  <a:pt x="1093572" y="3815563"/>
                </a:cubicBezTo>
                <a:cubicBezTo>
                  <a:pt x="1105113" y="3803227"/>
                  <a:pt x="1114663" y="3792482"/>
                  <a:pt x="1126602" y="3779748"/>
                </a:cubicBezTo>
                <a:cubicBezTo>
                  <a:pt x="1115061" y="3768605"/>
                  <a:pt x="1104715" y="3759054"/>
                  <a:pt x="1097153" y="3751891"/>
                </a:cubicBezTo>
                <a:close/>
                <a:moveTo>
                  <a:pt x="3299420" y="3746718"/>
                </a:moveTo>
                <a:cubicBezTo>
                  <a:pt x="3287879" y="3756269"/>
                  <a:pt x="3278328" y="3764228"/>
                  <a:pt x="3268777" y="3772585"/>
                </a:cubicBezTo>
                <a:cubicBezTo>
                  <a:pt x="3277134" y="3782931"/>
                  <a:pt x="3283899" y="3791288"/>
                  <a:pt x="3293052" y="3802033"/>
                </a:cubicBezTo>
                <a:cubicBezTo>
                  <a:pt x="3304593" y="3792084"/>
                  <a:pt x="3314144" y="3783727"/>
                  <a:pt x="3324093" y="3774972"/>
                </a:cubicBezTo>
                <a:cubicBezTo>
                  <a:pt x="3314940" y="3764228"/>
                  <a:pt x="3307379" y="3755871"/>
                  <a:pt x="3299420" y="3746718"/>
                </a:cubicBezTo>
                <a:close/>
                <a:moveTo>
                  <a:pt x="1189478" y="3740350"/>
                </a:moveTo>
                <a:cubicBezTo>
                  <a:pt x="1178336" y="3752687"/>
                  <a:pt x="1168387" y="3763830"/>
                  <a:pt x="1156448" y="3776962"/>
                </a:cubicBezTo>
                <a:cubicBezTo>
                  <a:pt x="1169183" y="3787707"/>
                  <a:pt x="1179530" y="3796462"/>
                  <a:pt x="1190672" y="3805615"/>
                </a:cubicBezTo>
                <a:cubicBezTo>
                  <a:pt x="1202213" y="3792084"/>
                  <a:pt x="1211366" y="3780942"/>
                  <a:pt x="1221713" y="3769003"/>
                </a:cubicBezTo>
                <a:cubicBezTo>
                  <a:pt x="1210570" y="3759054"/>
                  <a:pt x="1200621" y="3750299"/>
                  <a:pt x="1189478" y="3740350"/>
                </a:cubicBezTo>
                <a:close/>
                <a:moveTo>
                  <a:pt x="1281405" y="3727218"/>
                </a:moveTo>
                <a:cubicBezTo>
                  <a:pt x="1270263" y="3740749"/>
                  <a:pt x="1260712" y="3752289"/>
                  <a:pt x="1250365" y="3765024"/>
                </a:cubicBezTo>
                <a:cubicBezTo>
                  <a:pt x="1261906" y="3774176"/>
                  <a:pt x="1271854" y="3782135"/>
                  <a:pt x="1283395" y="3791686"/>
                </a:cubicBezTo>
                <a:cubicBezTo>
                  <a:pt x="1293742" y="3778554"/>
                  <a:pt x="1303293" y="3767013"/>
                  <a:pt x="1313639" y="3753085"/>
                </a:cubicBezTo>
                <a:cubicBezTo>
                  <a:pt x="1302099" y="3743932"/>
                  <a:pt x="1292150" y="3735575"/>
                  <a:pt x="1281405" y="3727218"/>
                </a:cubicBezTo>
                <a:close/>
                <a:moveTo>
                  <a:pt x="3161728" y="3709708"/>
                </a:moveTo>
                <a:cubicBezTo>
                  <a:pt x="3147800" y="3720055"/>
                  <a:pt x="3135463" y="3729606"/>
                  <a:pt x="3119147" y="3741942"/>
                </a:cubicBezTo>
                <a:cubicBezTo>
                  <a:pt x="3143025" y="3765819"/>
                  <a:pt x="3164912" y="3787707"/>
                  <a:pt x="3187197" y="3809594"/>
                </a:cubicBezTo>
                <a:cubicBezTo>
                  <a:pt x="3200728" y="3799645"/>
                  <a:pt x="3209482" y="3792880"/>
                  <a:pt x="3219829" y="3784921"/>
                </a:cubicBezTo>
                <a:cubicBezTo>
                  <a:pt x="3200329" y="3759850"/>
                  <a:pt x="3181626" y="3735177"/>
                  <a:pt x="3161728" y="3709708"/>
                </a:cubicBezTo>
                <a:close/>
                <a:moveTo>
                  <a:pt x="3433529" y="3708116"/>
                </a:moveTo>
                <a:cubicBezTo>
                  <a:pt x="3423581" y="3719657"/>
                  <a:pt x="3415224" y="3729208"/>
                  <a:pt x="3405673" y="3739953"/>
                </a:cubicBezTo>
                <a:cubicBezTo>
                  <a:pt x="3413234" y="3747912"/>
                  <a:pt x="3421193" y="3756269"/>
                  <a:pt x="3428356" y="3763830"/>
                </a:cubicBezTo>
                <a:cubicBezTo>
                  <a:pt x="3439897" y="3753483"/>
                  <a:pt x="3449845" y="3744330"/>
                  <a:pt x="3460192" y="3734779"/>
                </a:cubicBezTo>
                <a:cubicBezTo>
                  <a:pt x="3451437" y="3726024"/>
                  <a:pt x="3443876" y="3718463"/>
                  <a:pt x="3433529" y="3708116"/>
                </a:cubicBezTo>
                <a:close/>
                <a:moveTo>
                  <a:pt x="3263206" y="3704535"/>
                </a:moveTo>
                <a:cubicBezTo>
                  <a:pt x="3252859" y="3712892"/>
                  <a:pt x="3243706" y="3720851"/>
                  <a:pt x="3233359" y="3729208"/>
                </a:cubicBezTo>
                <a:cubicBezTo>
                  <a:pt x="3240523" y="3738361"/>
                  <a:pt x="3247288" y="3745922"/>
                  <a:pt x="3254849" y="3754677"/>
                </a:cubicBezTo>
                <a:cubicBezTo>
                  <a:pt x="3265594" y="3745524"/>
                  <a:pt x="3274747" y="3737565"/>
                  <a:pt x="3284695" y="3729208"/>
                </a:cubicBezTo>
                <a:cubicBezTo>
                  <a:pt x="3276736" y="3720453"/>
                  <a:pt x="3270369" y="3712892"/>
                  <a:pt x="3263206" y="3704535"/>
                </a:cubicBezTo>
                <a:close/>
                <a:moveTo>
                  <a:pt x="1146500" y="3700555"/>
                </a:moveTo>
                <a:cubicBezTo>
                  <a:pt x="1133765" y="3711698"/>
                  <a:pt x="1122225" y="3721647"/>
                  <a:pt x="1109888" y="3732789"/>
                </a:cubicBezTo>
                <a:cubicBezTo>
                  <a:pt x="1121429" y="3743534"/>
                  <a:pt x="1131377" y="3753085"/>
                  <a:pt x="1142520" y="3763432"/>
                </a:cubicBezTo>
                <a:cubicBezTo>
                  <a:pt x="1153663" y="3750697"/>
                  <a:pt x="1164009" y="3739157"/>
                  <a:pt x="1171571" y="3731198"/>
                </a:cubicBezTo>
                <a:cubicBezTo>
                  <a:pt x="1161622" y="3719259"/>
                  <a:pt x="1153663" y="3709310"/>
                  <a:pt x="1146500" y="3700555"/>
                </a:cubicBezTo>
                <a:close/>
                <a:moveTo>
                  <a:pt x="1236835" y="3687821"/>
                </a:moveTo>
                <a:cubicBezTo>
                  <a:pt x="1226090" y="3700157"/>
                  <a:pt x="1215743" y="3711698"/>
                  <a:pt x="1204600" y="3724432"/>
                </a:cubicBezTo>
                <a:cubicBezTo>
                  <a:pt x="1215743" y="3734381"/>
                  <a:pt x="1225692" y="3742738"/>
                  <a:pt x="1236437" y="3752289"/>
                </a:cubicBezTo>
                <a:cubicBezTo>
                  <a:pt x="1247579" y="3739157"/>
                  <a:pt x="1257528" y="3727218"/>
                  <a:pt x="1267875" y="3714882"/>
                </a:cubicBezTo>
                <a:cubicBezTo>
                  <a:pt x="1256732" y="3705331"/>
                  <a:pt x="1247579" y="3696974"/>
                  <a:pt x="1236835" y="3687821"/>
                </a:cubicBezTo>
                <a:close/>
                <a:moveTo>
                  <a:pt x="3141433" y="3683045"/>
                </a:moveTo>
                <a:cubicBezTo>
                  <a:pt x="3126708" y="3679066"/>
                  <a:pt x="3119545" y="3694586"/>
                  <a:pt x="3108801" y="3700157"/>
                </a:cubicBezTo>
                <a:cubicBezTo>
                  <a:pt x="3105219" y="3702147"/>
                  <a:pt x="3104025" y="3708116"/>
                  <a:pt x="3102035" y="3712096"/>
                </a:cubicBezTo>
                <a:cubicBezTo>
                  <a:pt x="3104025" y="3713290"/>
                  <a:pt x="3105617" y="3714484"/>
                  <a:pt x="3107607" y="3715678"/>
                </a:cubicBezTo>
                <a:cubicBezTo>
                  <a:pt x="3119147" y="3706923"/>
                  <a:pt x="3131086" y="3698168"/>
                  <a:pt x="3143025" y="3689413"/>
                </a:cubicBezTo>
                <a:cubicBezTo>
                  <a:pt x="3142626" y="3687423"/>
                  <a:pt x="3141830" y="3685035"/>
                  <a:pt x="3141433" y="3683045"/>
                </a:cubicBezTo>
                <a:close/>
                <a:moveTo>
                  <a:pt x="1195050" y="3647628"/>
                </a:moveTo>
                <a:cubicBezTo>
                  <a:pt x="1182315" y="3659964"/>
                  <a:pt x="1171173" y="3669913"/>
                  <a:pt x="1158438" y="3681852"/>
                </a:cubicBezTo>
                <a:cubicBezTo>
                  <a:pt x="1169581" y="3692198"/>
                  <a:pt x="1179530" y="3701351"/>
                  <a:pt x="1190274" y="3711300"/>
                </a:cubicBezTo>
                <a:cubicBezTo>
                  <a:pt x="1201815" y="3698964"/>
                  <a:pt x="1211366" y="3688617"/>
                  <a:pt x="1222110" y="3677076"/>
                </a:cubicBezTo>
                <a:cubicBezTo>
                  <a:pt x="1212560" y="3666729"/>
                  <a:pt x="1203407" y="3656781"/>
                  <a:pt x="1195050" y="3647628"/>
                </a:cubicBezTo>
                <a:close/>
                <a:moveTo>
                  <a:pt x="3344786" y="3613006"/>
                </a:moveTo>
                <a:cubicBezTo>
                  <a:pt x="3334837" y="3622159"/>
                  <a:pt x="3325684" y="3630516"/>
                  <a:pt x="3318123" y="3637679"/>
                </a:cubicBezTo>
                <a:cubicBezTo>
                  <a:pt x="3326480" y="3647230"/>
                  <a:pt x="3334837" y="3655985"/>
                  <a:pt x="3343990" y="3666331"/>
                </a:cubicBezTo>
                <a:cubicBezTo>
                  <a:pt x="3352745" y="3657179"/>
                  <a:pt x="3361102" y="3649220"/>
                  <a:pt x="3369857" y="3640067"/>
                </a:cubicBezTo>
                <a:cubicBezTo>
                  <a:pt x="3359908" y="3629720"/>
                  <a:pt x="3351949" y="3620965"/>
                  <a:pt x="3344786" y="3613006"/>
                </a:cubicBezTo>
                <a:close/>
                <a:moveTo>
                  <a:pt x="947922" y="3587537"/>
                </a:moveTo>
                <a:cubicBezTo>
                  <a:pt x="935983" y="3597088"/>
                  <a:pt x="926034" y="3605047"/>
                  <a:pt x="915289" y="3613802"/>
                </a:cubicBezTo>
                <a:cubicBezTo>
                  <a:pt x="924044" y="3624944"/>
                  <a:pt x="931605" y="3634097"/>
                  <a:pt x="939962" y="3644444"/>
                </a:cubicBezTo>
                <a:cubicBezTo>
                  <a:pt x="950707" y="3635291"/>
                  <a:pt x="960656" y="3626934"/>
                  <a:pt x="972197" y="3617781"/>
                </a:cubicBezTo>
                <a:cubicBezTo>
                  <a:pt x="963840" y="3607435"/>
                  <a:pt x="956676" y="3598282"/>
                  <a:pt x="947922" y="3587537"/>
                </a:cubicBezTo>
                <a:close/>
                <a:moveTo>
                  <a:pt x="3303797" y="3572017"/>
                </a:moveTo>
                <a:cubicBezTo>
                  <a:pt x="3294246" y="3581568"/>
                  <a:pt x="3286287" y="3589527"/>
                  <a:pt x="3277532" y="3598282"/>
                </a:cubicBezTo>
                <a:cubicBezTo>
                  <a:pt x="3285491" y="3606639"/>
                  <a:pt x="3291858" y="3613802"/>
                  <a:pt x="3299021" y="3620965"/>
                </a:cubicBezTo>
                <a:cubicBezTo>
                  <a:pt x="3308572" y="3612210"/>
                  <a:pt x="3316929" y="3603853"/>
                  <a:pt x="3325286" y="3595496"/>
                </a:cubicBezTo>
                <a:cubicBezTo>
                  <a:pt x="3318123" y="3587935"/>
                  <a:pt x="3312154" y="3581170"/>
                  <a:pt x="3303797" y="3572017"/>
                </a:cubicBezTo>
                <a:close/>
                <a:moveTo>
                  <a:pt x="951901" y="3509538"/>
                </a:moveTo>
                <a:cubicBezTo>
                  <a:pt x="939565" y="3518691"/>
                  <a:pt x="929218" y="3526650"/>
                  <a:pt x="918075" y="3535007"/>
                </a:cubicBezTo>
                <a:cubicBezTo>
                  <a:pt x="926432" y="3545752"/>
                  <a:pt x="933197" y="3554905"/>
                  <a:pt x="941156" y="3565252"/>
                </a:cubicBezTo>
                <a:cubicBezTo>
                  <a:pt x="952697" y="3556099"/>
                  <a:pt x="963044" y="3547742"/>
                  <a:pt x="974186" y="3539385"/>
                </a:cubicBezTo>
                <a:cubicBezTo>
                  <a:pt x="966625" y="3529436"/>
                  <a:pt x="960258" y="3520681"/>
                  <a:pt x="951901" y="3509538"/>
                </a:cubicBezTo>
                <a:close/>
                <a:moveTo>
                  <a:pt x="1078848" y="3484070"/>
                </a:moveTo>
                <a:cubicBezTo>
                  <a:pt x="1067705" y="3493222"/>
                  <a:pt x="1057358" y="3501181"/>
                  <a:pt x="1046216" y="3510334"/>
                </a:cubicBezTo>
                <a:cubicBezTo>
                  <a:pt x="1053777" y="3519885"/>
                  <a:pt x="1060542" y="3528640"/>
                  <a:pt x="1068501" y="3538191"/>
                </a:cubicBezTo>
                <a:cubicBezTo>
                  <a:pt x="1079644" y="3528640"/>
                  <a:pt x="1089990" y="3519885"/>
                  <a:pt x="1100337" y="3510732"/>
                </a:cubicBezTo>
                <a:cubicBezTo>
                  <a:pt x="1092776" y="3500784"/>
                  <a:pt x="1086011" y="3492825"/>
                  <a:pt x="1078848" y="3484070"/>
                </a:cubicBezTo>
                <a:close/>
                <a:moveTo>
                  <a:pt x="1236437" y="3478896"/>
                </a:moveTo>
                <a:cubicBezTo>
                  <a:pt x="1234447" y="3481284"/>
                  <a:pt x="1232457" y="3483274"/>
                  <a:pt x="1230467" y="3485263"/>
                </a:cubicBezTo>
                <a:cubicBezTo>
                  <a:pt x="1243202" y="3498794"/>
                  <a:pt x="1255936" y="3511926"/>
                  <a:pt x="1268671" y="3525456"/>
                </a:cubicBezTo>
                <a:cubicBezTo>
                  <a:pt x="1271059" y="3523069"/>
                  <a:pt x="1273446" y="3520681"/>
                  <a:pt x="1275436" y="3518293"/>
                </a:cubicBezTo>
                <a:cubicBezTo>
                  <a:pt x="1262304" y="3505161"/>
                  <a:pt x="1249569" y="3492029"/>
                  <a:pt x="1236437" y="3478896"/>
                </a:cubicBezTo>
                <a:close/>
                <a:moveTo>
                  <a:pt x="957074" y="3412836"/>
                </a:moveTo>
                <a:cubicBezTo>
                  <a:pt x="944340" y="3421591"/>
                  <a:pt x="933993" y="3428754"/>
                  <a:pt x="922453" y="3436713"/>
                </a:cubicBezTo>
                <a:cubicBezTo>
                  <a:pt x="930014" y="3447856"/>
                  <a:pt x="935983" y="3456611"/>
                  <a:pt x="943146" y="3466958"/>
                </a:cubicBezTo>
                <a:cubicBezTo>
                  <a:pt x="954687" y="3458601"/>
                  <a:pt x="965431" y="3451040"/>
                  <a:pt x="977370" y="3442682"/>
                </a:cubicBezTo>
                <a:cubicBezTo>
                  <a:pt x="970605" y="3432734"/>
                  <a:pt x="964636" y="3423979"/>
                  <a:pt x="957074" y="3412836"/>
                </a:cubicBezTo>
                <a:close/>
                <a:moveTo>
                  <a:pt x="3465366" y="3410050"/>
                </a:moveTo>
                <a:cubicBezTo>
                  <a:pt x="3430744" y="3452233"/>
                  <a:pt x="3397316" y="3493222"/>
                  <a:pt x="3363092" y="3535405"/>
                </a:cubicBezTo>
                <a:cubicBezTo>
                  <a:pt x="3341205" y="3515906"/>
                  <a:pt x="3320909" y="3498396"/>
                  <a:pt x="3300613" y="3480090"/>
                </a:cubicBezTo>
                <a:cubicBezTo>
                  <a:pt x="3292654" y="3488447"/>
                  <a:pt x="3286685" y="3495610"/>
                  <a:pt x="3278726" y="3503967"/>
                </a:cubicBezTo>
                <a:cubicBezTo>
                  <a:pt x="3393336" y="3612608"/>
                  <a:pt x="3505956" y="3720055"/>
                  <a:pt x="3619373" y="3826706"/>
                </a:cubicBezTo>
                <a:cubicBezTo>
                  <a:pt x="3623352" y="3830288"/>
                  <a:pt x="3633301" y="3831084"/>
                  <a:pt x="3638475" y="3829094"/>
                </a:cubicBezTo>
                <a:cubicBezTo>
                  <a:pt x="3659566" y="3820339"/>
                  <a:pt x="3680260" y="3809992"/>
                  <a:pt x="3701351" y="3800043"/>
                </a:cubicBezTo>
                <a:cubicBezTo>
                  <a:pt x="3700157" y="3798849"/>
                  <a:pt x="3698565" y="3797258"/>
                  <a:pt x="3697372" y="3796064"/>
                </a:cubicBezTo>
                <a:cubicBezTo>
                  <a:pt x="3700555" y="3788901"/>
                  <a:pt x="3702545" y="3781340"/>
                  <a:pt x="3706922" y="3775370"/>
                </a:cubicBezTo>
                <a:cubicBezTo>
                  <a:pt x="3731993" y="3743136"/>
                  <a:pt x="3758258" y="3711698"/>
                  <a:pt x="3785319" y="3678270"/>
                </a:cubicBezTo>
                <a:cubicBezTo>
                  <a:pt x="3778952" y="3674291"/>
                  <a:pt x="3774176" y="3671505"/>
                  <a:pt x="3769799" y="3668719"/>
                </a:cubicBezTo>
                <a:cubicBezTo>
                  <a:pt x="3738758" y="3707320"/>
                  <a:pt x="3708514" y="3743932"/>
                  <a:pt x="3677474" y="3782135"/>
                </a:cubicBezTo>
                <a:cubicBezTo>
                  <a:pt x="3655984" y="3762636"/>
                  <a:pt x="3635689" y="3745126"/>
                  <a:pt x="3615393" y="3727218"/>
                </a:cubicBezTo>
                <a:cubicBezTo>
                  <a:pt x="3644842" y="3691402"/>
                  <a:pt x="3673096" y="3656383"/>
                  <a:pt x="3700555" y="3622159"/>
                </a:cubicBezTo>
                <a:cubicBezTo>
                  <a:pt x="3691402" y="3609026"/>
                  <a:pt x="3686229" y="3613006"/>
                  <a:pt x="3679464" y="3621363"/>
                </a:cubicBezTo>
                <a:cubicBezTo>
                  <a:pt x="3653199" y="3654791"/>
                  <a:pt x="3626138" y="3687423"/>
                  <a:pt x="3598679" y="3721647"/>
                </a:cubicBezTo>
                <a:cubicBezTo>
                  <a:pt x="3575996" y="3701749"/>
                  <a:pt x="3555700" y="3683443"/>
                  <a:pt x="3534211" y="3664740"/>
                </a:cubicBezTo>
                <a:cubicBezTo>
                  <a:pt x="3539782" y="3657576"/>
                  <a:pt x="3544558" y="3652005"/>
                  <a:pt x="3548936" y="3646434"/>
                </a:cubicBezTo>
                <a:cubicBezTo>
                  <a:pt x="3570823" y="3619771"/>
                  <a:pt x="3592710" y="3593108"/>
                  <a:pt x="3613802" y="3566048"/>
                </a:cubicBezTo>
                <a:cubicBezTo>
                  <a:pt x="3616985" y="3562068"/>
                  <a:pt x="3615791" y="3555303"/>
                  <a:pt x="3616587" y="3549732"/>
                </a:cubicBezTo>
                <a:cubicBezTo>
                  <a:pt x="3614598" y="3549732"/>
                  <a:pt x="3612608" y="3549333"/>
                  <a:pt x="3610618" y="3548936"/>
                </a:cubicBezTo>
                <a:cubicBezTo>
                  <a:pt x="3580374" y="3585547"/>
                  <a:pt x="3550129" y="3622159"/>
                  <a:pt x="3519089" y="3659566"/>
                </a:cubicBezTo>
                <a:cubicBezTo>
                  <a:pt x="3496008" y="3638873"/>
                  <a:pt x="3474916" y="3620169"/>
                  <a:pt x="3454621" y="3601863"/>
                </a:cubicBezTo>
                <a:cubicBezTo>
                  <a:pt x="3483273" y="3566048"/>
                  <a:pt x="3510334" y="3532620"/>
                  <a:pt x="3536997" y="3498794"/>
                </a:cubicBezTo>
                <a:cubicBezTo>
                  <a:pt x="3540181" y="3494814"/>
                  <a:pt x="3540578" y="3488447"/>
                  <a:pt x="3542568" y="3483274"/>
                </a:cubicBezTo>
                <a:cubicBezTo>
                  <a:pt x="3540578" y="3482478"/>
                  <a:pt x="3538987" y="3481682"/>
                  <a:pt x="3536997" y="3480886"/>
                </a:cubicBezTo>
                <a:cubicBezTo>
                  <a:pt x="3505161" y="3519487"/>
                  <a:pt x="3473325" y="3558088"/>
                  <a:pt x="3440693" y="3597884"/>
                </a:cubicBezTo>
                <a:cubicBezTo>
                  <a:pt x="3417213" y="3577190"/>
                  <a:pt x="3395724" y="3557691"/>
                  <a:pt x="3373837" y="3538191"/>
                </a:cubicBezTo>
                <a:cubicBezTo>
                  <a:pt x="3392540" y="3515906"/>
                  <a:pt x="3409652" y="3496008"/>
                  <a:pt x="3426366" y="3475315"/>
                </a:cubicBezTo>
                <a:cubicBezTo>
                  <a:pt x="3468151" y="3423183"/>
                  <a:pt x="3468151" y="3423183"/>
                  <a:pt x="3465366" y="3410050"/>
                </a:cubicBezTo>
                <a:close/>
                <a:moveTo>
                  <a:pt x="1053777" y="3369459"/>
                </a:moveTo>
                <a:cubicBezTo>
                  <a:pt x="1042236" y="3377418"/>
                  <a:pt x="1031491" y="3384582"/>
                  <a:pt x="1019155" y="3392938"/>
                </a:cubicBezTo>
                <a:cubicBezTo>
                  <a:pt x="1026716" y="3403285"/>
                  <a:pt x="1032287" y="3411642"/>
                  <a:pt x="1039053" y="3421193"/>
                </a:cubicBezTo>
                <a:cubicBezTo>
                  <a:pt x="1050991" y="3412438"/>
                  <a:pt x="1061736" y="3404877"/>
                  <a:pt x="1072879" y="3396520"/>
                </a:cubicBezTo>
                <a:cubicBezTo>
                  <a:pt x="1066511" y="3387367"/>
                  <a:pt x="1060542" y="3379010"/>
                  <a:pt x="1053777" y="3369459"/>
                </a:cubicBezTo>
                <a:close/>
                <a:moveTo>
                  <a:pt x="3675484" y="3152177"/>
                </a:moveTo>
                <a:cubicBezTo>
                  <a:pt x="3672698" y="3158943"/>
                  <a:pt x="3670311" y="3164116"/>
                  <a:pt x="3667127" y="3170085"/>
                </a:cubicBezTo>
                <a:cubicBezTo>
                  <a:pt x="3675086" y="3173269"/>
                  <a:pt x="3681851" y="3176453"/>
                  <a:pt x="3689412" y="3179636"/>
                </a:cubicBezTo>
                <a:cubicBezTo>
                  <a:pt x="3692596" y="3173269"/>
                  <a:pt x="3694586" y="3168494"/>
                  <a:pt x="3697769" y="3161330"/>
                </a:cubicBezTo>
                <a:cubicBezTo>
                  <a:pt x="3689412" y="3157749"/>
                  <a:pt x="3683045" y="3155361"/>
                  <a:pt x="3675484" y="3152177"/>
                </a:cubicBezTo>
                <a:close/>
                <a:moveTo>
                  <a:pt x="784363" y="3125913"/>
                </a:moveTo>
                <a:cubicBezTo>
                  <a:pt x="781180" y="3135066"/>
                  <a:pt x="777996" y="3139443"/>
                  <a:pt x="779190" y="3141831"/>
                </a:cubicBezTo>
                <a:cubicBezTo>
                  <a:pt x="792720" y="3173269"/>
                  <a:pt x="806649" y="3204707"/>
                  <a:pt x="820577" y="3236146"/>
                </a:cubicBezTo>
                <a:cubicBezTo>
                  <a:pt x="821771" y="3238931"/>
                  <a:pt x="826148" y="3240125"/>
                  <a:pt x="828934" y="3242115"/>
                </a:cubicBezTo>
                <a:cubicBezTo>
                  <a:pt x="829730" y="3238931"/>
                  <a:pt x="832515" y="3234951"/>
                  <a:pt x="831322" y="3232166"/>
                </a:cubicBezTo>
                <a:cubicBezTo>
                  <a:pt x="816995" y="3198738"/>
                  <a:pt x="801873" y="3165310"/>
                  <a:pt x="784363" y="3125913"/>
                </a:cubicBezTo>
                <a:close/>
                <a:moveTo>
                  <a:pt x="3741146" y="3119943"/>
                </a:moveTo>
                <a:cubicBezTo>
                  <a:pt x="3738361" y="3126311"/>
                  <a:pt x="3735973" y="3131484"/>
                  <a:pt x="3732789" y="3138647"/>
                </a:cubicBezTo>
                <a:cubicBezTo>
                  <a:pt x="3741544" y="3142229"/>
                  <a:pt x="3748309" y="3144617"/>
                  <a:pt x="3755871" y="3147800"/>
                </a:cubicBezTo>
                <a:cubicBezTo>
                  <a:pt x="3758258" y="3140637"/>
                  <a:pt x="3760646" y="3135066"/>
                  <a:pt x="3763034" y="3128300"/>
                </a:cubicBezTo>
                <a:cubicBezTo>
                  <a:pt x="3755075" y="3125117"/>
                  <a:pt x="3748707" y="3122729"/>
                  <a:pt x="3741146" y="3119943"/>
                </a:cubicBezTo>
                <a:close/>
                <a:moveTo>
                  <a:pt x="828536" y="3115964"/>
                </a:moveTo>
                <a:cubicBezTo>
                  <a:pt x="825352" y="3116760"/>
                  <a:pt x="822567" y="3117556"/>
                  <a:pt x="819781" y="3118352"/>
                </a:cubicBezTo>
                <a:cubicBezTo>
                  <a:pt x="825750" y="3150188"/>
                  <a:pt x="843260" y="3178044"/>
                  <a:pt x="855597" y="3207891"/>
                </a:cubicBezTo>
                <a:cubicBezTo>
                  <a:pt x="857984" y="3213860"/>
                  <a:pt x="863158" y="3218636"/>
                  <a:pt x="867137" y="3224207"/>
                </a:cubicBezTo>
                <a:cubicBezTo>
                  <a:pt x="869525" y="3223013"/>
                  <a:pt x="871515" y="3221421"/>
                  <a:pt x="873505" y="3219829"/>
                </a:cubicBezTo>
                <a:cubicBezTo>
                  <a:pt x="858780" y="3185207"/>
                  <a:pt x="843658" y="3150586"/>
                  <a:pt x="828536" y="3115964"/>
                </a:cubicBezTo>
                <a:close/>
                <a:moveTo>
                  <a:pt x="3607335" y="3108154"/>
                </a:moveTo>
                <a:cubicBezTo>
                  <a:pt x="3602460" y="3108005"/>
                  <a:pt x="3598481" y="3111786"/>
                  <a:pt x="3595894" y="3123923"/>
                </a:cubicBezTo>
                <a:cubicBezTo>
                  <a:pt x="3603057" y="3127107"/>
                  <a:pt x="3609424" y="3129892"/>
                  <a:pt x="3617383" y="3133076"/>
                </a:cubicBezTo>
                <a:cubicBezTo>
                  <a:pt x="3619771" y="3126709"/>
                  <a:pt x="3622159" y="3121535"/>
                  <a:pt x="3624148" y="3115964"/>
                </a:cubicBezTo>
                <a:cubicBezTo>
                  <a:pt x="3617980" y="3112383"/>
                  <a:pt x="3612210" y="3108304"/>
                  <a:pt x="3607335" y="3108154"/>
                </a:cubicBezTo>
                <a:close/>
                <a:moveTo>
                  <a:pt x="903351" y="3093679"/>
                </a:moveTo>
                <a:cubicBezTo>
                  <a:pt x="901361" y="3094474"/>
                  <a:pt x="899371" y="3095668"/>
                  <a:pt x="897382" y="3096464"/>
                </a:cubicBezTo>
                <a:cubicBezTo>
                  <a:pt x="927228" y="3157749"/>
                  <a:pt x="956676" y="3218636"/>
                  <a:pt x="986523" y="3279920"/>
                </a:cubicBezTo>
                <a:cubicBezTo>
                  <a:pt x="988513" y="3278726"/>
                  <a:pt x="990502" y="3277930"/>
                  <a:pt x="992492" y="3277135"/>
                </a:cubicBezTo>
                <a:cubicBezTo>
                  <a:pt x="962646" y="3215850"/>
                  <a:pt x="933197" y="3154963"/>
                  <a:pt x="903351" y="3093679"/>
                </a:cubicBezTo>
                <a:close/>
                <a:moveTo>
                  <a:pt x="3796461" y="3085322"/>
                </a:moveTo>
                <a:cubicBezTo>
                  <a:pt x="3794074" y="3093281"/>
                  <a:pt x="3792084" y="3099250"/>
                  <a:pt x="3790094" y="3106015"/>
                </a:cubicBezTo>
                <a:cubicBezTo>
                  <a:pt x="3798849" y="3108801"/>
                  <a:pt x="3804819" y="3110791"/>
                  <a:pt x="3812379" y="3113576"/>
                </a:cubicBezTo>
                <a:cubicBezTo>
                  <a:pt x="3814767" y="3106811"/>
                  <a:pt x="3816757" y="3100842"/>
                  <a:pt x="3819543" y="3093679"/>
                </a:cubicBezTo>
                <a:cubicBezTo>
                  <a:pt x="3811584" y="3090893"/>
                  <a:pt x="3805216" y="3088505"/>
                  <a:pt x="3796461" y="3085322"/>
                </a:cubicBezTo>
                <a:close/>
                <a:moveTo>
                  <a:pt x="975778" y="3063036"/>
                </a:moveTo>
                <a:cubicBezTo>
                  <a:pt x="973390" y="3064230"/>
                  <a:pt x="971401" y="3065026"/>
                  <a:pt x="969013" y="3066220"/>
                </a:cubicBezTo>
                <a:cubicBezTo>
                  <a:pt x="991696" y="3115566"/>
                  <a:pt x="1013982" y="3164514"/>
                  <a:pt x="1037063" y="3215054"/>
                </a:cubicBezTo>
                <a:cubicBezTo>
                  <a:pt x="1030298" y="3218636"/>
                  <a:pt x="1023532" y="3222217"/>
                  <a:pt x="1013584" y="3227788"/>
                </a:cubicBezTo>
                <a:cubicBezTo>
                  <a:pt x="989706" y="3176453"/>
                  <a:pt x="966227" y="3126311"/>
                  <a:pt x="942748" y="3076169"/>
                </a:cubicBezTo>
                <a:cubicBezTo>
                  <a:pt x="940758" y="3077363"/>
                  <a:pt x="938371" y="3078159"/>
                  <a:pt x="936381" y="3079352"/>
                </a:cubicBezTo>
                <a:cubicBezTo>
                  <a:pt x="958666" y="3142627"/>
                  <a:pt x="989706" y="3201524"/>
                  <a:pt x="1023134" y="3261216"/>
                </a:cubicBezTo>
                <a:cubicBezTo>
                  <a:pt x="1037461" y="3252461"/>
                  <a:pt x="1049797" y="3245298"/>
                  <a:pt x="1060940" y="3238533"/>
                </a:cubicBezTo>
                <a:cubicBezTo>
                  <a:pt x="1031889" y="3178442"/>
                  <a:pt x="1004033" y="3120739"/>
                  <a:pt x="975778" y="3063036"/>
                </a:cubicBezTo>
                <a:close/>
                <a:moveTo>
                  <a:pt x="734221" y="3062240"/>
                </a:moveTo>
                <a:cubicBezTo>
                  <a:pt x="726262" y="3064628"/>
                  <a:pt x="720293" y="3066618"/>
                  <a:pt x="711538" y="3069801"/>
                </a:cubicBezTo>
                <a:cubicBezTo>
                  <a:pt x="714722" y="3077363"/>
                  <a:pt x="716711" y="3083332"/>
                  <a:pt x="719497" y="3089699"/>
                </a:cubicBezTo>
                <a:cubicBezTo>
                  <a:pt x="727854" y="3086515"/>
                  <a:pt x="734221" y="3084128"/>
                  <a:pt x="742180" y="3081342"/>
                </a:cubicBezTo>
                <a:cubicBezTo>
                  <a:pt x="739395" y="3074179"/>
                  <a:pt x="737007" y="3068608"/>
                  <a:pt x="734221" y="3062240"/>
                </a:cubicBezTo>
                <a:close/>
                <a:moveTo>
                  <a:pt x="3673842" y="3042592"/>
                </a:moveTo>
                <a:cubicBezTo>
                  <a:pt x="3668918" y="3042841"/>
                  <a:pt x="3665336" y="3046920"/>
                  <a:pt x="3663943" y="3059057"/>
                </a:cubicBezTo>
                <a:cubicBezTo>
                  <a:pt x="3671107" y="3061842"/>
                  <a:pt x="3677474" y="3064230"/>
                  <a:pt x="3685831" y="3067414"/>
                </a:cubicBezTo>
                <a:cubicBezTo>
                  <a:pt x="3687821" y="3060649"/>
                  <a:pt x="3689810" y="3055077"/>
                  <a:pt x="3691800" y="3049108"/>
                </a:cubicBezTo>
                <a:cubicBezTo>
                  <a:pt x="3685035" y="3045925"/>
                  <a:pt x="3678767" y="3042343"/>
                  <a:pt x="3673842" y="3042592"/>
                </a:cubicBezTo>
                <a:close/>
                <a:moveTo>
                  <a:pt x="862760" y="3018466"/>
                </a:moveTo>
                <a:cubicBezTo>
                  <a:pt x="854005" y="3021649"/>
                  <a:pt x="847638" y="3024037"/>
                  <a:pt x="840077" y="3027221"/>
                </a:cubicBezTo>
                <a:cubicBezTo>
                  <a:pt x="842862" y="3033986"/>
                  <a:pt x="845250" y="3039159"/>
                  <a:pt x="847638" y="3045129"/>
                </a:cubicBezTo>
                <a:cubicBezTo>
                  <a:pt x="855597" y="3041945"/>
                  <a:pt x="861964" y="3039557"/>
                  <a:pt x="869525" y="3036374"/>
                </a:cubicBezTo>
                <a:cubicBezTo>
                  <a:pt x="867137" y="3030404"/>
                  <a:pt x="865545" y="3025629"/>
                  <a:pt x="862760" y="3018466"/>
                </a:cubicBezTo>
                <a:close/>
                <a:moveTo>
                  <a:pt x="755711" y="2994986"/>
                </a:moveTo>
                <a:cubicBezTo>
                  <a:pt x="747354" y="2997772"/>
                  <a:pt x="740589" y="2999762"/>
                  <a:pt x="732630" y="3002548"/>
                </a:cubicBezTo>
                <a:cubicBezTo>
                  <a:pt x="735415" y="3009711"/>
                  <a:pt x="737405" y="3015282"/>
                  <a:pt x="739793" y="3022047"/>
                </a:cubicBezTo>
                <a:cubicBezTo>
                  <a:pt x="748150" y="3019262"/>
                  <a:pt x="754915" y="3016874"/>
                  <a:pt x="761680" y="3014884"/>
                </a:cubicBezTo>
                <a:cubicBezTo>
                  <a:pt x="759690" y="3008119"/>
                  <a:pt x="758098" y="3002946"/>
                  <a:pt x="755711" y="2994986"/>
                </a:cubicBezTo>
                <a:close/>
                <a:moveTo>
                  <a:pt x="936182" y="2987376"/>
                </a:moveTo>
                <a:cubicBezTo>
                  <a:pt x="932800" y="2986331"/>
                  <a:pt x="927228" y="2989216"/>
                  <a:pt x="916085" y="2994986"/>
                </a:cubicBezTo>
                <a:cubicBezTo>
                  <a:pt x="918075" y="2999762"/>
                  <a:pt x="920065" y="3004935"/>
                  <a:pt x="922453" y="3010905"/>
                </a:cubicBezTo>
                <a:cubicBezTo>
                  <a:pt x="930412" y="3008119"/>
                  <a:pt x="936779" y="3005731"/>
                  <a:pt x="943146" y="3003344"/>
                </a:cubicBezTo>
                <a:cubicBezTo>
                  <a:pt x="940759" y="2993395"/>
                  <a:pt x="939565" y="2988421"/>
                  <a:pt x="936182" y="2987376"/>
                </a:cubicBezTo>
                <a:close/>
                <a:moveTo>
                  <a:pt x="695620" y="2958375"/>
                </a:moveTo>
                <a:cubicBezTo>
                  <a:pt x="687263" y="2961161"/>
                  <a:pt x="680498" y="2963150"/>
                  <a:pt x="672937" y="2965538"/>
                </a:cubicBezTo>
                <a:cubicBezTo>
                  <a:pt x="675324" y="2972701"/>
                  <a:pt x="676916" y="2978272"/>
                  <a:pt x="679304" y="2985834"/>
                </a:cubicBezTo>
                <a:cubicBezTo>
                  <a:pt x="688059" y="2983048"/>
                  <a:pt x="694824" y="2981058"/>
                  <a:pt x="702783" y="2978272"/>
                </a:cubicBezTo>
                <a:cubicBezTo>
                  <a:pt x="699997" y="2971109"/>
                  <a:pt x="698008" y="2965140"/>
                  <a:pt x="695620" y="2958375"/>
                </a:cubicBezTo>
                <a:close/>
                <a:moveTo>
                  <a:pt x="787149" y="2935294"/>
                </a:moveTo>
                <a:cubicBezTo>
                  <a:pt x="780384" y="2937283"/>
                  <a:pt x="773619" y="2938875"/>
                  <a:pt x="766058" y="2941263"/>
                </a:cubicBezTo>
                <a:cubicBezTo>
                  <a:pt x="768047" y="2948028"/>
                  <a:pt x="769639" y="2953202"/>
                  <a:pt x="771231" y="2960365"/>
                </a:cubicBezTo>
                <a:cubicBezTo>
                  <a:pt x="787547" y="2957181"/>
                  <a:pt x="801077" y="2955191"/>
                  <a:pt x="787149" y="2935294"/>
                </a:cubicBezTo>
                <a:close/>
                <a:moveTo>
                  <a:pt x="875096" y="2926141"/>
                </a:moveTo>
                <a:cubicBezTo>
                  <a:pt x="867137" y="2928528"/>
                  <a:pt x="860372" y="2930518"/>
                  <a:pt x="852811" y="2932508"/>
                </a:cubicBezTo>
                <a:cubicBezTo>
                  <a:pt x="854005" y="2938477"/>
                  <a:pt x="855199" y="2943253"/>
                  <a:pt x="856791" y="2950814"/>
                </a:cubicBezTo>
                <a:cubicBezTo>
                  <a:pt x="865545" y="2948426"/>
                  <a:pt x="872311" y="2946436"/>
                  <a:pt x="880270" y="2944447"/>
                </a:cubicBezTo>
                <a:cubicBezTo>
                  <a:pt x="878678" y="2937682"/>
                  <a:pt x="877086" y="2932508"/>
                  <a:pt x="875096" y="2926141"/>
                </a:cubicBezTo>
                <a:close/>
                <a:moveTo>
                  <a:pt x="3823920" y="2903060"/>
                </a:moveTo>
                <a:cubicBezTo>
                  <a:pt x="3813175" y="2943253"/>
                  <a:pt x="3803227" y="2980660"/>
                  <a:pt x="3792084" y="3022047"/>
                </a:cubicBezTo>
                <a:cubicBezTo>
                  <a:pt x="3812379" y="3010905"/>
                  <a:pt x="3836655" y="2916192"/>
                  <a:pt x="3823920" y="2903060"/>
                </a:cubicBezTo>
                <a:close/>
                <a:moveTo>
                  <a:pt x="3792880" y="2894305"/>
                </a:moveTo>
                <a:cubicBezTo>
                  <a:pt x="3784921" y="2896692"/>
                  <a:pt x="3780145" y="2897090"/>
                  <a:pt x="3779748" y="2898682"/>
                </a:cubicBezTo>
                <a:cubicBezTo>
                  <a:pt x="3769799" y="2933304"/>
                  <a:pt x="3760646" y="2967528"/>
                  <a:pt x="3751493" y="3002150"/>
                </a:cubicBezTo>
                <a:cubicBezTo>
                  <a:pt x="3751095" y="3004537"/>
                  <a:pt x="3753881" y="3007721"/>
                  <a:pt x="3755075" y="3010507"/>
                </a:cubicBezTo>
                <a:cubicBezTo>
                  <a:pt x="3757462" y="3009711"/>
                  <a:pt x="3759850" y="3008517"/>
                  <a:pt x="3762238" y="3007721"/>
                </a:cubicBezTo>
                <a:cubicBezTo>
                  <a:pt x="3772186" y="2971109"/>
                  <a:pt x="3782135" y="2934498"/>
                  <a:pt x="3792880" y="2894305"/>
                </a:cubicBezTo>
                <a:close/>
                <a:moveTo>
                  <a:pt x="3723238" y="2776909"/>
                </a:moveTo>
                <a:cubicBezTo>
                  <a:pt x="3708116" y="2842969"/>
                  <a:pt x="3692994" y="2909029"/>
                  <a:pt x="3677872" y="2975089"/>
                </a:cubicBezTo>
                <a:cubicBezTo>
                  <a:pt x="3679862" y="2975487"/>
                  <a:pt x="3682249" y="2976283"/>
                  <a:pt x="3684239" y="2976681"/>
                </a:cubicBezTo>
                <a:cubicBezTo>
                  <a:pt x="3699759" y="2910621"/>
                  <a:pt x="3714881" y="2844959"/>
                  <a:pt x="3730004" y="2778899"/>
                </a:cubicBezTo>
                <a:cubicBezTo>
                  <a:pt x="3727616" y="2778103"/>
                  <a:pt x="3725626" y="2777307"/>
                  <a:pt x="3723238" y="2776909"/>
                </a:cubicBezTo>
                <a:close/>
                <a:moveTo>
                  <a:pt x="3684239" y="2770144"/>
                </a:moveTo>
                <a:cubicBezTo>
                  <a:pt x="3669515" y="2834612"/>
                  <a:pt x="3654791" y="2899080"/>
                  <a:pt x="3639270" y="2966334"/>
                </a:cubicBezTo>
                <a:cubicBezTo>
                  <a:pt x="3657576" y="2940865"/>
                  <a:pt x="3691402" y="2788051"/>
                  <a:pt x="3684239" y="2770144"/>
                </a:cubicBezTo>
                <a:close/>
                <a:moveTo>
                  <a:pt x="3803227" y="2767358"/>
                </a:moveTo>
                <a:cubicBezTo>
                  <a:pt x="3796860" y="2804368"/>
                  <a:pt x="3790492" y="2841377"/>
                  <a:pt x="3785319" y="2872019"/>
                </a:cubicBezTo>
                <a:cubicBezTo>
                  <a:pt x="3804420" y="2875999"/>
                  <a:pt x="3819145" y="2879183"/>
                  <a:pt x="3833869" y="2882366"/>
                </a:cubicBezTo>
                <a:cubicBezTo>
                  <a:pt x="3833471" y="2883560"/>
                  <a:pt x="3833073" y="2884356"/>
                  <a:pt x="3832675" y="2885152"/>
                </a:cubicBezTo>
                <a:cubicBezTo>
                  <a:pt x="3845012" y="2885152"/>
                  <a:pt x="3856950" y="2885152"/>
                  <a:pt x="3872868" y="2885152"/>
                </a:cubicBezTo>
                <a:cubicBezTo>
                  <a:pt x="3859736" y="2936090"/>
                  <a:pt x="3847797" y="2983446"/>
                  <a:pt x="3835461" y="3030802"/>
                </a:cubicBezTo>
                <a:cubicBezTo>
                  <a:pt x="3852971" y="3036374"/>
                  <a:pt x="3869287" y="3041945"/>
                  <a:pt x="3886001" y="3047516"/>
                </a:cubicBezTo>
                <a:cubicBezTo>
                  <a:pt x="3881225" y="3062638"/>
                  <a:pt x="3877246" y="3076169"/>
                  <a:pt x="3872868" y="3090495"/>
                </a:cubicBezTo>
                <a:cubicBezTo>
                  <a:pt x="3886797" y="3095668"/>
                  <a:pt x="3898735" y="3100444"/>
                  <a:pt x="3913062" y="3106015"/>
                </a:cubicBezTo>
                <a:cubicBezTo>
                  <a:pt x="3894756" y="3152576"/>
                  <a:pt x="3877246" y="3197146"/>
                  <a:pt x="3859338" y="3242513"/>
                </a:cubicBezTo>
                <a:cubicBezTo>
                  <a:pt x="3844216" y="3236146"/>
                  <a:pt x="3832277" y="3231370"/>
                  <a:pt x="3819941" y="3226197"/>
                </a:cubicBezTo>
                <a:cubicBezTo>
                  <a:pt x="3812379" y="3242115"/>
                  <a:pt x="3805614" y="3256441"/>
                  <a:pt x="3798053" y="3271961"/>
                </a:cubicBezTo>
                <a:cubicBezTo>
                  <a:pt x="3706922" y="3228584"/>
                  <a:pt x="3617383" y="3186003"/>
                  <a:pt x="3526252" y="3142627"/>
                </a:cubicBezTo>
                <a:cubicBezTo>
                  <a:pt x="3520283" y="3154963"/>
                  <a:pt x="3515110" y="3165708"/>
                  <a:pt x="3509140" y="3178044"/>
                </a:cubicBezTo>
                <a:cubicBezTo>
                  <a:pt x="3533813" y="3191177"/>
                  <a:pt x="3557292" y="3203115"/>
                  <a:pt x="3582761" y="3216646"/>
                </a:cubicBezTo>
                <a:cubicBezTo>
                  <a:pt x="3554905" y="3264798"/>
                  <a:pt x="3527844" y="3310960"/>
                  <a:pt x="3501181" y="3357123"/>
                </a:cubicBezTo>
                <a:cubicBezTo>
                  <a:pt x="3503171" y="3358715"/>
                  <a:pt x="3505559" y="3359908"/>
                  <a:pt x="3507548" y="3361102"/>
                </a:cubicBezTo>
                <a:cubicBezTo>
                  <a:pt x="3538589" y="3319317"/>
                  <a:pt x="3562466" y="3272359"/>
                  <a:pt x="3588731" y="3225799"/>
                </a:cubicBezTo>
                <a:cubicBezTo>
                  <a:pt x="3615393" y="3239727"/>
                  <a:pt x="3641260" y="3252859"/>
                  <a:pt x="3668321" y="3267186"/>
                </a:cubicBezTo>
                <a:cubicBezTo>
                  <a:pt x="3642454" y="3312552"/>
                  <a:pt x="3617383" y="3355929"/>
                  <a:pt x="3592312" y="3399306"/>
                </a:cubicBezTo>
                <a:cubicBezTo>
                  <a:pt x="3593506" y="3400897"/>
                  <a:pt x="3595098" y="3402489"/>
                  <a:pt x="3596292" y="3404081"/>
                </a:cubicBezTo>
                <a:cubicBezTo>
                  <a:pt x="3600669" y="3400500"/>
                  <a:pt x="3606240" y="3397714"/>
                  <a:pt x="3609026" y="3392938"/>
                </a:cubicBezTo>
                <a:cubicBezTo>
                  <a:pt x="3631709" y="3355133"/>
                  <a:pt x="3653995" y="3317328"/>
                  <a:pt x="3677076" y="3278328"/>
                </a:cubicBezTo>
                <a:cubicBezTo>
                  <a:pt x="3702943" y="3291859"/>
                  <a:pt x="3727616" y="3304991"/>
                  <a:pt x="3754279" y="3318919"/>
                </a:cubicBezTo>
                <a:cubicBezTo>
                  <a:pt x="3730799" y="3358715"/>
                  <a:pt x="3709310" y="3395724"/>
                  <a:pt x="3687423" y="3432734"/>
                </a:cubicBezTo>
                <a:cubicBezTo>
                  <a:pt x="3683443" y="3439897"/>
                  <a:pt x="3675882" y="3447856"/>
                  <a:pt x="3693790" y="3451437"/>
                </a:cubicBezTo>
                <a:cubicBezTo>
                  <a:pt x="3716871" y="3412040"/>
                  <a:pt x="3739952" y="3372245"/>
                  <a:pt x="3764227" y="3330858"/>
                </a:cubicBezTo>
                <a:cubicBezTo>
                  <a:pt x="3788900" y="3343990"/>
                  <a:pt x="3813175" y="3356725"/>
                  <a:pt x="3839440" y="3370653"/>
                </a:cubicBezTo>
                <a:cubicBezTo>
                  <a:pt x="3814767" y="3413234"/>
                  <a:pt x="3791288" y="3453825"/>
                  <a:pt x="3767411" y="3495212"/>
                </a:cubicBezTo>
                <a:cubicBezTo>
                  <a:pt x="3770993" y="3497600"/>
                  <a:pt x="3774574" y="3500385"/>
                  <a:pt x="3780543" y="3504763"/>
                </a:cubicBezTo>
                <a:cubicBezTo>
                  <a:pt x="3804819" y="3463376"/>
                  <a:pt x="3827900" y="3423979"/>
                  <a:pt x="3851379" y="3384183"/>
                </a:cubicBezTo>
                <a:cubicBezTo>
                  <a:pt x="3875654" y="3397316"/>
                  <a:pt x="3899133" y="3409652"/>
                  <a:pt x="3924602" y="3423183"/>
                </a:cubicBezTo>
                <a:cubicBezTo>
                  <a:pt x="3899531" y="3466958"/>
                  <a:pt x="3874858" y="3509140"/>
                  <a:pt x="3849787" y="3552517"/>
                </a:cubicBezTo>
                <a:cubicBezTo>
                  <a:pt x="3854563" y="3555701"/>
                  <a:pt x="3858940" y="3558487"/>
                  <a:pt x="3864909" y="3562466"/>
                </a:cubicBezTo>
                <a:cubicBezTo>
                  <a:pt x="3889582" y="3520681"/>
                  <a:pt x="3913459" y="3480488"/>
                  <a:pt x="3937734" y="3438305"/>
                </a:cubicBezTo>
                <a:cubicBezTo>
                  <a:pt x="3956438" y="3448254"/>
                  <a:pt x="3974346" y="3457407"/>
                  <a:pt x="3992254" y="3466560"/>
                </a:cubicBezTo>
                <a:cubicBezTo>
                  <a:pt x="4111640" y="3201524"/>
                  <a:pt x="4029661" y="2884754"/>
                  <a:pt x="3803227" y="2767358"/>
                </a:cubicBezTo>
                <a:close/>
                <a:moveTo>
                  <a:pt x="3645638" y="2764970"/>
                </a:moveTo>
                <a:cubicBezTo>
                  <a:pt x="3631311" y="2827847"/>
                  <a:pt x="3616985" y="2889927"/>
                  <a:pt x="3602659" y="2952406"/>
                </a:cubicBezTo>
                <a:cubicBezTo>
                  <a:pt x="3622954" y="2914998"/>
                  <a:pt x="3651209" y="2783674"/>
                  <a:pt x="3645638" y="2764970"/>
                </a:cubicBezTo>
                <a:close/>
                <a:moveTo>
                  <a:pt x="805057" y="2683390"/>
                </a:moveTo>
                <a:cubicBezTo>
                  <a:pt x="802669" y="2683788"/>
                  <a:pt x="800281" y="2683788"/>
                  <a:pt x="798292" y="2684186"/>
                </a:cubicBezTo>
                <a:cubicBezTo>
                  <a:pt x="809036" y="2751042"/>
                  <a:pt x="820179" y="2818296"/>
                  <a:pt x="830924" y="2885152"/>
                </a:cubicBezTo>
                <a:cubicBezTo>
                  <a:pt x="832913" y="2884754"/>
                  <a:pt x="835301" y="2884356"/>
                  <a:pt x="837291" y="2883958"/>
                </a:cubicBezTo>
                <a:cubicBezTo>
                  <a:pt x="826546" y="2817102"/>
                  <a:pt x="815802" y="2750246"/>
                  <a:pt x="805057" y="2683390"/>
                </a:cubicBezTo>
                <a:close/>
                <a:moveTo>
                  <a:pt x="844454" y="2679808"/>
                </a:moveTo>
                <a:cubicBezTo>
                  <a:pt x="845250" y="2746665"/>
                  <a:pt x="855199" y="2811929"/>
                  <a:pt x="875892" y="2875203"/>
                </a:cubicBezTo>
                <a:cubicBezTo>
                  <a:pt x="865545" y="2810337"/>
                  <a:pt x="854801" y="2745073"/>
                  <a:pt x="844454" y="2679808"/>
                </a:cubicBezTo>
                <a:close/>
                <a:moveTo>
                  <a:pt x="883055" y="2676227"/>
                </a:moveTo>
                <a:cubicBezTo>
                  <a:pt x="877086" y="2709655"/>
                  <a:pt x="901361" y="2850132"/>
                  <a:pt x="913698" y="2866448"/>
                </a:cubicBezTo>
                <a:cubicBezTo>
                  <a:pt x="903351" y="2802776"/>
                  <a:pt x="893402" y="2739501"/>
                  <a:pt x="883055" y="2676227"/>
                </a:cubicBezTo>
                <a:close/>
                <a:moveTo>
                  <a:pt x="3626138" y="2225745"/>
                </a:moveTo>
                <a:cubicBezTo>
                  <a:pt x="3636485" y="2289418"/>
                  <a:pt x="3646434" y="2352692"/>
                  <a:pt x="3656780" y="2415966"/>
                </a:cubicBezTo>
                <a:cubicBezTo>
                  <a:pt x="3662750" y="2383334"/>
                  <a:pt x="3638475" y="2242061"/>
                  <a:pt x="3626138" y="2225745"/>
                </a:cubicBezTo>
                <a:close/>
                <a:moveTo>
                  <a:pt x="3671107" y="2215797"/>
                </a:moveTo>
                <a:cubicBezTo>
                  <a:pt x="3668719" y="2216194"/>
                  <a:pt x="3666331" y="2216593"/>
                  <a:pt x="3663943" y="2216990"/>
                </a:cubicBezTo>
                <a:cubicBezTo>
                  <a:pt x="3674290" y="2282255"/>
                  <a:pt x="3685035" y="2347121"/>
                  <a:pt x="3695382" y="2412385"/>
                </a:cubicBezTo>
                <a:cubicBezTo>
                  <a:pt x="3697769" y="2411987"/>
                  <a:pt x="3700157" y="2411589"/>
                  <a:pt x="3702545" y="2411191"/>
                </a:cubicBezTo>
                <a:cubicBezTo>
                  <a:pt x="3692198" y="2345927"/>
                  <a:pt x="3681453" y="2281061"/>
                  <a:pt x="3671107" y="2215797"/>
                </a:cubicBezTo>
                <a:close/>
                <a:moveTo>
                  <a:pt x="3709310" y="2207838"/>
                </a:moveTo>
                <a:cubicBezTo>
                  <a:pt x="3706922" y="2208235"/>
                  <a:pt x="3704932" y="2208235"/>
                  <a:pt x="3702545" y="2208634"/>
                </a:cubicBezTo>
                <a:cubicBezTo>
                  <a:pt x="3713290" y="2275489"/>
                  <a:pt x="3724034" y="2342345"/>
                  <a:pt x="3734779" y="2409201"/>
                </a:cubicBezTo>
                <a:cubicBezTo>
                  <a:pt x="3737167" y="2408803"/>
                  <a:pt x="3739554" y="2408405"/>
                  <a:pt x="3741544" y="2408007"/>
                </a:cubicBezTo>
                <a:cubicBezTo>
                  <a:pt x="3730799" y="2341151"/>
                  <a:pt x="3720055" y="2274693"/>
                  <a:pt x="3709310" y="2207838"/>
                </a:cubicBezTo>
                <a:close/>
                <a:moveTo>
                  <a:pt x="3682647" y="2141380"/>
                </a:moveTo>
                <a:cubicBezTo>
                  <a:pt x="3673892" y="2144165"/>
                  <a:pt x="3667127" y="2146155"/>
                  <a:pt x="3657576" y="2148941"/>
                </a:cubicBezTo>
                <a:cubicBezTo>
                  <a:pt x="3662352" y="2155706"/>
                  <a:pt x="3664739" y="2162869"/>
                  <a:pt x="3669117" y="2164063"/>
                </a:cubicBezTo>
                <a:cubicBezTo>
                  <a:pt x="3674290" y="2165655"/>
                  <a:pt x="3680657" y="2161675"/>
                  <a:pt x="3687821" y="2159685"/>
                </a:cubicBezTo>
                <a:cubicBezTo>
                  <a:pt x="3686229" y="2153318"/>
                  <a:pt x="3684637" y="2148543"/>
                  <a:pt x="3682647" y="2141380"/>
                </a:cubicBezTo>
                <a:close/>
                <a:moveTo>
                  <a:pt x="930412" y="2138594"/>
                </a:moveTo>
                <a:cubicBezTo>
                  <a:pt x="916085" y="2201072"/>
                  <a:pt x="901759" y="2263551"/>
                  <a:pt x="887433" y="2326029"/>
                </a:cubicBezTo>
                <a:cubicBezTo>
                  <a:pt x="889821" y="2326029"/>
                  <a:pt x="891810" y="2326427"/>
                  <a:pt x="894198" y="2326825"/>
                </a:cubicBezTo>
                <a:cubicBezTo>
                  <a:pt x="908524" y="2264745"/>
                  <a:pt x="922851" y="2202266"/>
                  <a:pt x="936779" y="2140186"/>
                </a:cubicBezTo>
                <a:cubicBezTo>
                  <a:pt x="934789" y="2139390"/>
                  <a:pt x="932401" y="2138992"/>
                  <a:pt x="930412" y="2138594"/>
                </a:cubicBezTo>
                <a:close/>
                <a:moveTo>
                  <a:pt x="3768207" y="2131033"/>
                </a:moveTo>
                <a:cubicBezTo>
                  <a:pt x="3759850" y="2133819"/>
                  <a:pt x="3753085" y="2135808"/>
                  <a:pt x="3744728" y="2138594"/>
                </a:cubicBezTo>
                <a:cubicBezTo>
                  <a:pt x="3747116" y="2145359"/>
                  <a:pt x="3749105" y="2151328"/>
                  <a:pt x="3751493" y="2157696"/>
                </a:cubicBezTo>
                <a:cubicBezTo>
                  <a:pt x="3760248" y="2154910"/>
                  <a:pt x="3766615" y="2152920"/>
                  <a:pt x="3773778" y="2150532"/>
                </a:cubicBezTo>
                <a:cubicBezTo>
                  <a:pt x="3771789" y="2143767"/>
                  <a:pt x="3770595" y="2138992"/>
                  <a:pt x="3768207" y="2131033"/>
                </a:cubicBezTo>
                <a:close/>
                <a:moveTo>
                  <a:pt x="899769" y="2128645"/>
                </a:moveTo>
                <a:cubicBezTo>
                  <a:pt x="875494" y="2191124"/>
                  <a:pt x="859974" y="2255194"/>
                  <a:pt x="855597" y="2322050"/>
                </a:cubicBezTo>
                <a:cubicBezTo>
                  <a:pt x="870321" y="2257979"/>
                  <a:pt x="885045" y="2193511"/>
                  <a:pt x="899769" y="2128645"/>
                </a:cubicBezTo>
                <a:close/>
                <a:moveTo>
                  <a:pt x="855199" y="2115911"/>
                </a:moveTo>
                <a:cubicBezTo>
                  <a:pt x="840077" y="2181971"/>
                  <a:pt x="824954" y="2247633"/>
                  <a:pt x="809832" y="2313693"/>
                </a:cubicBezTo>
                <a:cubicBezTo>
                  <a:pt x="812220" y="2314091"/>
                  <a:pt x="814210" y="2314489"/>
                  <a:pt x="816199" y="2315285"/>
                </a:cubicBezTo>
                <a:cubicBezTo>
                  <a:pt x="831322" y="2249623"/>
                  <a:pt x="846444" y="2183563"/>
                  <a:pt x="861566" y="2117502"/>
                </a:cubicBezTo>
                <a:cubicBezTo>
                  <a:pt x="859576" y="2117105"/>
                  <a:pt x="857188" y="2116309"/>
                  <a:pt x="855199" y="2115911"/>
                </a:cubicBezTo>
                <a:close/>
                <a:moveTo>
                  <a:pt x="3860532" y="2106758"/>
                </a:moveTo>
                <a:cubicBezTo>
                  <a:pt x="3852971" y="2108747"/>
                  <a:pt x="3846205" y="2110737"/>
                  <a:pt x="3837451" y="2113125"/>
                </a:cubicBezTo>
                <a:cubicBezTo>
                  <a:pt x="3839838" y="2121084"/>
                  <a:pt x="3841430" y="2126257"/>
                  <a:pt x="3843818" y="2133420"/>
                </a:cubicBezTo>
                <a:cubicBezTo>
                  <a:pt x="3852175" y="2131033"/>
                  <a:pt x="3858940" y="2129043"/>
                  <a:pt x="3867297" y="2126655"/>
                </a:cubicBezTo>
                <a:cubicBezTo>
                  <a:pt x="3864511" y="2119094"/>
                  <a:pt x="3862919" y="2113523"/>
                  <a:pt x="3860532" y="2106758"/>
                </a:cubicBezTo>
                <a:close/>
                <a:moveTo>
                  <a:pt x="3617383" y="2080891"/>
                </a:moveTo>
                <a:cubicBezTo>
                  <a:pt x="3609822" y="2084075"/>
                  <a:pt x="3603455" y="2086462"/>
                  <a:pt x="3591516" y="2090840"/>
                </a:cubicBezTo>
                <a:cubicBezTo>
                  <a:pt x="3598679" y="2096809"/>
                  <a:pt x="3602659" y="2102778"/>
                  <a:pt x="3607832" y="2103574"/>
                </a:cubicBezTo>
                <a:cubicBezTo>
                  <a:pt x="3612210" y="2104370"/>
                  <a:pt x="3618179" y="2099993"/>
                  <a:pt x="3624148" y="2097605"/>
                </a:cubicBezTo>
                <a:cubicBezTo>
                  <a:pt x="3621761" y="2091238"/>
                  <a:pt x="3619771" y="2086462"/>
                  <a:pt x="3617383" y="2080891"/>
                </a:cubicBezTo>
                <a:close/>
                <a:moveTo>
                  <a:pt x="778394" y="2080493"/>
                </a:moveTo>
                <a:cubicBezTo>
                  <a:pt x="767649" y="2121482"/>
                  <a:pt x="757700" y="2158094"/>
                  <a:pt x="747354" y="2197491"/>
                </a:cubicBezTo>
                <a:cubicBezTo>
                  <a:pt x="759292" y="2192317"/>
                  <a:pt x="788343" y="2110339"/>
                  <a:pt x="787945" y="2091635"/>
                </a:cubicBezTo>
                <a:cubicBezTo>
                  <a:pt x="787945" y="2089248"/>
                  <a:pt x="783567" y="2086462"/>
                  <a:pt x="778394" y="2080493"/>
                </a:cubicBezTo>
                <a:close/>
                <a:moveTo>
                  <a:pt x="737405" y="2071340"/>
                </a:moveTo>
                <a:cubicBezTo>
                  <a:pt x="724273" y="2104768"/>
                  <a:pt x="716314" y="2140186"/>
                  <a:pt x="707559" y="2175205"/>
                </a:cubicBezTo>
                <a:cubicBezTo>
                  <a:pt x="706763" y="2178787"/>
                  <a:pt x="709946" y="2183563"/>
                  <a:pt x="711140" y="2187940"/>
                </a:cubicBezTo>
                <a:cubicBezTo>
                  <a:pt x="712732" y="2187542"/>
                  <a:pt x="714722" y="2187542"/>
                  <a:pt x="716314" y="2187144"/>
                </a:cubicBezTo>
                <a:cubicBezTo>
                  <a:pt x="726660" y="2149339"/>
                  <a:pt x="736609" y="2111931"/>
                  <a:pt x="746956" y="2074126"/>
                </a:cubicBezTo>
                <a:cubicBezTo>
                  <a:pt x="743772" y="2072932"/>
                  <a:pt x="740589" y="2072136"/>
                  <a:pt x="737405" y="2071340"/>
                </a:cubicBezTo>
                <a:close/>
                <a:moveTo>
                  <a:pt x="3800441" y="2070146"/>
                </a:moveTo>
                <a:cubicBezTo>
                  <a:pt x="3791686" y="2072932"/>
                  <a:pt x="3784921" y="2074921"/>
                  <a:pt x="3776962" y="2077309"/>
                </a:cubicBezTo>
                <a:cubicBezTo>
                  <a:pt x="3779748" y="2084870"/>
                  <a:pt x="3781737" y="2090442"/>
                  <a:pt x="3784125" y="2097207"/>
                </a:cubicBezTo>
                <a:cubicBezTo>
                  <a:pt x="3792084" y="2094421"/>
                  <a:pt x="3798849" y="2092034"/>
                  <a:pt x="3806410" y="2089646"/>
                </a:cubicBezTo>
                <a:cubicBezTo>
                  <a:pt x="3804420" y="2083279"/>
                  <a:pt x="3802829" y="2077707"/>
                  <a:pt x="3800441" y="2070146"/>
                </a:cubicBezTo>
                <a:close/>
                <a:moveTo>
                  <a:pt x="3692994" y="2047065"/>
                </a:moveTo>
                <a:cubicBezTo>
                  <a:pt x="3685035" y="2050249"/>
                  <a:pt x="3678668" y="2052636"/>
                  <a:pt x="3671107" y="2055422"/>
                </a:cubicBezTo>
                <a:cubicBezTo>
                  <a:pt x="3673096" y="2061789"/>
                  <a:pt x="3675086" y="2066962"/>
                  <a:pt x="3677474" y="2073728"/>
                </a:cubicBezTo>
                <a:cubicBezTo>
                  <a:pt x="3685035" y="2070942"/>
                  <a:pt x="3691402" y="2068952"/>
                  <a:pt x="3700555" y="2065769"/>
                </a:cubicBezTo>
                <a:cubicBezTo>
                  <a:pt x="3697372" y="2058208"/>
                  <a:pt x="3695382" y="2053034"/>
                  <a:pt x="3692994" y="2047065"/>
                </a:cubicBezTo>
                <a:close/>
                <a:moveTo>
                  <a:pt x="854005" y="2025178"/>
                </a:moveTo>
                <a:cubicBezTo>
                  <a:pt x="851617" y="2031943"/>
                  <a:pt x="850025" y="2037116"/>
                  <a:pt x="847638" y="2043881"/>
                </a:cubicBezTo>
                <a:cubicBezTo>
                  <a:pt x="855597" y="2046667"/>
                  <a:pt x="862760" y="2048657"/>
                  <a:pt x="870321" y="2051442"/>
                </a:cubicBezTo>
                <a:cubicBezTo>
                  <a:pt x="872709" y="2044279"/>
                  <a:pt x="874300" y="2039504"/>
                  <a:pt x="876688" y="2033137"/>
                </a:cubicBezTo>
                <a:cubicBezTo>
                  <a:pt x="867933" y="2029953"/>
                  <a:pt x="861566" y="2027963"/>
                  <a:pt x="854005" y="2025178"/>
                </a:cubicBezTo>
                <a:close/>
                <a:moveTo>
                  <a:pt x="3819941" y="2002494"/>
                </a:moveTo>
                <a:cubicBezTo>
                  <a:pt x="3812379" y="2005280"/>
                  <a:pt x="3806012" y="2007668"/>
                  <a:pt x="3797655" y="2010851"/>
                </a:cubicBezTo>
                <a:cubicBezTo>
                  <a:pt x="3800839" y="2018412"/>
                  <a:pt x="3803227" y="2023984"/>
                  <a:pt x="3806410" y="2030749"/>
                </a:cubicBezTo>
                <a:cubicBezTo>
                  <a:pt x="3814369" y="2027565"/>
                  <a:pt x="3820737" y="2025178"/>
                  <a:pt x="3828298" y="2021994"/>
                </a:cubicBezTo>
                <a:cubicBezTo>
                  <a:pt x="3825114" y="2014433"/>
                  <a:pt x="3822726" y="2008862"/>
                  <a:pt x="3819941" y="2002494"/>
                </a:cubicBezTo>
                <a:close/>
                <a:moveTo>
                  <a:pt x="727058" y="1979015"/>
                </a:moveTo>
                <a:cubicBezTo>
                  <a:pt x="724670" y="1986576"/>
                  <a:pt x="722681" y="1992545"/>
                  <a:pt x="720691" y="1999311"/>
                </a:cubicBezTo>
                <a:cubicBezTo>
                  <a:pt x="729048" y="2002096"/>
                  <a:pt x="735415" y="2004086"/>
                  <a:pt x="742976" y="2006474"/>
                </a:cubicBezTo>
                <a:cubicBezTo>
                  <a:pt x="745762" y="1999311"/>
                  <a:pt x="747752" y="1993739"/>
                  <a:pt x="750537" y="1986576"/>
                </a:cubicBezTo>
                <a:cubicBezTo>
                  <a:pt x="741384" y="1983791"/>
                  <a:pt x="734619" y="1981403"/>
                  <a:pt x="727058" y="1979015"/>
                </a:cubicBezTo>
                <a:close/>
                <a:moveTo>
                  <a:pt x="922851" y="1959118"/>
                </a:moveTo>
                <a:cubicBezTo>
                  <a:pt x="920463" y="1965087"/>
                  <a:pt x="918075" y="1970260"/>
                  <a:pt x="916085" y="1975036"/>
                </a:cubicBezTo>
                <a:cubicBezTo>
                  <a:pt x="936779" y="1988566"/>
                  <a:pt x="936779" y="1988566"/>
                  <a:pt x="943146" y="1968270"/>
                </a:cubicBezTo>
                <a:cubicBezTo>
                  <a:pt x="937177" y="1965485"/>
                  <a:pt x="930810" y="1962699"/>
                  <a:pt x="922851" y="1959118"/>
                </a:cubicBezTo>
                <a:close/>
                <a:moveTo>
                  <a:pt x="784363" y="1944393"/>
                </a:moveTo>
                <a:cubicBezTo>
                  <a:pt x="781578" y="1951954"/>
                  <a:pt x="779190" y="1957128"/>
                  <a:pt x="776802" y="1963893"/>
                </a:cubicBezTo>
                <a:cubicBezTo>
                  <a:pt x="784363" y="1966679"/>
                  <a:pt x="791526" y="1969464"/>
                  <a:pt x="799087" y="1972648"/>
                </a:cubicBezTo>
                <a:cubicBezTo>
                  <a:pt x="801873" y="1965485"/>
                  <a:pt x="803863" y="1959913"/>
                  <a:pt x="806649" y="1953546"/>
                </a:cubicBezTo>
                <a:cubicBezTo>
                  <a:pt x="798690" y="1950363"/>
                  <a:pt x="791924" y="1947577"/>
                  <a:pt x="784363" y="1944393"/>
                </a:cubicBezTo>
                <a:close/>
                <a:moveTo>
                  <a:pt x="850423" y="1912159"/>
                </a:moveTo>
                <a:cubicBezTo>
                  <a:pt x="847240" y="1918924"/>
                  <a:pt x="845250" y="1923700"/>
                  <a:pt x="842066" y="1930863"/>
                </a:cubicBezTo>
                <a:cubicBezTo>
                  <a:pt x="850821" y="1934444"/>
                  <a:pt x="857586" y="1936832"/>
                  <a:pt x="865148" y="1939618"/>
                </a:cubicBezTo>
                <a:cubicBezTo>
                  <a:pt x="867933" y="1932455"/>
                  <a:pt x="869923" y="1927679"/>
                  <a:pt x="872311" y="1921710"/>
                </a:cubicBezTo>
                <a:cubicBezTo>
                  <a:pt x="864750" y="1918526"/>
                  <a:pt x="857984" y="1915343"/>
                  <a:pt x="850423" y="1912159"/>
                </a:cubicBezTo>
                <a:close/>
                <a:moveTo>
                  <a:pt x="3665933" y="1871568"/>
                </a:moveTo>
                <a:cubicBezTo>
                  <a:pt x="3681453" y="1906986"/>
                  <a:pt x="3696576" y="1941608"/>
                  <a:pt x="3711698" y="1976229"/>
                </a:cubicBezTo>
                <a:cubicBezTo>
                  <a:pt x="3714086" y="1976229"/>
                  <a:pt x="3716075" y="1975832"/>
                  <a:pt x="3718463" y="1975434"/>
                </a:cubicBezTo>
                <a:cubicBezTo>
                  <a:pt x="3718065" y="1970260"/>
                  <a:pt x="3718861" y="1964689"/>
                  <a:pt x="3717269" y="1959913"/>
                </a:cubicBezTo>
                <a:cubicBezTo>
                  <a:pt x="3689412" y="1886690"/>
                  <a:pt x="3680657" y="1871170"/>
                  <a:pt x="3665933" y="1871568"/>
                </a:cubicBezTo>
                <a:close/>
                <a:moveTo>
                  <a:pt x="3709708" y="1850875"/>
                </a:moveTo>
                <a:cubicBezTo>
                  <a:pt x="3708912" y="1853660"/>
                  <a:pt x="3707320" y="1857242"/>
                  <a:pt x="3708514" y="1859630"/>
                </a:cubicBezTo>
                <a:cubicBezTo>
                  <a:pt x="3723238" y="1893455"/>
                  <a:pt x="3738361" y="1926883"/>
                  <a:pt x="3754676" y="1963495"/>
                </a:cubicBezTo>
                <a:cubicBezTo>
                  <a:pt x="3758656" y="1958322"/>
                  <a:pt x="3762238" y="1955934"/>
                  <a:pt x="3761840" y="1954740"/>
                </a:cubicBezTo>
                <a:cubicBezTo>
                  <a:pt x="3747513" y="1920516"/>
                  <a:pt x="3733187" y="1886690"/>
                  <a:pt x="3718065" y="1852864"/>
                </a:cubicBezTo>
                <a:cubicBezTo>
                  <a:pt x="3717269" y="1851273"/>
                  <a:pt x="3712494" y="1851671"/>
                  <a:pt x="3709708" y="1850875"/>
                </a:cubicBezTo>
                <a:close/>
                <a:moveTo>
                  <a:pt x="3516701" y="1831375"/>
                </a:moveTo>
                <a:cubicBezTo>
                  <a:pt x="3502375" y="1839732"/>
                  <a:pt x="3490038" y="1846895"/>
                  <a:pt x="3478896" y="1853660"/>
                </a:cubicBezTo>
                <a:cubicBezTo>
                  <a:pt x="3507946" y="1912955"/>
                  <a:pt x="3535803" y="1971056"/>
                  <a:pt x="3564058" y="2028759"/>
                </a:cubicBezTo>
                <a:cubicBezTo>
                  <a:pt x="3566445" y="2027565"/>
                  <a:pt x="3568435" y="2026769"/>
                  <a:pt x="3570823" y="2025576"/>
                </a:cubicBezTo>
                <a:cubicBezTo>
                  <a:pt x="3548140" y="1976229"/>
                  <a:pt x="3525456" y="1926883"/>
                  <a:pt x="3502375" y="1877139"/>
                </a:cubicBezTo>
                <a:cubicBezTo>
                  <a:pt x="3510334" y="1872762"/>
                  <a:pt x="3517099" y="1869578"/>
                  <a:pt x="3525854" y="1864803"/>
                </a:cubicBezTo>
                <a:cubicBezTo>
                  <a:pt x="3550129" y="1916537"/>
                  <a:pt x="3573608" y="1966281"/>
                  <a:pt x="3597088" y="2016025"/>
                </a:cubicBezTo>
                <a:cubicBezTo>
                  <a:pt x="3599475" y="2014831"/>
                  <a:pt x="3601465" y="2014035"/>
                  <a:pt x="3603455" y="2012841"/>
                </a:cubicBezTo>
                <a:cubicBezTo>
                  <a:pt x="3581170" y="1949965"/>
                  <a:pt x="3550527" y="1890670"/>
                  <a:pt x="3516701" y="1831375"/>
                </a:cubicBezTo>
                <a:close/>
                <a:moveTo>
                  <a:pt x="3553711" y="1812671"/>
                </a:moveTo>
                <a:cubicBezTo>
                  <a:pt x="3551721" y="1813865"/>
                  <a:pt x="3549731" y="1814661"/>
                  <a:pt x="3547344" y="1815457"/>
                </a:cubicBezTo>
                <a:cubicBezTo>
                  <a:pt x="3577190" y="1876741"/>
                  <a:pt x="3606639" y="1938026"/>
                  <a:pt x="3636485" y="1999311"/>
                </a:cubicBezTo>
                <a:cubicBezTo>
                  <a:pt x="3638475" y="1998515"/>
                  <a:pt x="3640464" y="1997321"/>
                  <a:pt x="3642454" y="1996525"/>
                </a:cubicBezTo>
                <a:cubicBezTo>
                  <a:pt x="3613006" y="1935240"/>
                  <a:pt x="3583159" y="1873956"/>
                  <a:pt x="3553711" y="1812671"/>
                </a:cubicBezTo>
                <a:close/>
                <a:moveTo>
                  <a:pt x="3500783" y="1671000"/>
                </a:moveTo>
                <a:cubicBezTo>
                  <a:pt x="3488845" y="1679357"/>
                  <a:pt x="3478498" y="1686918"/>
                  <a:pt x="3466559" y="1695275"/>
                </a:cubicBezTo>
                <a:cubicBezTo>
                  <a:pt x="3474120" y="1705622"/>
                  <a:pt x="3480090" y="1713979"/>
                  <a:pt x="3486457" y="1722734"/>
                </a:cubicBezTo>
                <a:cubicBezTo>
                  <a:pt x="3498793" y="1714377"/>
                  <a:pt x="3509538" y="1707214"/>
                  <a:pt x="3520681" y="1699255"/>
                </a:cubicBezTo>
                <a:cubicBezTo>
                  <a:pt x="3513518" y="1688908"/>
                  <a:pt x="3507548" y="1680551"/>
                  <a:pt x="3500783" y="1671000"/>
                </a:cubicBezTo>
                <a:close/>
                <a:moveTo>
                  <a:pt x="3596690" y="1625236"/>
                </a:moveTo>
                <a:cubicBezTo>
                  <a:pt x="3584353" y="1633991"/>
                  <a:pt x="3574006" y="1641154"/>
                  <a:pt x="3562864" y="1649511"/>
                </a:cubicBezTo>
                <a:cubicBezTo>
                  <a:pt x="3570027" y="1659858"/>
                  <a:pt x="3576394" y="1669011"/>
                  <a:pt x="3583159" y="1678959"/>
                </a:cubicBezTo>
                <a:cubicBezTo>
                  <a:pt x="3595098" y="1671000"/>
                  <a:pt x="3605843" y="1663837"/>
                  <a:pt x="3617781" y="1655878"/>
                </a:cubicBezTo>
                <a:cubicBezTo>
                  <a:pt x="3610220" y="1645133"/>
                  <a:pt x="3603853" y="1635583"/>
                  <a:pt x="3596690" y="1625236"/>
                </a:cubicBezTo>
                <a:close/>
                <a:moveTo>
                  <a:pt x="3271165" y="1567135"/>
                </a:moveTo>
                <a:cubicBezTo>
                  <a:pt x="3268777" y="1569125"/>
                  <a:pt x="3266390" y="1571512"/>
                  <a:pt x="3264400" y="1573502"/>
                </a:cubicBezTo>
                <a:cubicBezTo>
                  <a:pt x="3277134" y="1586634"/>
                  <a:pt x="3289869" y="1599767"/>
                  <a:pt x="3302603" y="1612899"/>
                </a:cubicBezTo>
                <a:cubicBezTo>
                  <a:pt x="3304991" y="1610910"/>
                  <a:pt x="3306981" y="1608920"/>
                  <a:pt x="3308970" y="1606930"/>
                </a:cubicBezTo>
                <a:cubicBezTo>
                  <a:pt x="3296236" y="1593798"/>
                  <a:pt x="3283899" y="1580267"/>
                  <a:pt x="3271165" y="1567135"/>
                </a:cubicBezTo>
                <a:close/>
                <a:moveTo>
                  <a:pt x="3471335" y="1554002"/>
                </a:moveTo>
                <a:cubicBezTo>
                  <a:pt x="3459794" y="1563951"/>
                  <a:pt x="3449845" y="1571910"/>
                  <a:pt x="3439101" y="1581063"/>
                </a:cubicBezTo>
                <a:cubicBezTo>
                  <a:pt x="3446662" y="1590216"/>
                  <a:pt x="3453029" y="1598175"/>
                  <a:pt x="3460988" y="1608124"/>
                </a:cubicBezTo>
                <a:cubicBezTo>
                  <a:pt x="3472927" y="1598573"/>
                  <a:pt x="3482875" y="1590216"/>
                  <a:pt x="3493620" y="1581461"/>
                </a:cubicBezTo>
                <a:cubicBezTo>
                  <a:pt x="3485661" y="1571512"/>
                  <a:pt x="3478896" y="1563155"/>
                  <a:pt x="3471335" y="1554002"/>
                </a:cubicBezTo>
                <a:close/>
                <a:moveTo>
                  <a:pt x="674926" y="1529329"/>
                </a:moveTo>
                <a:cubicBezTo>
                  <a:pt x="650253" y="1571114"/>
                  <a:pt x="625978" y="1611706"/>
                  <a:pt x="601703" y="1653093"/>
                </a:cubicBezTo>
                <a:cubicBezTo>
                  <a:pt x="583000" y="1643144"/>
                  <a:pt x="565490" y="1633991"/>
                  <a:pt x="546388" y="1624042"/>
                </a:cubicBezTo>
                <a:cubicBezTo>
                  <a:pt x="542806" y="1632001"/>
                  <a:pt x="539623" y="1638368"/>
                  <a:pt x="537235" y="1645133"/>
                </a:cubicBezTo>
                <a:cubicBezTo>
                  <a:pt x="497440" y="1749795"/>
                  <a:pt x="481920" y="1857640"/>
                  <a:pt x="499430" y="1969066"/>
                </a:cubicBezTo>
                <a:cubicBezTo>
                  <a:pt x="521715" y="2113125"/>
                  <a:pt x="589765" y="2229725"/>
                  <a:pt x="711936" y="2311703"/>
                </a:cubicBezTo>
                <a:cubicBezTo>
                  <a:pt x="719099" y="2316876"/>
                  <a:pt x="727058" y="2320856"/>
                  <a:pt x="735813" y="2326029"/>
                </a:cubicBezTo>
                <a:cubicBezTo>
                  <a:pt x="742976" y="2286632"/>
                  <a:pt x="749343" y="2250020"/>
                  <a:pt x="756507" y="2208634"/>
                </a:cubicBezTo>
                <a:cubicBezTo>
                  <a:pt x="735017" y="2222164"/>
                  <a:pt x="719895" y="2220970"/>
                  <a:pt x="710344" y="2205848"/>
                </a:cubicBezTo>
                <a:cubicBezTo>
                  <a:pt x="696018" y="2205848"/>
                  <a:pt x="683284" y="2205848"/>
                  <a:pt x="667365" y="2205848"/>
                </a:cubicBezTo>
                <a:cubicBezTo>
                  <a:pt x="680498" y="2154910"/>
                  <a:pt x="692436" y="2108350"/>
                  <a:pt x="704773" y="2060595"/>
                </a:cubicBezTo>
                <a:cubicBezTo>
                  <a:pt x="687661" y="2054626"/>
                  <a:pt x="671345" y="2049055"/>
                  <a:pt x="654233" y="2043483"/>
                </a:cubicBezTo>
                <a:cubicBezTo>
                  <a:pt x="659008" y="2027963"/>
                  <a:pt x="662988" y="2014433"/>
                  <a:pt x="667365" y="2000107"/>
                </a:cubicBezTo>
                <a:cubicBezTo>
                  <a:pt x="653437" y="1994933"/>
                  <a:pt x="641896" y="1990954"/>
                  <a:pt x="627172" y="1985382"/>
                </a:cubicBezTo>
                <a:cubicBezTo>
                  <a:pt x="645080" y="1938822"/>
                  <a:pt x="662590" y="1893853"/>
                  <a:pt x="680498" y="1848487"/>
                </a:cubicBezTo>
                <a:cubicBezTo>
                  <a:pt x="695620" y="1854854"/>
                  <a:pt x="707161" y="1859630"/>
                  <a:pt x="719497" y="1864803"/>
                </a:cubicBezTo>
                <a:cubicBezTo>
                  <a:pt x="727058" y="1849681"/>
                  <a:pt x="734221" y="1834956"/>
                  <a:pt x="741782" y="1819436"/>
                </a:cubicBezTo>
                <a:cubicBezTo>
                  <a:pt x="833311" y="1863211"/>
                  <a:pt x="922851" y="1905394"/>
                  <a:pt x="1012788" y="1948373"/>
                </a:cubicBezTo>
                <a:cubicBezTo>
                  <a:pt x="1018757" y="1935638"/>
                  <a:pt x="1024328" y="1924496"/>
                  <a:pt x="1029900" y="1912557"/>
                </a:cubicBezTo>
                <a:cubicBezTo>
                  <a:pt x="1004829" y="1899425"/>
                  <a:pt x="981747" y="1887486"/>
                  <a:pt x="956278" y="1874354"/>
                </a:cubicBezTo>
                <a:cubicBezTo>
                  <a:pt x="984533" y="1825804"/>
                  <a:pt x="1011196" y="1779641"/>
                  <a:pt x="1037859" y="1733479"/>
                </a:cubicBezTo>
                <a:cubicBezTo>
                  <a:pt x="1035471" y="1732285"/>
                  <a:pt x="1033481" y="1730693"/>
                  <a:pt x="1031094" y="1729499"/>
                </a:cubicBezTo>
                <a:cubicBezTo>
                  <a:pt x="1000849" y="1772080"/>
                  <a:pt x="976176" y="1818641"/>
                  <a:pt x="950309" y="1865201"/>
                </a:cubicBezTo>
                <a:cubicBezTo>
                  <a:pt x="922851" y="1851273"/>
                  <a:pt x="897382" y="1837742"/>
                  <a:pt x="870321" y="1823814"/>
                </a:cubicBezTo>
                <a:cubicBezTo>
                  <a:pt x="896586" y="1778049"/>
                  <a:pt x="921657" y="1734673"/>
                  <a:pt x="946728" y="1691296"/>
                </a:cubicBezTo>
                <a:cubicBezTo>
                  <a:pt x="945136" y="1689704"/>
                  <a:pt x="943942" y="1688112"/>
                  <a:pt x="942350" y="1686520"/>
                </a:cubicBezTo>
                <a:cubicBezTo>
                  <a:pt x="938371" y="1690102"/>
                  <a:pt x="933197" y="1692490"/>
                  <a:pt x="930412" y="1696867"/>
                </a:cubicBezTo>
                <a:cubicBezTo>
                  <a:pt x="907330" y="1735071"/>
                  <a:pt x="885045" y="1773274"/>
                  <a:pt x="861566" y="1812671"/>
                </a:cubicBezTo>
                <a:cubicBezTo>
                  <a:pt x="836893" y="1799937"/>
                  <a:pt x="811822" y="1786804"/>
                  <a:pt x="785955" y="1773274"/>
                </a:cubicBezTo>
                <a:cubicBezTo>
                  <a:pt x="789935" y="1765713"/>
                  <a:pt x="792720" y="1759744"/>
                  <a:pt x="795904" y="1754172"/>
                </a:cubicBezTo>
                <a:cubicBezTo>
                  <a:pt x="814608" y="1721142"/>
                  <a:pt x="834107" y="1688908"/>
                  <a:pt x="852413" y="1655878"/>
                </a:cubicBezTo>
                <a:cubicBezTo>
                  <a:pt x="854403" y="1652297"/>
                  <a:pt x="852413" y="1646327"/>
                  <a:pt x="852413" y="1641552"/>
                </a:cubicBezTo>
                <a:cubicBezTo>
                  <a:pt x="848434" y="1643940"/>
                  <a:pt x="844056" y="1645531"/>
                  <a:pt x="840872" y="1648715"/>
                </a:cubicBezTo>
                <a:cubicBezTo>
                  <a:pt x="837689" y="1651899"/>
                  <a:pt x="835699" y="1656276"/>
                  <a:pt x="833311" y="1660256"/>
                </a:cubicBezTo>
                <a:cubicBezTo>
                  <a:pt x="814210" y="1692888"/>
                  <a:pt x="794710" y="1726316"/>
                  <a:pt x="774812" y="1760142"/>
                </a:cubicBezTo>
                <a:cubicBezTo>
                  <a:pt x="749343" y="1747009"/>
                  <a:pt x="725068" y="1733877"/>
                  <a:pt x="699202" y="1720346"/>
                </a:cubicBezTo>
                <a:cubicBezTo>
                  <a:pt x="722681" y="1680949"/>
                  <a:pt x="744170" y="1643940"/>
                  <a:pt x="766058" y="1606930"/>
                </a:cubicBezTo>
                <a:cubicBezTo>
                  <a:pt x="772823" y="1595389"/>
                  <a:pt x="772425" y="1595389"/>
                  <a:pt x="756905" y="1589420"/>
                </a:cubicBezTo>
                <a:cubicBezTo>
                  <a:pt x="733823" y="1628419"/>
                  <a:pt x="711140" y="1667419"/>
                  <a:pt x="687661" y="1707214"/>
                </a:cubicBezTo>
                <a:cubicBezTo>
                  <a:pt x="662988" y="1694082"/>
                  <a:pt x="639907" y="1681745"/>
                  <a:pt x="614836" y="1668215"/>
                </a:cubicBezTo>
                <a:cubicBezTo>
                  <a:pt x="640305" y="1624440"/>
                  <a:pt x="664978" y="1582257"/>
                  <a:pt x="689651" y="1539278"/>
                </a:cubicBezTo>
                <a:cubicBezTo>
                  <a:pt x="684875" y="1536095"/>
                  <a:pt x="680896" y="1533309"/>
                  <a:pt x="674926" y="1529329"/>
                </a:cubicBezTo>
                <a:close/>
                <a:moveTo>
                  <a:pt x="3598679" y="1527340"/>
                </a:moveTo>
                <a:cubicBezTo>
                  <a:pt x="3586741" y="1536493"/>
                  <a:pt x="3576394" y="1544452"/>
                  <a:pt x="3566047" y="1552809"/>
                </a:cubicBezTo>
                <a:cubicBezTo>
                  <a:pt x="3574006" y="1563553"/>
                  <a:pt x="3580772" y="1572308"/>
                  <a:pt x="3588731" y="1583053"/>
                </a:cubicBezTo>
                <a:cubicBezTo>
                  <a:pt x="3601067" y="1573900"/>
                  <a:pt x="3611016" y="1565941"/>
                  <a:pt x="3622159" y="1557584"/>
                </a:cubicBezTo>
                <a:cubicBezTo>
                  <a:pt x="3613404" y="1546441"/>
                  <a:pt x="3606240" y="1537288"/>
                  <a:pt x="3598679" y="1527340"/>
                </a:cubicBezTo>
                <a:close/>
                <a:moveTo>
                  <a:pt x="1238426" y="1470433"/>
                </a:moveTo>
                <a:cubicBezTo>
                  <a:pt x="1230865" y="1479187"/>
                  <a:pt x="1222906" y="1487942"/>
                  <a:pt x="1213355" y="1498289"/>
                </a:cubicBezTo>
                <a:cubicBezTo>
                  <a:pt x="1220519" y="1504258"/>
                  <a:pt x="1227682" y="1510228"/>
                  <a:pt x="1236437" y="1517391"/>
                </a:cubicBezTo>
                <a:cubicBezTo>
                  <a:pt x="1243600" y="1509432"/>
                  <a:pt x="1251559" y="1500279"/>
                  <a:pt x="1260712" y="1489932"/>
                </a:cubicBezTo>
                <a:cubicBezTo>
                  <a:pt x="1254742" y="1484361"/>
                  <a:pt x="1247579" y="1478392"/>
                  <a:pt x="1238426" y="1470433"/>
                </a:cubicBezTo>
                <a:close/>
                <a:moveTo>
                  <a:pt x="3599873" y="1447749"/>
                </a:moveTo>
                <a:cubicBezTo>
                  <a:pt x="3588731" y="1457300"/>
                  <a:pt x="3578782" y="1465657"/>
                  <a:pt x="3567639" y="1474412"/>
                </a:cubicBezTo>
                <a:cubicBezTo>
                  <a:pt x="3576394" y="1485157"/>
                  <a:pt x="3583557" y="1493912"/>
                  <a:pt x="3591914" y="1504258"/>
                </a:cubicBezTo>
                <a:cubicBezTo>
                  <a:pt x="3603057" y="1495504"/>
                  <a:pt x="3613404" y="1487146"/>
                  <a:pt x="3624546" y="1478392"/>
                </a:cubicBezTo>
                <a:cubicBezTo>
                  <a:pt x="3615791" y="1468045"/>
                  <a:pt x="3608230" y="1458494"/>
                  <a:pt x="3599873" y="1447749"/>
                </a:cubicBezTo>
                <a:close/>
                <a:moveTo>
                  <a:pt x="1199029" y="1428648"/>
                </a:moveTo>
                <a:cubicBezTo>
                  <a:pt x="1188682" y="1437402"/>
                  <a:pt x="1179132" y="1444964"/>
                  <a:pt x="1171173" y="1451331"/>
                </a:cubicBezTo>
                <a:cubicBezTo>
                  <a:pt x="1180723" y="1462076"/>
                  <a:pt x="1188285" y="1470830"/>
                  <a:pt x="1195050" y="1478392"/>
                </a:cubicBezTo>
                <a:cubicBezTo>
                  <a:pt x="1204998" y="1469239"/>
                  <a:pt x="1213753" y="1461280"/>
                  <a:pt x="1224100" y="1451729"/>
                </a:cubicBezTo>
                <a:cubicBezTo>
                  <a:pt x="1214947" y="1443372"/>
                  <a:pt x="1206590" y="1435413"/>
                  <a:pt x="1199029" y="1428648"/>
                </a:cubicBezTo>
                <a:close/>
                <a:moveTo>
                  <a:pt x="2320068" y="1391331"/>
                </a:moveTo>
                <a:cubicBezTo>
                  <a:pt x="2169068" y="1386651"/>
                  <a:pt x="2013438" y="1410939"/>
                  <a:pt x="1854058" y="1462871"/>
                </a:cubicBezTo>
                <a:cubicBezTo>
                  <a:pt x="1550421" y="1561962"/>
                  <a:pt x="1331149" y="1763723"/>
                  <a:pt x="1206192" y="2059799"/>
                </a:cubicBezTo>
                <a:cubicBezTo>
                  <a:pt x="1102725" y="2304540"/>
                  <a:pt x="1082827" y="2558433"/>
                  <a:pt x="1138541" y="2818296"/>
                </a:cubicBezTo>
                <a:cubicBezTo>
                  <a:pt x="1189876" y="3056669"/>
                  <a:pt x="1301303" y="3261614"/>
                  <a:pt x="1487544" y="3421591"/>
                </a:cubicBezTo>
                <a:cubicBezTo>
                  <a:pt x="1709999" y="3613006"/>
                  <a:pt x="1972648" y="3695382"/>
                  <a:pt x="2232510" y="3699760"/>
                </a:cubicBezTo>
                <a:cubicBezTo>
                  <a:pt x="2379753" y="3699361"/>
                  <a:pt x="2495159" y="3685035"/>
                  <a:pt x="2608177" y="3651607"/>
                </a:cubicBezTo>
                <a:cubicBezTo>
                  <a:pt x="2922957" y="3559680"/>
                  <a:pt x="3164912" y="3375827"/>
                  <a:pt x="3310164" y="3078159"/>
                </a:cubicBezTo>
                <a:cubicBezTo>
                  <a:pt x="3434325" y="2823867"/>
                  <a:pt x="3461784" y="2556046"/>
                  <a:pt x="3402091" y="2279469"/>
                </a:cubicBezTo>
                <a:cubicBezTo>
                  <a:pt x="3348765" y="2031943"/>
                  <a:pt x="3232166" y="1819436"/>
                  <a:pt x="3032394" y="1662245"/>
                </a:cubicBezTo>
                <a:cubicBezTo>
                  <a:pt x="2810536" y="1487395"/>
                  <a:pt x="2571734" y="1399131"/>
                  <a:pt x="2320068" y="1391331"/>
                </a:cubicBezTo>
                <a:close/>
                <a:moveTo>
                  <a:pt x="3350357" y="1378904"/>
                </a:moveTo>
                <a:cubicBezTo>
                  <a:pt x="3337225" y="1393628"/>
                  <a:pt x="3327276" y="1405168"/>
                  <a:pt x="3316531" y="1417107"/>
                </a:cubicBezTo>
                <a:cubicBezTo>
                  <a:pt x="3327674" y="1427454"/>
                  <a:pt x="3336429" y="1435811"/>
                  <a:pt x="3345184" y="1443770"/>
                </a:cubicBezTo>
                <a:cubicBezTo>
                  <a:pt x="3357520" y="1432229"/>
                  <a:pt x="3368663" y="1422280"/>
                  <a:pt x="3379806" y="1411138"/>
                </a:cubicBezTo>
                <a:cubicBezTo>
                  <a:pt x="3369857" y="1399995"/>
                  <a:pt x="3361102" y="1390444"/>
                  <a:pt x="3350357" y="1378904"/>
                </a:cubicBezTo>
                <a:close/>
                <a:moveTo>
                  <a:pt x="1431831" y="1376914"/>
                </a:moveTo>
                <a:cubicBezTo>
                  <a:pt x="1422280" y="1384077"/>
                  <a:pt x="1411933" y="1391240"/>
                  <a:pt x="1402383" y="1399199"/>
                </a:cubicBezTo>
                <a:cubicBezTo>
                  <a:pt x="1399995" y="1401189"/>
                  <a:pt x="1399597" y="1405566"/>
                  <a:pt x="1398403" y="1408352"/>
                </a:cubicBezTo>
                <a:cubicBezTo>
                  <a:pt x="1401985" y="1408352"/>
                  <a:pt x="1406760" y="1409148"/>
                  <a:pt x="1409546" y="1407556"/>
                </a:cubicBezTo>
                <a:cubicBezTo>
                  <a:pt x="1417903" y="1402383"/>
                  <a:pt x="1425862" y="1396413"/>
                  <a:pt x="1433025" y="1390046"/>
                </a:cubicBezTo>
                <a:cubicBezTo>
                  <a:pt x="1435413" y="1387658"/>
                  <a:pt x="1435811" y="1383281"/>
                  <a:pt x="1437402" y="1379699"/>
                </a:cubicBezTo>
                <a:cubicBezTo>
                  <a:pt x="1435811" y="1378904"/>
                  <a:pt x="1433821" y="1377710"/>
                  <a:pt x="1431831" y="1376914"/>
                </a:cubicBezTo>
                <a:close/>
                <a:moveTo>
                  <a:pt x="3303399" y="1340302"/>
                </a:moveTo>
                <a:cubicBezTo>
                  <a:pt x="3292257" y="1353435"/>
                  <a:pt x="3282308" y="1364975"/>
                  <a:pt x="3271961" y="1377312"/>
                </a:cubicBezTo>
                <a:cubicBezTo>
                  <a:pt x="3282706" y="1386863"/>
                  <a:pt x="3292654" y="1395220"/>
                  <a:pt x="3303001" y="1404373"/>
                </a:cubicBezTo>
                <a:cubicBezTo>
                  <a:pt x="3314144" y="1391638"/>
                  <a:pt x="3324491" y="1380495"/>
                  <a:pt x="3335633" y="1368557"/>
                </a:cubicBezTo>
                <a:cubicBezTo>
                  <a:pt x="3324093" y="1358608"/>
                  <a:pt x="3314144" y="1349455"/>
                  <a:pt x="3303399" y="1340302"/>
                </a:cubicBezTo>
                <a:close/>
                <a:moveTo>
                  <a:pt x="1285385" y="1337517"/>
                </a:moveTo>
                <a:cubicBezTo>
                  <a:pt x="1274640" y="1346272"/>
                  <a:pt x="1265487" y="1354231"/>
                  <a:pt x="1255538" y="1362986"/>
                </a:cubicBezTo>
                <a:cubicBezTo>
                  <a:pt x="1263099" y="1371740"/>
                  <a:pt x="1269467" y="1379301"/>
                  <a:pt x="1277426" y="1388454"/>
                </a:cubicBezTo>
                <a:cubicBezTo>
                  <a:pt x="1288170" y="1378904"/>
                  <a:pt x="1297323" y="1370945"/>
                  <a:pt x="1306476" y="1362588"/>
                </a:cubicBezTo>
                <a:cubicBezTo>
                  <a:pt x="1298517" y="1353435"/>
                  <a:pt x="1292548" y="1345874"/>
                  <a:pt x="1285385" y="1337517"/>
                </a:cubicBezTo>
                <a:close/>
                <a:moveTo>
                  <a:pt x="1111082" y="1327966"/>
                </a:moveTo>
                <a:cubicBezTo>
                  <a:pt x="1099541" y="1338312"/>
                  <a:pt x="1089990" y="1347465"/>
                  <a:pt x="1082031" y="1355027"/>
                </a:cubicBezTo>
                <a:cubicBezTo>
                  <a:pt x="1090388" y="1364975"/>
                  <a:pt x="1097551" y="1373332"/>
                  <a:pt x="1106306" y="1384077"/>
                </a:cubicBezTo>
                <a:cubicBezTo>
                  <a:pt x="1116255" y="1372934"/>
                  <a:pt x="1124612" y="1362986"/>
                  <a:pt x="1134163" y="1352241"/>
                </a:cubicBezTo>
                <a:cubicBezTo>
                  <a:pt x="1127000" y="1344680"/>
                  <a:pt x="1119041" y="1336323"/>
                  <a:pt x="1111082" y="1327966"/>
                </a:cubicBezTo>
                <a:close/>
                <a:moveTo>
                  <a:pt x="3398908" y="1327568"/>
                </a:moveTo>
                <a:cubicBezTo>
                  <a:pt x="3386571" y="1341098"/>
                  <a:pt x="3376224" y="1352241"/>
                  <a:pt x="3364684" y="1364577"/>
                </a:cubicBezTo>
                <a:cubicBezTo>
                  <a:pt x="3375826" y="1375322"/>
                  <a:pt x="3385775" y="1384475"/>
                  <a:pt x="3393734" y="1392036"/>
                </a:cubicBezTo>
                <a:cubicBezTo>
                  <a:pt x="3406071" y="1380097"/>
                  <a:pt x="3416815" y="1369751"/>
                  <a:pt x="3426764" y="1360200"/>
                </a:cubicBezTo>
                <a:cubicBezTo>
                  <a:pt x="3418009" y="1349853"/>
                  <a:pt x="3408856" y="1339506"/>
                  <a:pt x="3398908" y="1327568"/>
                </a:cubicBezTo>
                <a:close/>
                <a:moveTo>
                  <a:pt x="3256043" y="1300905"/>
                </a:moveTo>
                <a:cubicBezTo>
                  <a:pt x="3244900" y="1314833"/>
                  <a:pt x="3235747" y="1326374"/>
                  <a:pt x="3225798" y="1338710"/>
                </a:cubicBezTo>
                <a:cubicBezTo>
                  <a:pt x="3236941" y="1347863"/>
                  <a:pt x="3246890" y="1355822"/>
                  <a:pt x="3258032" y="1364975"/>
                </a:cubicBezTo>
                <a:cubicBezTo>
                  <a:pt x="3269175" y="1351445"/>
                  <a:pt x="3278726" y="1339904"/>
                  <a:pt x="3289471" y="1327170"/>
                </a:cubicBezTo>
                <a:cubicBezTo>
                  <a:pt x="3277532" y="1318017"/>
                  <a:pt x="3267185" y="1309660"/>
                  <a:pt x="3256043" y="1300905"/>
                </a:cubicBezTo>
                <a:close/>
                <a:moveTo>
                  <a:pt x="1247181" y="1289762"/>
                </a:moveTo>
                <a:cubicBezTo>
                  <a:pt x="1235641" y="1299711"/>
                  <a:pt x="1226090" y="1308068"/>
                  <a:pt x="1215743" y="1316823"/>
                </a:cubicBezTo>
                <a:cubicBezTo>
                  <a:pt x="1224498" y="1326772"/>
                  <a:pt x="1231661" y="1335129"/>
                  <a:pt x="1240416" y="1345078"/>
                </a:cubicBezTo>
                <a:cubicBezTo>
                  <a:pt x="1251559" y="1335527"/>
                  <a:pt x="1260712" y="1327568"/>
                  <a:pt x="1271059" y="1319211"/>
                </a:cubicBezTo>
                <a:cubicBezTo>
                  <a:pt x="1262702" y="1308864"/>
                  <a:pt x="1255538" y="1300109"/>
                  <a:pt x="1247181" y="1289762"/>
                </a:cubicBezTo>
                <a:close/>
                <a:moveTo>
                  <a:pt x="1533309" y="1288171"/>
                </a:moveTo>
                <a:cubicBezTo>
                  <a:pt x="1524952" y="1293344"/>
                  <a:pt x="1518187" y="1297323"/>
                  <a:pt x="1509432" y="1302497"/>
                </a:cubicBezTo>
                <a:cubicBezTo>
                  <a:pt x="1516197" y="1313639"/>
                  <a:pt x="1522166" y="1323190"/>
                  <a:pt x="1528533" y="1333537"/>
                </a:cubicBezTo>
                <a:cubicBezTo>
                  <a:pt x="1536890" y="1327966"/>
                  <a:pt x="1543656" y="1323588"/>
                  <a:pt x="1551615" y="1318813"/>
                </a:cubicBezTo>
                <a:cubicBezTo>
                  <a:pt x="1544849" y="1307670"/>
                  <a:pt x="1539278" y="1298119"/>
                  <a:pt x="1533309" y="1288171"/>
                </a:cubicBezTo>
                <a:close/>
                <a:moveTo>
                  <a:pt x="3349960" y="1285783"/>
                </a:moveTo>
                <a:cubicBezTo>
                  <a:pt x="3338817" y="1298517"/>
                  <a:pt x="3328868" y="1310456"/>
                  <a:pt x="3318123" y="1323190"/>
                </a:cubicBezTo>
                <a:cubicBezTo>
                  <a:pt x="3329664" y="1333139"/>
                  <a:pt x="3340011" y="1341894"/>
                  <a:pt x="3350755" y="1351047"/>
                </a:cubicBezTo>
                <a:cubicBezTo>
                  <a:pt x="3362296" y="1338312"/>
                  <a:pt x="3372245" y="1327170"/>
                  <a:pt x="3382990" y="1315231"/>
                </a:cubicBezTo>
                <a:cubicBezTo>
                  <a:pt x="3371449" y="1305283"/>
                  <a:pt x="3361500" y="1296130"/>
                  <a:pt x="3349960" y="1285783"/>
                </a:cubicBezTo>
                <a:close/>
                <a:moveTo>
                  <a:pt x="1071685" y="1285783"/>
                </a:moveTo>
                <a:cubicBezTo>
                  <a:pt x="1060542" y="1297323"/>
                  <a:pt x="1050991" y="1306874"/>
                  <a:pt x="1042634" y="1315231"/>
                </a:cubicBezTo>
                <a:cubicBezTo>
                  <a:pt x="1049797" y="1322792"/>
                  <a:pt x="1057358" y="1330751"/>
                  <a:pt x="1064521" y="1338710"/>
                </a:cubicBezTo>
                <a:cubicBezTo>
                  <a:pt x="1074072" y="1329557"/>
                  <a:pt x="1083623" y="1320803"/>
                  <a:pt x="1094766" y="1310058"/>
                </a:cubicBezTo>
                <a:cubicBezTo>
                  <a:pt x="1086011" y="1300507"/>
                  <a:pt x="1078848" y="1293344"/>
                  <a:pt x="1071685" y="1285783"/>
                </a:cubicBezTo>
                <a:close/>
                <a:moveTo>
                  <a:pt x="1352639" y="1282599"/>
                </a:moveTo>
                <a:cubicBezTo>
                  <a:pt x="1339506" y="1292548"/>
                  <a:pt x="1330751" y="1299313"/>
                  <a:pt x="1320007" y="1307272"/>
                </a:cubicBezTo>
                <a:cubicBezTo>
                  <a:pt x="1339904" y="1332741"/>
                  <a:pt x="1358608" y="1357016"/>
                  <a:pt x="1378108" y="1382485"/>
                </a:cubicBezTo>
                <a:cubicBezTo>
                  <a:pt x="1392036" y="1372536"/>
                  <a:pt x="1403974" y="1363383"/>
                  <a:pt x="1421086" y="1350649"/>
                </a:cubicBezTo>
                <a:cubicBezTo>
                  <a:pt x="1396413" y="1326374"/>
                  <a:pt x="1374526" y="1304487"/>
                  <a:pt x="1352639" y="1282599"/>
                </a:cubicBezTo>
                <a:close/>
                <a:moveTo>
                  <a:pt x="3446264" y="1276630"/>
                </a:moveTo>
                <a:cubicBezTo>
                  <a:pt x="3434325" y="1289364"/>
                  <a:pt x="3424376" y="1300109"/>
                  <a:pt x="3414428" y="1310854"/>
                </a:cubicBezTo>
                <a:cubicBezTo>
                  <a:pt x="3424774" y="1322394"/>
                  <a:pt x="3434325" y="1332741"/>
                  <a:pt x="3442284" y="1341496"/>
                </a:cubicBezTo>
                <a:cubicBezTo>
                  <a:pt x="3455815" y="1329557"/>
                  <a:pt x="3466957" y="1319609"/>
                  <a:pt x="3479692" y="1308466"/>
                </a:cubicBezTo>
                <a:cubicBezTo>
                  <a:pt x="3468151" y="1297721"/>
                  <a:pt x="3457407" y="1287375"/>
                  <a:pt x="3446264" y="1276630"/>
                </a:cubicBezTo>
                <a:close/>
                <a:moveTo>
                  <a:pt x="1473616" y="1273446"/>
                </a:moveTo>
                <a:cubicBezTo>
                  <a:pt x="1464463" y="1279416"/>
                  <a:pt x="1457300" y="1284191"/>
                  <a:pt x="1449341" y="1289364"/>
                </a:cubicBezTo>
                <a:cubicBezTo>
                  <a:pt x="1456902" y="1300109"/>
                  <a:pt x="1462871" y="1309262"/>
                  <a:pt x="1469637" y="1319211"/>
                </a:cubicBezTo>
                <a:cubicBezTo>
                  <a:pt x="1478789" y="1313242"/>
                  <a:pt x="1485555" y="1308864"/>
                  <a:pt x="1493116" y="1303691"/>
                </a:cubicBezTo>
                <a:cubicBezTo>
                  <a:pt x="1486351" y="1293344"/>
                  <a:pt x="1480779" y="1284191"/>
                  <a:pt x="1473616" y="1273446"/>
                </a:cubicBezTo>
                <a:close/>
                <a:moveTo>
                  <a:pt x="907579" y="1265239"/>
                </a:moveTo>
                <a:cubicBezTo>
                  <a:pt x="892507" y="1263597"/>
                  <a:pt x="876091" y="1273248"/>
                  <a:pt x="843260" y="1292548"/>
                </a:cubicBezTo>
                <a:cubicBezTo>
                  <a:pt x="842066" y="1292946"/>
                  <a:pt x="840872" y="1294140"/>
                  <a:pt x="840077" y="1294936"/>
                </a:cubicBezTo>
                <a:cubicBezTo>
                  <a:pt x="840872" y="1303293"/>
                  <a:pt x="839679" y="1310854"/>
                  <a:pt x="835301" y="1316425"/>
                </a:cubicBezTo>
                <a:cubicBezTo>
                  <a:pt x="810628" y="1347465"/>
                  <a:pt x="785557" y="1378506"/>
                  <a:pt x="760884" y="1409546"/>
                </a:cubicBezTo>
                <a:cubicBezTo>
                  <a:pt x="759690" y="1411138"/>
                  <a:pt x="759292" y="1413127"/>
                  <a:pt x="758098" y="1416311"/>
                </a:cubicBezTo>
                <a:cubicBezTo>
                  <a:pt x="762874" y="1419097"/>
                  <a:pt x="767649" y="1421882"/>
                  <a:pt x="771629" y="1424270"/>
                </a:cubicBezTo>
                <a:cubicBezTo>
                  <a:pt x="803067" y="1385669"/>
                  <a:pt x="832913" y="1349057"/>
                  <a:pt x="863954" y="1311252"/>
                </a:cubicBezTo>
                <a:cubicBezTo>
                  <a:pt x="885841" y="1330751"/>
                  <a:pt x="906137" y="1348261"/>
                  <a:pt x="926034" y="1365771"/>
                </a:cubicBezTo>
                <a:cubicBezTo>
                  <a:pt x="896586" y="1402383"/>
                  <a:pt x="868729" y="1437005"/>
                  <a:pt x="840475" y="1472024"/>
                </a:cubicBezTo>
                <a:cubicBezTo>
                  <a:pt x="842066" y="1474412"/>
                  <a:pt x="843658" y="1476800"/>
                  <a:pt x="845250" y="1479187"/>
                </a:cubicBezTo>
                <a:cubicBezTo>
                  <a:pt x="850821" y="1476402"/>
                  <a:pt x="858382" y="1475208"/>
                  <a:pt x="861964" y="1470830"/>
                </a:cubicBezTo>
                <a:cubicBezTo>
                  <a:pt x="889025" y="1438198"/>
                  <a:pt x="915289" y="1405168"/>
                  <a:pt x="942748" y="1371342"/>
                </a:cubicBezTo>
                <a:cubicBezTo>
                  <a:pt x="965431" y="1391240"/>
                  <a:pt x="985727" y="1409546"/>
                  <a:pt x="1006420" y="1427852"/>
                </a:cubicBezTo>
                <a:cubicBezTo>
                  <a:pt x="978962" y="1461678"/>
                  <a:pt x="953493" y="1493514"/>
                  <a:pt x="927626" y="1525350"/>
                </a:cubicBezTo>
                <a:cubicBezTo>
                  <a:pt x="921657" y="1532115"/>
                  <a:pt x="915687" y="1539278"/>
                  <a:pt x="930014" y="1543656"/>
                </a:cubicBezTo>
                <a:cubicBezTo>
                  <a:pt x="960258" y="1507044"/>
                  <a:pt x="990502" y="1470433"/>
                  <a:pt x="1021543" y="1433025"/>
                </a:cubicBezTo>
                <a:cubicBezTo>
                  <a:pt x="1044624" y="1453719"/>
                  <a:pt x="1064919" y="1472024"/>
                  <a:pt x="1086409" y="1491126"/>
                </a:cubicBezTo>
                <a:cubicBezTo>
                  <a:pt x="1081235" y="1497493"/>
                  <a:pt x="1076858" y="1502269"/>
                  <a:pt x="1072879" y="1507442"/>
                </a:cubicBezTo>
                <a:cubicBezTo>
                  <a:pt x="1049399" y="1536493"/>
                  <a:pt x="1025920" y="1565145"/>
                  <a:pt x="1002839" y="1594196"/>
                </a:cubicBezTo>
                <a:cubicBezTo>
                  <a:pt x="999655" y="1598175"/>
                  <a:pt x="999257" y="1604144"/>
                  <a:pt x="997666" y="1609318"/>
                </a:cubicBezTo>
                <a:cubicBezTo>
                  <a:pt x="999655" y="1610114"/>
                  <a:pt x="1001247" y="1610512"/>
                  <a:pt x="1003237" y="1611308"/>
                </a:cubicBezTo>
                <a:cubicBezTo>
                  <a:pt x="1034675" y="1572706"/>
                  <a:pt x="1066511" y="1534105"/>
                  <a:pt x="1099143" y="1494708"/>
                </a:cubicBezTo>
                <a:cubicBezTo>
                  <a:pt x="1122622" y="1515799"/>
                  <a:pt x="1143714" y="1534503"/>
                  <a:pt x="1165999" y="1554798"/>
                </a:cubicBezTo>
                <a:cubicBezTo>
                  <a:pt x="1152469" y="1570716"/>
                  <a:pt x="1140928" y="1583849"/>
                  <a:pt x="1129388" y="1597777"/>
                </a:cubicBezTo>
                <a:cubicBezTo>
                  <a:pt x="1118245" y="1610910"/>
                  <a:pt x="1107102" y="1623644"/>
                  <a:pt x="1097153" y="1637970"/>
                </a:cubicBezTo>
                <a:cubicBezTo>
                  <a:pt x="1088001" y="1651103"/>
                  <a:pt x="1073276" y="1661847"/>
                  <a:pt x="1075266" y="1681347"/>
                </a:cubicBezTo>
                <a:cubicBezTo>
                  <a:pt x="1108694" y="1640358"/>
                  <a:pt x="1142520" y="1598971"/>
                  <a:pt x="1178336" y="1557982"/>
                </a:cubicBezTo>
                <a:cubicBezTo>
                  <a:pt x="1200223" y="1577482"/>
                  <a:pt x="1219723" y="1594991"/>
                  <a:pt x="1240416" y="1613695"/>
                </a:cubicBezTo>
                <a:cubicBezTo>
                  <a:pt x="1248773" y="1604940"/>
                  <a:pt x="1255538" y="1597379"/>
                  <a:pt x="1263099" y="1589022"/>
                </a:cubicBezTo>
                <a:cubicBezTo>
                  <a:pt x="1255936" y="1582655"/>
                  <a:pt x="1250365" y="1577880"/>
                  <a:pt x="1245192" y="1572706"/>
                </a:cubicBezTo>
                <a:cubicBezTo>
                  <a:pt x="1151275" y="1483565"/>
                  <a:pt x="1057358" y="1394822"/>
                  <a:pt x="963840" y="1305680"/>
                </a:cubicBezTo>
                <a:cubicBezTo>
                  <a:pt x="936381" y="1279814"/>
                  <a:pt x="922652" y="1266880"/>
                  <a:pt x="907579" y="1265239"/>
                </a:cubicBezTo>
                <a:close/>
                <a:moveTo>
                  <a:pt x="3207493" y="1263100"/>
                </a:moveTo>
                <a:cubicBezTo>
                  <a:pt x="3197146" y="1277426"/>
                  <a:pt x="3187993" y="1290160"/>
                  <a:pt x="3178840" y="1302497"/>
                </a:cubicBezTo>
                <a:cubicBezTo>
                  <a:pt x="3191177" y="1312048"/>
                  <a:pt x="3200728" y="1319211"/>
                  <a:pt x="3211472" y="1327170"/>
                </a:cubicBezTo>
                <a:cubicBezTo>
                  <a:pt x="3221421" y="1314037"/>
                  <a:pt x="3230972" y="1302099"/>
                  <a:pt x="3241318" y="1288568"/>
                </a:cubicBezTo>
                <a:cubicBezTo>
                  <a:pt x="3229778" y="1279813"/>
                  <a:pt x="3219431" y="1271854"/>
                  <a:pt x="3207493" y="1263100"/>
                </a:cubicBezTo>
                <a:close/>
                <a:moveTo>
                  <a:pt x="1414719" y="1254345"/>
                </a:moveTo>
                <a:cubicBezTo>
                  <a:pt x="1405566" y="1260712"/>
                  <a:pt x="1398403" y="1265487"/>
                  <a:pt x="1389648" y="1271457"/>
                </a:cubicBezTo>
                <a:cubicBezTo>
                  <a:pt x="1397607" y="1281803"/>
                  <a:pt x="1404372" y="1291354"/>
                  <a:pt x="1411138" y="1300905"/>
                </a:cubicBezTo>
                <a:cubicBezTo>
                  <a:pt x="1419893" y="1294538"/>
                  <a:pt x="1427056" y="1289762"/>
                  <a:pt x="1434617" y="1284589"/>
                </a:cubicBezTo>
                <a:cubicBezTo>
                  <a:pt x="1427852" y="1273844"/>
                  <a:pt x="1421484" y="1264691"/>
                  <a:pt x="1414719" y="1254345"/>
                </a:cubicBezTo>
                <a:close/>
                <a:moveTo>
                  <a:pt x="1269467" y="1247977"/>
                </a:moveTo>
                <a:cubicBezTo>
                  <a:pt x="1268671" y="1249171"/>
                  <a:pt x="1267875" y="1250763"/>
                  <a:pt x="1267079" y="1251957"/>
                </a:cubicBezTo>
                <a:cubicBezTo>
                  <a:pt x="1278620" y="1266681"/>
                  <a:pt x="1289762" y="1281007"/>
                  <a:pt x="1302497" y="1297323"/>
                </a:cubicBezTo>
                <a:cubicBezTo>
                  <a:pt x="1312843" y="1289762"/>
                  <a:pt x="1320803" y="1283395"/>
                  <a:pt x="1331945" y="1274640"/>
                </a:cubicBezTo>
                <a:cubicBezTo>
                  <a:pt x="1308864" y="1264691"/>
                  <a:pt x="1288966" y="1256334"/>
                  <a:pt x="1269467" y="1247977"/>
                </a:cubicBezTo>
                <a:close/>
                <a:moveTo>
                  <a:pt x="3300216" y="1244794"/>
                </a:moveTo>
                <a:cubicBezTo>
                  <a:pt x="3289471" y="1258722"/>
                  <a:pt x="3280318" y="1270263"/>
                  <a:pt x="3269971" y="1283395"/>
                </a:cubicBezTo>
                <a:cubicBezTo>
                  <a:pt x="3281512" y="1292946"/>
                  <a:pt x="3292257" y="1301303"/>
                  <a:pt x="3303399" y="1310456"/>
                </a:cubicBezTo>
                <a:cubicBezTo>
                  <a:pt x="3314144" y="1297721"/>
                  <a:pt x="3323695" y="1286181"/>
                  <a:pt x="3334439" y="1273446"/>
                </a:cubicBezTo>
                <a:cubicBezTo>
                  <a:pt x="3323297" y="1263895"/>
                  <a:pt x="3312950" y="1255141"/>
                  <a:pt x="3300216" y="1244794"/>
                </a:cubicBezTo>
                <a:close/>
                <a:moveTo>
                  <a:pt x="3396122" y="1232457"/>
                </a:moveTo>
                <a:cubicBezTo>
                  <a:pt x="3384979" y="1245192"/>
                  <a:pt x="3375826" y="1256334"/>
                  <a:pt x="3364286" y="1269467"/>
                </a:cubicBezTo>
                <a:cubicBezTo>
                  <a:pt x="3376622" y="1280211"/>
                  <a:pt x="3387367" y="1289364"/>
                  <a:pt x="3398509" y="1299313"/>
                </a:cubicBezTo>
                <a:cubicBezTo>
                  <a:pt x="3410846" y="1285385"/>
                  <a:pt x="3420397" y="1274640"/>
                  <a:pt x="3431142" y="1262702"/>
                </a:cubicBezTo>
                <a:cubicBezTo>
                  <a:pt x="3418805" y="1251957"/>
                  <a:pt x="3407663" y="1242406"/>
                  <a:pt x="3396122" y="1232457"/>
                </a:cubicBezTo>
                <a:close/>
                <a:moveTo>
                  <a:pt x="3494814" y="1224100"/>
                </a:moveTo>
                <a:cubicBezTo>
                  <a:pt x="3482477" y="1237631"/>
                  <a:pt x="3472131" y="1248375"/>
                  <a:pt x="3460988" y="1260712"/>
                </a:cubicBezTo>
                <a:cubicBezTo>
                  <a:pt x="3472927" y="1271854"/>
                  <a:pt x="3483671" y="1282201"/>
                  <a:pt x="3493620" y="1291354"/>
                </a:cubicBezTo>
                <a:cubicBezTo>
                  <a:pt x="3506355" y="1279813"/>
                  <a:pt x="3517497" y="1269865"/>
                  <a:pt x="3528242" y="1259916"/>
                </a:cubicBezTo>
                <a:cubicBezTo>
                  <a:pt x="3516701" y="1247579"/>
                  <a:pt x="3506752" y="1236835"/>
                  <a:pt x="3494814" y="1224100"/>
                </a:cubicBezTo>
                <a:close/>
                <a:moveTo>
                  <a:pt x="1707612" y="1223304"/>
                </a:moveTo>
                <a:cubicBezTo>
                  <a:pt x="1695673" y="1228876"/>
                  <a:pt x="1685724" y="1233253"/>
                  <a:pt x="1674582" y="1238427"/>
                </a:cubicBezTo>
                <a:cubicBezTo>
                  <a:pt x="1680153" y="1250763"/>
                  <a:pt x="1685326" y="1261508"/>
                  <a:pt x="1690500" y="1273048"/>
                </a:cubicBezTo>
                <a:cubicBezTo>
                  <a:pt x="1702040" y="1267875"/>
                  <a:pt x="1711989" y="1263498"/>
                  <a:pt x="1722734" y="1258722"/>
                </a:cubicBezTo>
                <a:cubicBezTo>
                  <a:pt x="1717561" y="1245988"/>
                  <a:pt x="1713183" y="1236039"/>
                  <a:pt x="1707612" y="1223304"/>
                </a:cubicBezTo>
                <a:close/>
                <a:moveTo>
                  <a:pt x="1747009" y="1207386"/>
                </a:moveTo>
                <a:cubicBezTo>
                  <a:pt x="1735070" y="1212162"/>
                  <a:pt x="1725122" y="1216539"/>
                  <a:pt x="1713979" y="1221315"/>
                </a:cubicBezTo>
                <a:cubicBezTo>
                  <a:pt x="1718754" y="1233651"/>
                  <a:pt x="1723132" y="1244396"/>
                  <a:pt x="1728703" y="1257130"/>
                </a:cubicBezTo>
                <a:cubicBezTo>
                  <a:pt x="1740642" y="1251957"/>
                  <a:pt x="1750193" y="1247977"/>
                  <a:pt x="1761335" y="1243202"/>
                </a:cubicBezTo>
                <a:cubicBezTo>
                  <a:pt x="1756560" y="1230865"/>
                  <a:pt x="1751784" y="1219723"/>
                  <a:pt x="1747009" y="1207386"/>
                </a:cubicBezTo>
                <a:close/>
                <a:moveTo>
                  <a:pt x="3249278" y="1206590"/>
                </a:moveTo>
                <a:cubicBezTo>
                  <a:pt x="3239329" y="1220121"/>
                  <a:pt x="3230972" y="1231661"/>
                  <a:pt x="3220625" y="1245590"/>
                </a:cubicBezTo>
                <a:cubicBezTo>
                  <a:pt x="3232564" y="1254345"/>
                  <a:pt x="3243308" y="1262702"/>
                  <a:pt x="3254849" y="1271457"/>
                </a:cubicBezTo>
                <a:cubicBezTo>
                  <a:pt x="3265196" y="1257926"/>
                  <a:pt x="3274349" y="1245988"/>
                  <a:pt x="3285093" y="1233253"/>
                </a:cubicBezTo>
                <a:cubicBezTo>
                  <a:pt x="3272757" y="1224100"/>
                  <a:pt x="3261216" y="1215743"/>
                  <a:pt x="3249278" y="1206590"/>
                </a:cubicBezTo>
                <a:close/>
                <a:moveTo>
                  <a:pt x="1507840" y="1197438"/>
                </a:moveTo>
                <a:cubicBezTo>
                  <a:pt x="1498687" y="1202611"/>
                  <a:pt x="1491524" y="1206590"/>
                  <a:pt x="1481973" y="1212162"/>
                </a:cubicBezTo>
                <a:cubicBezTo>
                  <a:pt x="1488738" y="1223702"/>
                  <a:pt x="1494310" y="1232855"/>
                  <a:pt x="1500677" y="1243600"/>
                </a:cubicBezTo>
                <a:cubicBezTo>
                  <a:pt x="1510228" y="1238029"/>
                  <a:pt x="1517789" y="1233253"/>
                  <a:pt x="1525748" y="1228478"/>
                </a:cubicBezTo>
                <a:cubicBezTo>
                  <a:pt x="1519380" y="1216937"/>
                  <a:pt x="1513809" y="1207386"/>
                  <a:pt x="1507840" y="1197438"/>
                </a:cubicBezTo>
                <a:close/>
                <a:moveTo>
                  <a:pt x="1423872" y="1194254"/>
                </a:moveTo>
                <a:cubicBezTo>
                  <a:pt x="1414321" y="1200223"/>
                  <a:pt x="1407556" y="1204601"/>
                  <a:pt x="1398005" y="1210570"/>
                </a:cubicBezTo>
                <a:cubicBezTo>
                  <a:pt x="1405566" y="1221713"/>
                  <a:pt x="1411933" y="1230865"/>
                  <a:pt x="1418699" y="1240814"/>
                </a:cubicBezTo>
                <a:cubicBezTo>
                  <a:pt x="1428250" y="1234447"/>
                  <a:pt x="1435811" y="1229672"/>
                  <a:pt x="1443770" y="1224100"/>
                </a:cubicBezTo>
                <a:cubicBezTo>
                  <a:pt x="1436209" y="1212958"/>
                  <a:pt x="1430239" y="1204203"/>
                  <a:pt x="1423872" y="1194254"/>
                </a:cubicBezTo>
                <a:close/>
                <a:moveTo>
                  <a:pt x="1786804" y="1192264"/>
                </a:moveTo>
                <a:cubicBezTo>
                  <a:pt x="1774468" y="1197438"/>
                  <a:pt x="1764121" y="1201417"/>
                  <a:pt x="1753376" y="1205795"/>
                </a:cubicBezTo>
                <a:cubicBezTo>
                  <a:pt x="1758152" y="1218131"/>
                  <a:pt x="1762131" y="1228876"/>
                  <a:pt x="1767305" y="1241212"/>
                </a:cubicBezTo>
                <a:cubicBezTo>
                  <a:pt x="1778447" y="1236835"/>
                  <a:pt x="1788794" y="1232855"/>
                  <a:pt x="1799937" y="1228478"/>
                </a:cubicBezTo>
                <a:cubicBezTo>
                  <a:pt x="1795161" y="1215743"/>
                  <a:pt x="1791182" y="1204601"/>
                  <a:pt x="1786804" y="1192264"/>
                </a:cubicBezTo>
                <a:close/>
                <a:moveTo>
                  <a:pt x="1619664" y="1191070"/>
                </a:moveTo>
                <a:cubicBezTo>
                  <a:pt x="1602155" y="1200223"/>
                  <a:pt x="1585839" y="1208580"/>
                  <a:pt x="1568727" y="1217335"/>
                </a:cubicBezTo>
                <a:cubicBezTo>
                  <a:pt x="1586236" y="1250763"/>
                  <a:pt x="1602950" y="1282201"/>
                  <a:pt x="1620858" y="1316027"/>
                </a:cubicBezTo>
                <a:cubicBezTo>
                  <a:pt x="1637572" y="1306874"/>
                  <a:pt x="1652296" y="1299313"/>
                  <a:pt x="1667817" y="1290956"/>
                </a:cubicBezTo>
                <a:cubicBezTo>
                  <a:pt x="1651103" y="1256732"/>
                  <a:pt x="1635980" y="1224498"/>
                  <a:pt x="1619664" y="1191070"/>
                </a:cubicBezTo>
                <a:close/>
                <a:moveTo>
                  <a:pt x="3344388" y="1189478"/>
                </a:moveTo>
                <a:cubicBezTo>
                  <a:pt x="3333643" y="1203009"/>
                  <a:pt x="3324491" y="1214549"/>
                  <a:pt x="3314144" y="1227682"/>
                </a:cubicBezTo>
                <a:cubicBezTo>
                  <a:pt x="3326082" y="1237233"/>
                  <a:pt x="3337225" y="1246386"/>
                  <a:pt x="3349164" y="1255936"/>
                </a:cubicBezTo>
                <a:cubicBezTo>
                  <a:pt x="3359908" y="1243202"/>
                  <a:pt x="3369459" y="1231661"/>
                  <a:pt x="3380602" y="1218529"/>
                </a:cubicBezTo>
                <a:cubicBezTo>
                  <a:pt x="3367469" y="1208182"/>
                  <a:pt x="3356327" y="1199427"/>
                  <a:pt x="3344388" y="1189478"/>
                </a:cubicBezTo>
                <a:close/>
                <a:moveTo>
                  <a:pt x="2835010" y="1183509"/>
                </a:moveTo>
                <a:cubicBezTo>
                  <a:pt x="2829040" y="1197835"/>
                  <a:pt x="2823469" y="1211366"/>
                  <a:pt x="2817500" y="1225692"/>
                </a:cubicBezTo>
                <a:cubicBezTo>
                  <a:pt x="2838989" y="1234845"/>
                  <a:pt x="2857693" y="1243202"/>
                  <a:pt x="2877591" y="1251957"/>
                </a:cubicBezTo>
                <a:cubicBezTo>
                  <a:pt x="2884356" y="1237631"/>
                  <a:pt x="2890325" y="1225294"/>
                  <a:pt x="2896692" y="1211366"/>
                </a:cubicBezTo>
                <a:cubicBezTo>
                  <a:pt x="2875601" y="1201815"/>
                  <a:pt x="2856499" y="1193060"/>
                  <a:pt x="2835010" y="1183509"/>
                </a:cubicBezTo>
                <a:close/>
                <a:moveTo>
                  <a:pt x="1826997" y="1179132"/>
                </a:moveTo>
                <a:cubicBezTo>
                  <a:pt x="1815059" y="1183509"/>
                  <a:pt x="1804314" y="1187091"/>
                  <a:pt x="1792774" y="1191070"/>
                </a:cubicBezTo>
                <a:cubicBezTo>
                  <a:pt x="1797151" y="1203805"/>
                  <a:pt x="1801528" y="1214947"/>
                  <a:pt x="1806304" y="1226886"/>
                </a:cubicBezTo>
                <a:cubicBezTo>
                  <a:pt x="1818242" y="1222508"/>
                  <a:pt x="1828191" y="1219325"/>
                  <a:pt x="1838936" y="1215345"/>
                </a:cubicBezTo>
                <a:cubicBezTo>
                  <a:pt x="1834956" y="1202611"/>
                  <a:pt x="1830977" y="1191468"/>
                  <a:pt x="1826997" y="1179132"/>
                </a:cubicBezTo>
                <a:close/>
                <a:moveTo>
                  <a:pt x="3442284" y="1178336"/>
                </a:moveTo>
                <a:cubicBezTo>
                  <a:pt x="3430744" y="1191468"/>
                  <a:pt x="3421193" y="1203009"/>
                  <a:pt x="3410448" y="1215345"/>
                </a:cubicBezTo>
                <a:cubicBezTo>
                  <a:pt x="3422785" y="1226090"/>
                  <a:pt x="3433927" y="1235641"/>
                  <a:pt x="3445468" y="1246386"/>
                </a:cubicBezTo>
                <a:cubicBezTo>
                  <a:pt x="3457008" y="1234049"/>
                  <a:pt x="3466957" y="1222906"/>
                  <a:pt x="3478100" y="1210570"/>
                </a:cubicBezTo>
                <a:cubicBezTo>
                  <a:pt x="3466161" y="1199825"/>
                  <a:pt x="3455019" y="1189876"/>
                  <a:pt x="3442284" y="1178336"/>
                </a:cubicBezTo>
                <a:close/>
                <a:moveTo>
                  <a:pt x="1362587" y="1176346"/>
                </a:moveTo>
                <a:cubicBezTo>
                  <a:pt x="1353037" y="1183111"/>
                  <a:pt x="1345476" y="1188683"/>
                  <a:pt x="1336721" y="1194652"/>
                </a:cubicBezTo>
                <a:cubicBezTo>
                  <a:pt x="1344282" y="1205397"/>
                  <a:pt x="1350649" y="1214151"/>
                  <a:pt x="1357414" y="1224100"/>
                </a:cubicBezTo>
                <a:cubicBezTo>
                  <a:pt x="1366567" y="1217733"/>
                  <a:pt x="1374128" y="1212560"/>
                  <a:pt x="1382883" y="1206590"/>
                </a:cubicBezTo>
                <a:cubicBezTo>
                  <a:pt x="1376118" y="1196642"/>
                  <a:pt x="1370149" y="1187489"/>
                  <a:pt x="1362587" y="1176346"/>
                </a:cubicBezTo>
                <a:close/>
                <a:moveTo>
                  <a:pt x="3542568" y="1173162"/>
                </a:moveTo>
                <a:cubicBezTo>
                  <a:pt x="3531028" y="1185897"/>
                  <a:pt x="3521079" y="1196244"/>
                  <a:pt x="3509538" y="1208978"/>
                </a:cubicBezTo>
                <a:cubicBezTo>
                  <a:pt x="3521875" y="1220917"/>
                  <a:pt x="3533415" y="1231263"/>
                  <a:pt x="3541772" y="1239222"/>
                </a:cubicBezTo>
                <a:cubicBezTo>
                  <a:pt x="3555303" y="1228080"/>
                  <a:pt x="3567241" y="1218529"/>
                  <a:pt x="3579976" y="1208182"/>
                </a:cubicBezTo>
                <a:cubicBezTo>
                  <a:pt x="3566445" y="1195448"/>
                  <a:pt x="3554905" y="1184703"/>
                  <a:pt x="3542568" y="1173162"/>
                </a:cubicBezTo>
                <a:close/>
                <a:moveTo>
                  <a:pt x="1685724" y="1172366"/>
                </a:moveTo>
                <a:cubicBezTo>
                  <a:pt x="1672990" y="1177938"/>
                  <a:pt x="1662643" y="1182713"/>
                  <a:pt x="1651501" y="1187887"/>
                </a:cubicBezTo>
                <a:cubicBezTo>
                  <a:pt x="1657072" y="1199427"/>
                  <a:pt x="1661449" y="1208978"/>
                  <a:pt x="1667021" y="1221315"/>
                </a:cubicBezTo>
                <a:cubicBezTo>
                  <a:pt x="1678959" y="1216141"/>
                  <a:pt x="1689306" y="1211366"/>
                  <a:pt x="1700449" y="1206590"/>
                </a:cubicBezTo>
                <a:cubicBezTo>
                  <a:pt x="1695275" y="1194254"/>
                  <a:pt x="1690500" y="1183509"/>
                  <a:pt x="1685724" y="1172366"/>
                </a:cubicBezTo>
                <a:close/>
                <a:moveTo>
                  <a:pt x="1867190" y="1166795"/>
                </a:moveTo>
                <a:cubicBezTo>
                  <a:pt x="1855650" y="1169979"/>
                  <a:pt x="1845303" y="1173162"/>
                  <a:pt x="1832569" y="1176744"/>
                </a:cubicBezTo>
                <a:cubicBezTo>
                  <a:pt x="1837344" y="1190672"/>
                  <a:pt x="1841324" y="1201815"/>
                  <a:pt x="1845701" y="1213356"/>
                </a:cubicBezTo>
                <a:cubicBezTo>
                  <a:pt x="1857640" y="1209376"/>
                  <a:pt x="1867190" y="1206192"/>
                  <a:pt x="1878333" y="1202611"/>
                </a:cubicBezTo>
                <a:cubicBezTo>
                  <a:pt x="1874354" y="1189876"/>
                  <a:pt x="1870772" y="1178734"/>
                  <a:pt x="1867190" y="1166795"/>
                </a:cubicBezTo>
                <a:close/>
                <a:moveTo>
                  <a:pt x="1109888" y="1158438"/>
                </a:moveTo>
                <a:cubicBezTo>
                  <a:pt x="1104317" y="1162816"/>
                  <a:pt x="1099541" y="1166397"/>
                  <a:pt x="1095164" y="1169979"/>
                </a:cubicBezTo>
                <a:cubicBezTo>
                  <a:pt x="1088797" y="1175550"/>
                  <a:pt x="1082429" y="1181121"/>
                  <a:pt x="1076062" y="1186693"/>
                </a:cubicBezTo>
                <a:cubicBezTo>
                  <a:pt x="1091582" y="1209376"/>
                  <a:pt x="1109490" y="1208182"/>
                  <a:pt x="1130582" y="1183111"/>
                </a:cubicBezTo>
                <a:cubicBezTo>
                  <a:pt x="1124214" y="1175152"/>
                  <a:pt x="1117449" y="1167193"/>
                  <a:pt x="1109888" y="1158438"/>
                </a:cubicBezTo>
                <a:close/>
                <a:moveTo>
                  <a:pt x="1726713" y="1155653"/>
                </a:moveTo>
                <a:cubicBezTo>
                  <a:pt x="1714377" y="1160428"/>
                  <a:pt x="1704030" y="1165203"/>
                  <a:pt x="1692092" y="1170377"/>
                </a:cubicBezTo>
                <a:cubicBezTo>
                  <a:pt x="1697265" y="1181917"/>
                  <a:pt x="1701643" y="1192264"/>
                  <a:pt x="1706816" y="1204203"/>
                </a:cubicBezTo>
                <a:cubicBezTo>
                  <a:pt x="1719550" y="1199029"/>
                  <a:pt x="1729499" y="1194652"/>
                  <a:pt x="1740642" y="1190274"/>
                </a:cubicBezTo>
                <a:cubicBezTo>
                  <a:pt x="1735468" y="1177938"/>
                  <a:pt x="1731489" y="1167591"/>
                  <a:pt x="1726713" y="1155653"/>
                </a:cubicBezTo>
                <a:close/>
                <a:moveTo>
                  <a:pt x="2743481" y="1149683"/>
                </a:moveTo>
                <a:cubicBezTo>
                  <a:pt x="2738307" y="1164805"/>
                  <a:pt x="2734328" y="1177540"/>
                  <a:pt x="2729552" y="1192662"/>
                </a:cubicBezTo>
                <a:cubicBezTo>
                  <a:pt x="2750644" y="1200223"/>
                  <a:pt x="2769745" y="1207386"/>
                  <a:pt x="2790837" y="1214947"/>
                </a:cubicBezTo>
                <a:cubicBezTo>
                  <a:pt x="2796408" y="1200223"/>
                  <a:pt x="2801582" y="1187091"/>
                  <a:pt x="2807153" y="1172764"/>
                </a:cubicBezTo>
                <a:cubicBezTo>
                  <a:pt x="2784868" y="1164407"/>
                  <a:pt x="2764572" y="1157244"/>
                  <a:pt x="2743481" y="1149683"/>
                </a:cubicBezTo>
                <a:close/>
                <a:moveTo>
                  <a:pt x="3291062" y="1149285"/>
                </a:moveTo>
                <a:cubicBezTo>
                  <a:pt x="3281114" y="1162816"/>
                  <a:pt x="3271961" y="1175152"/>
                  <a:pt x="3262410" y="1188285"/>
                </a:cubicBezTo>
                <a:cubicBezTo>
                  <a:pt x="3275144" y="1197438"/>
                  <a:pt x="3286287" y="1206192"/>
                  <a:pt x="3298624" y="1215345"/>
                </a:cubicBezTo>
                <a:cubicBezTo>
                  <a:pt x="3308970" y="1201417"/>
                  <a:pt x="3318123" y="1189478"/>
                  <a:pt x="3328072" y="1176346"/>
                </a:cubicBezTo>
                <a:cubicBezTo>
                  <a:pt x="3314542" y="1166397"/>
                  <a:pt x="3303001" y="1158040"/>
                  <a:pt x="3291062" y="1149285"/>
                </a:cubicBezTo>
                <a:close/>
                <a:moveTo>
                  <a:pt x="1767305" y="1139734"/>
                </a:moveTo>
                <a:cubicBezTo>
                  <a:pt x="1754968" y="1144908"/>
                  <a:pt x="1744223" y="1149285"/>
                  <a:pt x="1733081" y="1154061"/>
                </a:cubicBezTo>
                <a:cubicBezTo>
                  <a:pt x="1737856" y="1166397"/>
                  <a:pt x="1741836" y="1176744"/>
                  <a:pt x="1746611" y="1187489"/>
                </a:cubicBezTo>
                <a:cubicBezTo>
                  <a:pt x="1758550" y="1182713"/>
                  <a:pt x="1769294" y="1179132"/>
                  <a:pt x="1780835" y="1174754"/>
                </a:cubicBezTo>
                <a:cubicBezTo>
                  <a:pt x="1776059" y="1162816"/>
                  <a:pt x="1772080" y="1151673"/>
                  <a:pt x="1767305" y="1139734"/>
                </a:cubicBezTo>
                <a:close/>
                <a:moveTo>
                  <a:pt x="3388561" y="1133765"/>
                </a:moveTo>
                <a:cubicBezTo>
                  <a:pt x="3377816" y="1147296"/>
                  <a:pt x="3369061" y="1158438"/>
                  <a:pt x="3358316" y="1171969"/>
                </a:cubicBezTo>
                <a:cubicBezTo>
                  <a:pt x="3371051" y="1182713"/>
                  <a:pt x="3382591" y="1191866"/>
                  <a:pt x="3394530" y="1201815"/>
                </a:cubicBezTo>
                <a:cubicBezTo>
                  <a:pt x="3405275" y="1189080"/>
                  <a:pt x="3415224" y="1177540"/>
                  <a:pt x="3425968" y="1164407"/>
                </a:cubicBezTo>
                <a:cubicBezTo>
                  <a:pt x="3412836" y="1153663"/>
                  <a:pt x="3400897" y="1144112"/>
                  <a:pt x="3388561" y="1133765"/>
                </a:cubicBezTo>
                <a:close/>
                <a:moveTo>
                  <a:pt x="1809487" y="1126204"/>
                </a:moveTo>
                <a:cubicBezTo>
                  <a:pt x="1796753" y="1130582"/>
                  <a:pt x="1786406" y="1134163"/>
                  <a:pt x="1774070" y="1138541"/>
                </a:cubicBezTo>
                <a:cubicBezTo>
                  <a:pt x="1778845" y="1151275"/>
                  <a:pt x="1783223" y="1162020"/>
                  <a:pt x="1787600" y="1173162"/>
                </a:cubicBezTo>
                <a:cubicBezTo>
                  <a:pt x="1799937" y="1168785"/>
                  <a:pt x="1809885" y="1165203"/>
                  <a:pt x="1821028" y="1161224"/>
                </a:cubicBezTo>
                <a:cubicBezTo>
                  <a:pt x="1817049" y="1148887"/>
                  <a:pt x="1813467" y="1138143"/>
                  <a:pt x="1809487" y="1126204"/>
                </a:cubicBezTo>
                <a:close/>
                <a:moveTo>
                  <a:pt x="1492320" y="1125806"/>
                </a:moveTo>
                <a:cubicBezTo>
                  <a:pt x="1482371" y="1131377"/>
                  <a:pt x="1474412" y="1136153"/>
                  <a:pt x="1465657" y="1141724"/>
                </a:cubicBezTo>
                <a:cubicBezTo>
                  <a:pt x="1472422" y="1152867"/>
                  <a:pt x="1477994" y="1162020"/>
                  <a:pt x="1483963" y="1172366"/>
                </a:cubicBezTo>
                <a:cubicBezTo>
                  <a:pt x="1493514" y="1167193"/>
                  <a:pt x="1501473" y="1162816"/>
                  <a:pt x="1510626" y="1157642"/>
                </a:cubicBezTo>
                <a:cubicBezTo>
                  <a:pt x="1503860" y="1146500"/>
                  <a:pt x="1498289" y="1136551"/>
                  <a:pt x="1492320" y="1125806"/>
                </a:cubicBezTo>
                <a:close/>
                <a:moveTo>
                  <a:pt x="3488049" y="1124612"/>
                </a:moveTo>
                <a:cubicBezTo>
                  <a:pt x="3476906" y="1137745"/>
                  <a:pt x="3467355" y="1148887"/>
                  <a:pt x="3456611" y="1161622"/>
                </a:cubicBezTo>
                <a:cubicBezTo>
                  <a:pt x="3469743" y="1173162"/>
                  <a:pt x="3481284" y="1183111"/>
                  <a:pt x="3493620" y="1193856"/>
                </a:cubicBezTo>
                <a:cubicBezTo>
                  <a:pt x="3505161" y="1180723"/>
                  <a:pt x="3515110" y="1169183"/>
                  <a:pt x="3525854" y="1156846"/>
                </a:cubicBezTo>
                <a:cubicBezTo>
                  <a:pt x="3511926" y="1145306"/>
                  <a:pt x="3500385" y="1135357"/>
                  <a:pt x="3488049" y="1124612"/>
                </a:cubicBezTo>
                <a:close/>
                <a:moveTo>
                  <a:pt x="1252355" y="1122622"/>
                </a:moveTo>
                <a:cubicBezTo>
                  <a:pt x="1233651" y="1136551"/>
                  <a:pt x="1216539" y="1149285"/>
                  <a:pt x="1197437" y="1162816"/>
                </a:cubicBezTo>
                <a:cubicBezTo>
                  <a:pt x="1214151" y="1183509"/>
                  <a:pt x="1226090" y="1208182"/>
                  <a:pt x="1245988" y="1219723"/>
                </a:cubicBezTo>
                <a:cubicBezTo>
                  <a:pt x="1277028" y="1238427"/>
                  <a:pt x="1313241" y="1248375"/>
                  <a:pt x="1347465" y="1261906"/>
                </a:cubicBezTo>
                <a:cubicBezTo>
                  <a:pt x="1348659" y="1261508"/>
                  <a:pt x="1349455" y="1260712"/>
                  <a:pt x="1350649" y="1259916"/>
                </a:cubicBezTo>
                <a:cubicBezTo>
                  <a:pt x="1318415" y="1214549"/>
                  <a:pt x="1285783" y="1169581"/>
                  <a:pt x="1252355" y="1122622"/>
                </a:cubicBezTo>
                <a:close/>
                <a:moveTo>
                  <a:pt x="2649962" y="1121429"/>
                </a:moveTo>
                <a:cubicBezTo>
                  <a:pt x="2645982" y="1136949"/>
                  <a:pt x="2642401" y="1150479"/>
                  <a:pt x="2638819" y="1165203"/>
                </a:cubicBezTo>
                <a:cubicBezTo>
                  <a:pt x="2660707" y="1171173"/>
                  <a:pt x="2680206" y="1176744"/>
                  <a:pt x="2701298" y="1182713"/>
                </a:cubicBezTo>
                <a:cubicBezTo>
                  <a:pt x="2706073" y="1167989"/>
                  <a:pt x="2710053" y="1154857"/>
                  <a:pt x="2714828" y="1140132"/>
                </a:cubicBezTo>
                <a:cubicBezTo>
                  <a:pt x="2691747" y="1133367"/>
                  <a:pt x="2671452" y="1127398"/>
                  <a:pt x="2649962" y="1121429"/>
                </a:cubicBezTo>
                <a:close/>
                <a:moveTo>
                  <a:pt x="3591118" y="1119837"/>
                </a:moveTo>
                <a:cubicBezTo>
                  <a:pt x="3578384" y="1133367"/>
                  <a:pt x="3568435" y="1144510"/>
                  <a:pt x="3557292" y="1156448"/>
                </a:cubicBezTo>
                <a:cubicBezTo>
                  <a:pt x="3570425" y="1168785"/>
                  <a:pt x="3582363" y="1179530"/>
                  <a:pt x="3591118" y="1187887"/>
                </a:cubicBezTo>
                <a:cubicBezTo>
                  <a:pt x="3604251" y="1176744"/>
                  <a:pt x="3615393" y="1166795"/>
                  <a:pt x="3624944" y="1158040"/>
                </a:cubicBezTo>
                <a:cubicBezTo>
                  <a:pt x="3613802" y="1145704"/>
                  <a:pt x="3603057" y="1133367"/>
                  <a:pt x="3591118" y="1119837"/>
                </a:cubicBezTo>
                <a:close/>
                <a:moveTo>
                  <a:pt x="1375322" y="1116653"/>
                </a:moveTo>
                <a:cubicBezTo>
                  <a:pt x="1364975" y="1123020"/>
                  <a:pt x="1357016" y="1128592"/>
                  <a:pt x="1348261" y="1134561"/>
                </a:cubicBezTo>
                <a:cubicBezTo>
                  <a:pt x="1355424" y="1145306"/>
                  <a:pt x="1361394" y="1154459"/>
                  <a:pt x="1368159" y="1164407"/>
                </a:cubicBezTo>
                <a:cubicBezTo>
                  <a:pt x="1377710" y="1158438"/>
                  <a:pt x="1385669" y="1153265"/>
                  <a:pt x="1394822" y="1147296"/>
                </a:cubicBezTo>
                <a:cubicBezTo>
                  <a:pt x="1388056" y="1136551"/>
                  <a:pt x="1382087" y="1127000"/>
                  <a:pt x="1375322" y="1116653"/>
                </a:cubicBezTo>
                <a:close/>
                <a:moveTo>
                  <a:pt x="1851272" y="1113072"/>
                </a:moveTo>
                <a:cubicBezTo>
                  <a:pt x="1838538" y="1117051"/>
                  <a:pt x="1827793" y="1120633"/>
                  <a:pt x="1815855" y="1124612"/>
                </a:cubicBezTo>
                <a:cubicBezTo>
                  <a:pt x="1820232" y="1136949"/>
                  <a:pt x="1823416" y="1147296"/>
                  <a:pt x="1827395" y="1159234"/>
                </a:cubicBezTo>
                <a:cubicBezTo>
                  <a:pt x="1839732" y="1155255"/>
                  <a:pt x="1850079" y="1152071"/>
                  <a:pt x="1862017" y="1148489"/>
                </a:cubicBezTo>
                <a:cubicBezTo>
                  <a:pt x="1858038" y="1135755"/>
                  <a:pt x="1854854" y="1125010"/>
                  <a:pt x="1851272" y="1113072"/>
                </a:cubicBezTo>
                <a:close/>
                <a:moveTo>
                  <a:pt x="1071287" y="1112276"/>
                </a:moveTo>
                <a:cubicBezTo>
                  <a:pt x="1058552" y="1123418"/>
                  <a:pt x="1047409" y="1133367"/>
                  <a:pt x="1035471" y="1143714"/>
                </a:cubicBezTo>
                <a:cubicBezTo>
                  <a:pt x="1044226" y="1153663"/>
                  <a:pt x="1051389" y="1161622"/>
                  <a:pt x="1059348" y="1170377"/>
                </a:cubicBezTo>
                <a:cubicBezTo>
                  <a:pt x="1072083" y="1159632"/>
                  <a:pt x="1082827" y="1150081"/>
                  <a:pt x="1094368" y="1140132"/>
                </a:cubicBezTo>
                <a:cubicBezTo>
                  <a:pt x="1086409" y="1130582"/>
                  <a:pt x="1080042" y="1122622"/>
                  <a:pt x="1071287" y="1112276"/>
                </a:cubicBezTo>
                <a:close/>
                <a:moveTo>
                  <a:pt x="1312445" y="1100337"/>
                </a:moveTo>
                <a:cubicBezTo>
                  <a:pt x="1302497" y="1107102"/>
                  <a:pt x="1294538" y="1112276"/>
                  <a:pt x="1284987" y="1119439"/>
                </a:cubicBezTo>
                <a:cubicBezTo>
                  <a:pt x="1292548" y="1130184"/>
                  <a:pt x="1298915" y="1138939"/>
                  <a:pt x="1305680" y="1148887"/>
                </a:cubicBezTo>
                <a:cubicBezTo>
                  <a:pt x="1315629" y="1142122"/>
                  <a:pt x="1323986" y="1136153"/>
                  <a:pt x="1332741" y="1130184"/>
                </a:cubicBezTo>
                <a:cubicBezTo>
                  <a:pt x="1325180" y="1119041"/>
                  <a:pt x="1319211" y="1110286"/>
                  <a:pt x="1312445" y="1100337"/>
                </a:cubicBezTo>
                <a:close/>
                <a:moveTo>
                  <a:pt x="3332847" y="1091582"/>
                </a:moveTo>
                <a:cubicBezTo>
                  <a:pt x="3322899" y="1105511"/>
                  <a:pt x="3313746" y="1118245"/>
                  <a:pt x="3304195" y="1131377"/>
                </a:cubicBezTo>
                <a:cubicBezTo>
                  <a:pt x="3317327" y="1140928"/>
                  <a:pt x="3328868" y="1149683"/>
                  <a:pt x="3341602" y="1159234"/>
                </a:cubicBezTo>
                <a:cubicBezTo>
                  <a:pt x="3351551" y="1146500"/>
                  <a:pt x="3360306" y="1134959"/>
                  <a:pt x="3371449" y="1120633"/>
                </a:cubicBezTo>
                <a:cubicBezTo>
                  <a:pt x="3357919" y="1110286"/>
                  <a:pt x="3345980" y="1101531"/>
                  <a:pt x="3332847" y="1091582"/>
                </a:cubicBezTo>
                <a:close/>
                <a:moveTo>
                  <a:pt x="1440188" y="1078450"/>
                </a:moveTo>
                <a:cubicBezTo>
                  <a:pt x="1430637" y="1083623"/>
                  <a:pt x="1422280" y="1088797"/>
                  <a:pt x="1412331" y="1094766"/>
                </a:cubicBezTo>
                <a:cubicBezTo>
                  <a:pt x="1419495" y="1106704"/>
                  <a:pt x="1425464" y="1115857"/>
                  <a:pt x="1431433" y="1125806"/>
                </a:cubicBezTo>
                <a:cubicBezTo>
                  <a:pt x="1441382" y="1119837"/>
                  <a:pt x="1449341" y="1114663"/>
                  <a:pt x="1458494" y="1109490"/>
                </a:cubicBezTo>
                <a:cubicBezTo>
                  <a:pt x="1451729" y="1098348"/>
                  <a:pt x="1446157" y="1088797"/>
                  <a:pt x="1440188" y="1078450"/>
                </a:cubicBezTo>
                <a:close/>
                <a:moveTo>
                  <a:pt x="3432335" y="1078052"/>
                </a:moveTo>
                <a:cubicBezTo>
                  <a:pt x="3421989" y="1091582"/>
                  <a:pt x="3412438" y="1103919"/>
                  <a:pt x="3402489" y="1116653"/>
                </a:cubicBezTo>
                <a:cubicBezTo>
                  <a:pt x="3415622" y="1127398"/>
                  <a:pt x="3426764" y="1136153"/>
                  <a:pt x="3440294" y="1147296"/>
                </a:cubicBezTo>
                <a:cubicBezTo>
                  <a:pt x="3451039" y="1134163"/>
                  <a:pt x="3460590" y="1122225"/>
                  <a:pt x="3471335" y="1109490"/>
                </a:cubicBezTo>
                <a:cubicBezTo>
                  <a:pt x="3457804" y="1098745"/>
                  <a:pt x="3445866" y="1089195"/>
                  <a:pt x="3432335" y="1078052"/>
                </a:cubicBezTo>
                <a:close/>
                <a:moveTo>
                  <a:pt x="1645929" y="1078052"/>
                </a:moveTo>
                <a:cubicBezTo>
                  <a:pt x="1632399" y="1084419"/>
                  <a:pt x="1621654" y="1089195"/>
                  <a:pt x="1608920" y="1094766"/>
                </a:cubicBezTo>
                <a:cubicBezTo>
                  <a:pt x="1622450" y="1124214"/>
                  <a:pt x="1635185" y="1151673"/>
                  <a:pt x="1648317" y="1180326"/>
                </a:cubicBezTo>
                <a:cubicBezTo>
                  <a:pt x="1660653" y="1174754"/>
                  <a:pt x="1671000" y="1169979"/>
                  <a:pt x="1682939" y="1164407"/>
                </a:cubicBezTo>
                <a:cubicBezTo>
                  <a:pt x="1670204" y="1134561"/>
                  <a:pt x="1658266" y="1106704"/>
                  <a:pt x="1645929" y="1078052"/>
                </a:cubicBezTo>
                <a:close/>
                <a:moveTo>
                  <a:pt x="3534609" y="1071287"/>
                </a:moveTo>
                <a:cubicBezTo>
                  <a:pt x="3523466" y="1084419"/>
                  <a:pt x="3513518" y="1095562"/>
                  <a:pt x="3503171" y="1107898"/>
                </a:cubicBezTo>
                <a:cubicBezTo>
                  <a:pt x="3515905" y="1119041"/>
                  <a:pt x="3527446" y="1129388"/>
                  <a:pt x="3540976" y="1142122"/>
                </a:cubicBezTo>
                <a:cubicBezTo>
                  <a:pt x="3552517" y="1128990"/>
                  <a:pt x="3562864" y="1117449"/>
                  <a:pt x="3573608" y="1105113"/>
                </a:cubicBezTo>
                <a:cubicBezTo>
                  <a:pt x="3559680" y="1092776"/>
                  <a:pt x="3547344" y="1082429"/>
                  <a:pt x="3534609" y="1071287"/>
                </a:cubicBezTo>
                <a:close/>
                <a:moveTo>
                  <a:pt x="3639270" y="1068899"/>
                </a:moveTo>
                <a:cubicBezTo>
                  <a:pt x="3626934" y="1081633"/>
                  <a:pt x="3616985" y="1092776"/>
                  <a:pt x="3605843" y="1104715"/>
                </a:cubicBezTo>
                <a:cubicBezTo>
                  <a:pt x="3618975" y="1117051"/>
                  <a:pt x="3631311" y="1128592"/>
                  <a:pt x="3642056" y="1138541"/>
                </a:cubicBezTo>
                <a:cubicBezTo>
                  <a:pt x="3654393" y="1127000"/>
                  <a:pt x="3665137" y="1116653"/>
                  <a:pt x="3677474" y="1105113"/>
                </a:cubicBezTo>
                <a:cubicBezTo>
                  <a:pt x="3664739" y="1092776"/>
                  <a:pt x="3652005" y="1080838"/>
                  <a:pt x="3639270" y="1068899"/>
                </a:cubicBezTo>
                <a:close/>
                <a:moveTo>
                  <a:pt x="1561961" y="1068103"/>
                </a:moveTo>
                <a:cubicBezTo>
                  <a:pt x="1541666" y="1078450"/>
                  <a:pt x="1523758" y="1087603"/>
                  <a:pt x="1505054" y="1097154"/>
                </a:cubicBezTo>
                <a:cubicBezTo>
                  <a:pt x="1522166" y="1129786"/>
                  <a:pt x="1538482" y="1160428"/>
                  <a:pt x="1555594" y="1192662"/>
                </a:cubicBezTo>
                <a:cubicBezTo>
                  <a:pt x="1573502" y="1183509"/>
                  <a:pt x="1590216" y="1175152"/>
                  <a:pt x="1608920" y="1165601"/>
                </a:cubicBezTo>
                <a:cubicBezTo>
                  <a:pt x="1592604" y="1131775"/>
                  <a:pt x="1577879" y="1100735"/>
                  <a:pt x="1561961" y="1068103"/>
                </a:cubicBezTo>
                <a:close/>
                <a:moveTo>
                  <a:pt x="2885151" y="1063328"/>
                </a:moveTo>
                <a:cubicBezTo>
                  <a:pt x="2879182" y="1078052"/>
                  <a:pt x="2874009" y="1090786"/>
                  <a:pt x="2868040" y="1104715"/>
                </a:cubicBezTo>
                <a:cubicBezTo>
                  <a:pt x="2889927" y="1114663"/>
                  <a:pt x="2910621" y="1123816"/>
                  <a:pt x="2932906" y="1133765"/>
                </a:cubicBezTo>
                <a:cubicBezTo>
                  <a:pt x="2939273" y="1120633"/>
                  <a:pt x="2945242" y="1108296"/>
                  <a:pt x="2952803" y="1092776"/>
                </a:cubicBezTo>
                <a:cubicBezTo>
                  <a:pt x="2928926" y="1082429"/>
                  <a:pt x="2907835" y="1073276"/>
                  <a:pt x="2885151" y="1063328"/>
                </a:cubicBezTo>
                <a:close/>
                <a:moveTo>
                  <a:pt x="1689704" y="1060144"/>
                </a:moveTo>
                <a:cubicBezTo>
                  <a:pt x="1675776" y="1066113"/>
                  <a:pt x="1664633" y="1070889"/>
                  <a:pt x="1652296" y="1075664"/>
                </a:cubicBezTo>
                <a:cubicBezTo>
                  <a:pt x="1665031" y="1105511"/>
                  <a:pt x="1676969" y="1133765"/>
                  <a:pt x="1689306" y="1162418"/>
                </a:cubicBezTo>
                <a:cubicBezTo>
                  <a:pt x="1702040" y="1156846"/>
                  <a:pt x="1712387" y="1152867"/>
                  <a:pt x="1723928" y="1147694"/>
                </a:cubicBezTo>
                <a:cubicBezTo>
                  <a:pt x="1712387" y="1118245"/>
                  <a:pt x="1701643" y="1090388"/>
                  <a:pt x="1689704" y="1060144"/>
                </a:cubicBezTo>
                <a:close/>
                <a:moveTo>
                  <a:pt x="2666278" y="1058552"/>
                </a:moveTo>
                <a:cubicBezTo>
                  <a:pt x="2661901" y="1075664"/>
                  <a:pt x="2658717" y="1088399"/>
                  <a:pt x="2655135" y="1101929"/>
                </a:cubicBezTo>
                <a:cubicBezTo>
                  <a:pt x="2677819" y="1108296"/>
                  <a:pt x="2698910" y="1114266"/>
                  <a:pt x="2720797" y="1120633"/>
                </a:cubicBezTo>
                <a:cubicBezTo>
                  <a:pt x="2725573" y="1106307"/>
                  <a:pt x="2729552" y="1093174"/>
                  <a:pt x="2734328" y="1077654"/>
                </a:cubicBezTo>
                <a:cubicBezTo>
                  <a:pt x="2709655" y="1070889"/>
                  <a:pt x="2688165" y="1064522"/>
                  <a:pt x="2666278" y="1058552"/>
                </a:cubicBezTo>
                <a:close/>
                <a:moveTo>
                  <a:pt x="1385271" y="1054175"/>
                </a:moveTo>
                <a:cubicBezTo>
                  <a:pt x="1374924" y="1060940"/>
                  <a:pt x="1366169" y="1066113"/>
                  <a:pt x="1357414" y="1072083"/>
                </a:cubicBezTo>
                <a:cubicBezTo>
                  <a:pt x="1364179" y="1082827"/>
                  <a:pt x="1369751" y="1091980"/>
                  <a:pt x="1376516" y="1102725"/>
                </a:cubicBezTo>
                <a:cubicBezTo>
                  <a:pt x="1386863" y="1096358"/>
                  <a:pt x="1395220" y="1090786"/>
                  <a:pt x="1404372" y="1085215"/>
                </a:cubicBezTo>
                <a:cubicBezTo>
                  <a:pt x="1397209" y="1073674"/>
                  <a:pt x="1391638" y="1064124"/>
                  <a:pt x="1385271" y="1054175"/>
                </a:cubicBezTo>
                <a:close/>
                <a:moveTo>
                  <a:pt x="2051840" y="1052185"/>
                </a:moveTo>
                <a:cubicBezTo>
                  <a:pt x="2040300" y="1053777"/>
                  <a:pt x="2029953" y="1055369"/>
                  <a:pt x="2018014" y="1056563"/>
                </a:cubicBezTo>
                <a:cubicBezTo>
                  <a:pt x="2020402" y="1071287"/>
                  <a:pt x="2022392" y="1084021"/>
                  <a:pt x="2024779" y="1097950"/>
                </a:cubicBezTo>
                <a:cubicBezTo>
                  <a:pt x="2036718" y="1095960"/>
                  <a:pt x="2046667" y="1094368"/>
                  <a:pt x="2057810" y="1092378"/>
                </a:cubicBezTo>
                <a:cubicBezTo>
                  <a:pt x="2055820" y="1078450"/>
                  <a:pt x="2053830" y="1066113"/>
                  <a:pt x="2051840" y="1052185"/>
                </a:cubicBezTo>
                <a:close/>
                <a:moveTo>
                  <a:pt x="1627623" y="1036665"/>
                </a:moveTo>
                <a:cubicBezTo>
                  <a:pt x="1614491" y="1043032"/>
                  <a:pt x="1602950" y="1048604"/>
                  <a:pt x="1590216" y="1054573"/>
                </a:cubicBezTo>
                <a:cubicBezTo>
                  <a:pt x="1596185" y="1066909"/>
                  <a:pt x="1600961" y="1076858"/>
                  <a:pt x="1606134" y="1087205"/>
                </a:cubicBezTo>
                <a:cubicBezTo>
                  <a:pt x="1618470" y="1081633"/>
                  <a:pt x="1629215" y="1076858"/>
                  <a:pt x="1642746" y="1070889"/>
                </a:cubicBezTo>
                <a:cubicBezTo>
                  <a:pt x="1637572" y="1058552"/>
                  <a:pt x="1632797" y="1048206"/>
                  <a:pt x="1627623" y="1036665"/>
                </a:cubicBezTo>
                <a:close/>
                <a:moveTo>
                  <a:pt x="2566790" y="1035073"/>
                </a:moveTo>
                <a:cubicBezTo>
                  <a:pt x="2564004" y="1052185"/>
                  <a:pt x="2561617" y="1065317"/>
                  <a:pt x="2559627" y="1079644"/>
                </a:cubicBezTo>
                <a:cubicBezTo>
                  <a:pt x="2582708" y="1084817"/>
                  <a:pt x="2603800" y="1089195"/>
                  <a:pt x="2625687" y="1093970"/>
                </a:cubicBezTo>
                <a:cubicBezTo>
                  <a:pt x="2629268" y="1078450"/>
                  <a:pt x="2632850" y="1065317"/>
                  <a:pt x="2636432" y="1050195"/>
                </a:cubicBezTo>
                <a:cubicBezTo>
                  <a:pt x="2612953" y="1045022"/>
                  <a:pt x="2591463" y="1040246"/>
                  <a:pt x="2566790" y="1035073"/>
                </a:cubicBezTo>
                <a:close/>
                <a:moveTo>
                  <a:pt x="3375030" y="1034277"/>
                </a:moveTo>
                <a:cubicBezTo>
                  <a:pt x="3364684" y="1048604"/>
                  <a:pt x="3355929" y="1060940"/>
                  <a:pt x="3346378" y="1074072"/>
                </a:cubicBezTo>
                <a:cubicBezTo>
                  <a:pt x="3359908" y="1084419"/>
                  <a:pt x="3371847" y="1093174"/>
                  <a:pt x="3384979" y="1103123"/>
                </a:cubicBezTo>
                <a:cubicBezTo>
                  <a:pt x="3395326" y="1089593"/>
                  <a:pt x="3404877" y="1077256"/>
                  <a:pt x="3414826" y="1064124"/>
                </a:cubicBezTo>
                <a:cubicBezTo>
                  <a:pt x="3400897" y="1053777"/>
                  <a:pt x="3388561" y="1044226"/>
                  <a:pt x="3375030" y="1034277"/>
                </a:cubicBezTo>
                <a:close/>
                <a:moveTo>
                  <a:pt x="1778447" y="1029104"/>
                </a:moveTo>
                <a:cubicBezTo>
                  <a:pt x="1765315" y="1033481"/>
                  <a:pt x="1754172" y="1037063"/>
                  <a:pt x="1740244" y="1041838"/>
                </a:cubicBezTo>
                <a:cubicBezTo>
                  <a:pt x="1750989" y="1072481"/>
                  <a:pt x="1761335" y="1101133"/>
                  <a:pt x="1771682" y="1130582"/>
                </a:cubicBezTo>
                <a:cubicBezTo>
                  <a:pt x="1784814" y="1126204"/>
                  <a:pt x="1795161" y="1122622"/>
                  <a:pt x="1807498" y="1118643"/>
                </a:cubicBezTo>
                <a:cubicBezTo>
                  <a:pt x="1797549" y="1088399"/>
                  <a:pt x="1788396" y="1059348"/>
                  <a:pt x="1778447" y="1029104"/>
                </a:cubicBezTo>
                <a:close/>
                <a:moveTo>
                  <a:pt x="3199932" y="1025522"/>
                </a:moveTo>
                <a:cubicBezTo>
                  <a:pt x="3195952" y="1032685"/>
                  <a:pt x="3192370" y="1037859"/>
                  <a:pt x="3188789" y="1044624"/>
                </a:cubicBezTo>
                <a:cubicBezTo>
                  <a:pt x="3217043" y="1062930"/>
                  <a:pt x="3244104" y="1080838"/>
                  <a:pt x="3272757" y="1099541"/>
                </a:cubicBezTo>
                <a:cubicBezTo>
                  <a:pt x="3276736" y="1093572"/>
                  <a:pt x="3280716" y="1088399"/>
                  <a:pt x="3285491" y="1081633"/>
                </a:cubicBezTo>
                <a:cubicBezTo>
                  <a:pt x="3256441" y="1062532"/>
                  <a:pt x="3228584" y="1044226"/>
                  <a:pt x="3199932" y="1025522"/>
                </a:cubicBezTo>
                <a:close/>
                <a:moveTo>
                  <a:pt x="2785664" y="1025522"/>
                </a:moveTo>
                <a:cubicBezTo>
                  <a:pt x="2780888" y="1039848"/>
                  <a:pt x="2776113" y="1052981"/>
                  <a:pt x="2770939" y="1068103"/>
                </a:cubicBezTo>
                <a:cubicBezTo>
                  <a:pt x="2794419" y="1076858"/>
                  <a:pt x="2815510" y="1084419"/>
                  <a:pt x="2838193" y="1092378"/>
                </a:cubicBezTo>
                <a:cubicBezTo>
                  <a:pt x="2843765" y="1078052"/>
                  <a:pt x="2848938" y="1065317"/>
                  <a:pt x="2854509" y="1050593"/>
                </a:cubicBezTo>
                <a:cubicBezTo>
                  <a:pt x="2831428" y="1042236"/>
                  <a:pt x="2809541" y="1034277"/>
                  <a:pt x="2785664" y="1025522"/>
                </a:cubicBezTo>
                <a:close/>
                <a:moveTo>
                  <a:pt x="1934444" y="1023930"/>
                </a:moveTo>
                <a:cubicBezTo>
                  <a:pt x="1921710" y="1026716"/>
                  <a:pt x="1911761" y="1029104"/>
                  <a:pt x="1900221" y="1031889"/>
                </a:cubicBezTo>
                <a:cubicBezTo>
                  <a:pt x="1903802" y="1046216"/>
                  <a:pt x="1906986" y="1058552"/>
                  <a:pt x="1910169" y="1072481"/>
                </a:cubicBezTo>
                <a:cubicBezTo>
                  <a:pt x="1922506" y="1069695"/>
                  <a:pt x="1932853" y="1067307"/>
                  <a:pt x="1944393" y="1064522"/>
                </a:cubicBezTo>
                <a:cubicBezTo>
                  <a:pt x="1940812" y="1049797"/>
                  <a:pt x="1937628" y="1037461"/>
                  <a:pt x="1934444" y="1023930"/>
                </a:cubicBezTo>
                <a:close/>
                <a:moveTo>
                  <a:pt x="3476906" y="1023134"/>
                </a:moveTo>
                <a:cubicBezTo>
                  <a:pt x="3466559" y="1035869"/>
                  <a:pt x="3457008" y="1047808"/>
                  <a:pt x="3446264" y="1061338"/>
                </a:cubicBezTo>
                <a:cubicBezTo>
                  <a:pt x="3460192" y="1072481"/>
                  <a:pt x="3472131" y="1082429"/>
                  <a:pt x="3485661" y="1093174"/>
                </a:cubicBezTo>
                <a:cubicBezTo>
                  <a:pt x="3496406" y="1080042"/>
                  <a:pt x="3506355" y="1068501"/>
                  <a:pt x="3517099" y="1055767"/>
                </a:cubicBezTo>
                <a:cubicBezTo>
                  <a:pt x="3503569" y="1044624"/>
                  <a:pt x="3490834" y="1034277"/>
                  <a:pt x="3476906" y="1023134"/>
                </a:cubicBezTo>
                <a:close/>
                <a:moveTo>
                  <a:pt x="1672592" y="1018757"/>
                </a:moveTo>
                <a:cubicBezTo>
                  <a:pt x="1659062" y="1024328"/>
                  <a:pt x="1647919" y="1029104"/>
                  <a:pt x="1634787" y="1034675"/>
                </a:cubicBezTo>
                <a:cubicBezTo>
                  <a:pt x="1639960" y="1046614"/>
                  <a:pt x="1644337" y="1056563"/>
                  <a:pt x="1649113" y="1068103"/>
                </a:cubicBezTo>
                <a:cubicBezTo>
                  <a:pt x="1662245" y="1062930"/>
                  <a:pt x="1673388" y="1058154"/>
                  <a:pt x="1686520" y="1052981"/>
                </a:cubicBezTo>
                <a:cubicBezTo>
                  <a:pt x="1681745" y="1040644"/>
                  <a:pt x="1677367" y="1030298"/>
                  <a:pt x="1672592" y="1018757"/>
                </a:cubicBezTo>
                <a:close/>
                <a:moveTo>
                  <a:pt x="2384130" y="1017961"/>
                </a:moveTo>
                <a:cubicBezTo>
                  <a:pt x="2382936" y="1041042"/>
                  <a:pt x="2381742" y="1060940"/>
                  <a:pt x="2380549" y="1082031"/>
                </a:cubicBezTo>
                <a:cubicBezTo>
                  <a:pt x="2398456" y="1083623"/>
                  <a:pt x="2413977" y="1084817"/>
                  <a:pt x="2430691" y="1086409"/>
                </a:cubicBezTo>
                <a:cubicBezTo>
                  <a:pt x="2433078" y="1064124"/>
                  <a:pt x="2435068" y="1044624"/>
                  <a:pt x="2437456" y="1023532"/>
                </a:cubicBezTo>
                <a:cubicBezTo>
                  <a:pt x="2419548" y="1021941"/>
                  <a:pt x="2403630" y="1019951"/>
                  <a:pt x="2384130" y="1017961"/>
                </a:cubicBezTo>
                <a:close/>
                <a:moveTo>
                  <a:pt x="3580772" y="1016767"/>
                </a:moveTo>
                <a:cubicBezTo>
                  <a:pt x="3569629" y="1029900"/>
                  <a:pt x="3559680" y="1041838"/>
                  <a:pt x="3548936" y="1054175"/>
                </a:cubicBezTo>
                <a:cubicBezTo>
                  <a:pt x="3562864" y="1066511"/>
                  <a:pt x="3575200" y="1077256"/>
                  <a:pt x="3588333" y="1088797"/>
                </a:cubicBezTo>
                <a:cubicBezTo>
                  <a:pt x="3599873" y="1076062"/>
                  <a:pt x="3610220" y="1064522"/>
                  <a:pt x="3620965" y="1052185"/>
                </a:cubicBezTo>
                <a:cubicBezTo>
                  <a:pt x="3607434" y="1040246"/>
                  <a:pt x="3595098" y="1029502"/>
                  <a:pt x="3580772" y="1016767"/>
                </a:cubicBezTo>
                <a:close/>
                <a:moveTo>
                  <a:pt x="2205450" y="1015175"/>
                </a:moveTo>
                <a:cubicBezTo>
                  <a:pt x="2186746" y="1016369"/>
                  <a:pt x="2170032" y="1017563"/>
                  <a:pt x="2152124" y="1018757"/>
                </a:cubicBezTo>
                <a:cubicBezTo>
                  <a:pt x="2153716" y="1040246"/>
                  <a:pt x="2155308" y="1060144"/>
                  <a:pt x="2156899" y="1082031"/>
                </a:cubicBezTo>
                <a:cubicBezTo>
                  <a:pt x="2175603" y="1080838"/>
                  <a:pt x="2191123" y="1079644"/>
                  <a:pt x="2205450" y="1078848"/>
                </a:cubicBezTo>
                <a:cubicBezTo>
                  <a:pt x="2205450" y="1056563"/>
                  <a:pt x="2205450" y="1037063"/>
                  <a:pt x="2205450" y="1015175"/>
                </a:cubicBezTo>
                <a:close/>
                <a:moveTo>
                  <a:pt x="1823018" y="1015175"/>
                </a:moveTo>
                <a:cubicBezTo>
                  <a:pt x="1809090" y="1019553"/>
                  <a:pt x="1797151" y="1023532"/>
                  <a:pt x="1784417" y="1027512"/>
                </a:cubicBezTo>
                <a:cubicBezTo>
                  <a:pt x="1794763" y="1058552"/>
                  <a:pt x="1803916" y="1087205"/>
                  <a:pt x="1813467" y="1116653"/>
                </a:cubicBezTo>
                <a:cubicBezTo>
                  <a:pt x="1826599" y="1112674"/>
                  <a:pt x="1836946" y="1109490"/>
                  <a:pt x="1849681" y="1105511"/>
                </a:cubicBezTo>
                <a:cubicBezTo>
                  <a:pt x="1840528" y="1074072"/>
                  <a:pt x="1832171" y="1045420"/>
                  <a:pt x="1823018" y="1015175"/>
                </a:cubicBezTo>
                <a:close/>
                <a:moveTo>
                  <a:pt x="2306927" y="1014380"/>
                </a:moveTo>
                <a:cubicBezTo>
                  <a:pt x="2306927" y="1036665"/>
                  <a:pt x="2306927" y="1056165"/>
                  <a:pt x="2306927" y="1077654"/>
                </a:cubicBezTo>
                <a:cubicBezTo>
                  <a:pt x="2323244" y="1078450"/>
                  <a:pt x="2338764" y="1079246"/>
                  <a:pt x="2356274" y="1080042"/>
                </a:cubicBezTo>
                <a:cubicBezTo>
                  <a:pt x="2357865" y="1058552"/>
                  <a:pt x="2359059" y="1038655"/>
                  <a:pt x="2360253" y="1016767"/>
                </a:cubicBezTo>
                <a:cubicBezTo>
                  <a:pt x="2341549" y="1015971"/>
                  <a:pt x="2325233" y="1015175"/>
                  <a:pt x="2306927" y="1014380"/>
                </a:cubicBezTo>
                <a:close/>
                <a:moveTo>
                  <a:pt x="1718356" y="1001645"/>
                </a:moveTo>
                <a:cubicBezTo>
                  <a:pt x="1704428" y="1006818"/>
                  <a:pt x="1692888" y="1011196"/>
                  <a:pt x="1679755" y="1016369"/>
                </a:cubicBezTo>
                <a:cubicBezTo>
                  <a:pt x="1684133" y="1027910"/>
                  <a:pt x="1688112" y="1038257"/>
                  <a:pt x="1692888" y="1050991"/>
                </a:cubicBezTo>
                <a:cubicBezTo>
                  <a:pt x="1706418" y="1045818"/>
                  <a:pt x="1717561" y="1041440"/>
                  <a:pt x="1730693" y="1036267"/>
                </a:cubicBezTo>
                <a:cubicBezTo>
                  <a:pt x="1726315" y="1023930"/>
                  <a:pt x="1722336" y="1013186"/>
                  <a:pt x="1718356" y="1001645"/>
                </a:cubicBezTo>
                <a:close/>
                <a:moveTo>
                  <a:pt x="2476057" y="995676"/>
                </a:moveTo>
                <a:cubicBezTo>
                  <a:pt x="2468098" y="1053777"/>
                  <a:pt x="2460935" y="1109490"/>
                  <a:pt x="2453374" y="1167193"/>
                </a:cubicBezTo>
                <a:cubicBezTo>
                  <a:pt x="2472077" y="1169979"/>
                  <a:pt x="2489189" y="1172366"/>
                  <a:pt x="2507495" y="1175152"/>
                </a:cubicBezTo>
                <a:cubicBezTo>
                  <a:pt x="2517444" y="1117051"/>
                  <a:pt x="2526995" y="1061736"/>
                  <a:pt x="2536944" y="1004431"/>
                </a:cubicBezTo>
                <a:cubicBezTo>
                  <a:pt x="2516648" y="1001247"/>
                  <a:pt x="2497944" y="998462"/>
                  <a:pt x="2476057" y="995676"/>
                </a:cubicBezTo>
                <a:close/>
                <a:moveTo>
                  <a:pt x="1044226" y="994084"/>
                </a:moveTo>
                <a:cubicBezTo>
                  <a:pt x="1030298" y="1006023"/>
                  <a:pt x="1018359" y="1015971"/>
                  <a:pt x="1006022" y="1026318"/>
                </a:cubicBezTo>
                <a:cubicBezTo>
                  <a:pt x="1013584" y="1035869"/>
                  <a:pt x="1019951" y="1043032"/>
                  <a:pt x="1027114" y="1051787"/>
                </a:cubicBezTo>
                <a:cubicBezTo>
                  <a:pt x="1040644" y="1041042"/>
                  <a:pt x="1052583" y="1031093"/>
                  <a:pt x="1065317" y="1020747"/>
                </a:cubicBezTo>
                <a:cubicBezTo>
                  <a:pt x="1058154" y="1011992"/>
                  <a:pt x="1052185" y="1004033"/>
                  <a:pt x="1044226" y="994084"/>
                </a:cubicBezTo>
                <a:close/>
                <a:moveTo>
                  <a:pt x="1764519" y="985727"/>
                </a:moveTo>
                <a:cubicBezTo>
                  <a:pt x="1750989" y="990502"/>
                  <a:pt x="1739448" y="994482"/>
                  <a:pt x="1725122" y="999257"/>
                </a:cubicBezTo>
                <a:cubicBezTo>
                  <a:pt x="1729897" y="1012390"/>
                  <a:pt x="1733877" y="1023134"/>
                  <a:pt x="1737856" y="1034277"/>
                </a:cubicBezTo>
                <a:cubicBezTo>
                  <a:pt x="1752182" y="1029104"/>
                  <a:pt x="1763723" y="1025124"/>
                  <a:pt x="1776059" y="1020349"/>
                </a:cubicBezTo>
                <a:cubicBezTo>
                  <a:pt x="1772080" y="1008012"/>
                  <a:pt x="1768498" y="997666"/>
                  <a:pt x="1764519" y="985727"/>
                </a:cubicBezTo>
                <a:close/>
                <a:moveTo>
                  <a:pt x="1606134" y="984931"/>
                </a:moveTo>
                <a:cubicBezTo>
                  <a:pt x="1593002" y="990900"/>
                  <a:pt x="1580665" y="996074"/>
                  <a:pt x="1567135" y="1002043"/>
                </a:cubicBezTo>
                <a:cubicBezTo>
                  <a:pt x="1573104" y="1014380"/>
                  <a:pt x="1577879" y="1024726"/>
                  <a:pt x="1583053" y="1036665"/>
                </a:cubicBezTo>
                <a:cubicBezTo>
                  <a:pt x="1596185" y="1031093"/>
                  <a:pt x="1608124" y="1025920"/>
                  <a:pt x="1621256" y="1019951"/>
                </a:cubicBezTo>
                <a:cubicBezTo>
                  <a:pt x="1616481" y="1008410"/>
                  <a:pt x="1612103" y="998462"/>
                  <a:pt x="1606134" y="984931"/>
                </a:cubicBezTo>
                <a:close/>
                <a:moveTo>
                  <a:pt x="3416815" y="976972"/>
                </a:moveTo>
                <a:cubicBezTo>
                  <a:pt x="3406867" y="990900"/>
                  <a:pt x="3397714" y="1003635"/>
                  <a:pt x="3388561" y="1016767"/>
                </a:cubicBezTo>
                <a:cubicBezTo>
                  <a:pt x="3402489" y="1027114"/>
                  <a:pt x="3414826" y="1036665"/>
                  <a:pt x="3428754" y="1047012"/>
                </a:cubicBezTo>
                <a:cubicBezTo>
                  <a:pt x="3438703" y="1034277"/>
                  <a:pt x="3447856" y="1022339"/>
                  <a:pt x="3458600" y="1008410"/>
                </a:cubicBezTo>
                <a:cubicBezTo>
                  <a:pt x="3443876" y="997268"/>
                  <a:pt x="3430744" y="987717"/>
                  <a:pt x="3416815" y="976972"/>
                </a:cubicBezTo>
                <a:close/>
                <a:moveTo>
                  <a:pt x="1810681" y="971799"/>
                </a:moveTo>
                <a:cubicBezTo>
                  <a:pt x="1796753" y="976176"/>
                  <a:pt x="1784417" y="980156"/>
                  <a:pt x="1771682" y="984135"/>
                </a:cubicBezTo>
                <a:cubicBezTo>
                  <a:pt x="1775662" y="996472"/>
                  <a:pt x="1778845" y="1006818"/>
                  <a:pt x="1782825" y="1018757"/>
                </a:cubicBezTo>
                <a:cubicBezTo>
                  <a:pt x="1795957" y="1014777"/>
                  <a:pt x="1807498" y="1011594"/>
                  <a:pt x="1821426" y="1007216"/>
                </a:cubicBezTo>
                <a:cubicBezTo>
                  <a:pt x="1817446" y="994084"/>
                  <a:pt x="1814263" y="983737"/>
                  <a:pt x="1810681" y="971799"/>
                </a:cubicBezTo>
                <a:close/>
                <a:moveTo>
                  <a:pt x="3520681" y="967023"/>
                </a:moveTo>
                <a:cubicBezTo>
                  <a:pt x="3509936" y="980554"/>
                  <a:pt x="3500385" y="992492"/>
                  <a:pt x="3490437" y="1005227"/>
                </a:cubicBezTo>
                <a:cubicBezTo>
                  <a:pt x="3504763" y="1016767"/>
                  <a:pt x="3516701" y="1026716"/>
                  <a:pt x="3531426" y="1038655"/>
                </a:cubicBezTo>
                <a:cubicBezTo>
                  <a:pt x="3542170" y="1025522"/>
                  <a:pt x="3551721" y="1013584"/>
                  <a:pt x="3562466" y="1000849"/>
                </a:cubicBezTo>
                <a:cubicBezTo>
                  <a:pt x="3547741" y="988911"/>
                  <a:pt x="3534609" y="978564"/>
                  <a:pt x="3520681" y="967023"/>
                </a:cubicBezTo>
                <a:close/>
                <a:moveTo>
                  <a:pt x="1652296" y="965034"/>
                </a:moveTo>
                <a:cubicBezTo>
                  <a:pt x="1637970" y="971401"/>
                  <a:pt x="1625634" y="976574"/>
                  <a:pt x="1612899" y="982145"/>
                </a:cubicBezTo>
                <a:cubicBezTo>
                  <a:pt x="1618470" y="994880"/>
                  <a:pt x="1623246" y="1005625"/>
                  <a:pt x="1628419" y="1017165"/>
                </a:cubicBezTo>
                <a:cubicBezTo>
                  <a:pt x="1642348" y="1011196"/>
                  <a:pt x="1654286" y="1006023"/>
                  <a:pt x="1666623" y="1000849"/>
                </a:cubicBezTo>
                <a:cubicBezTo>
                  <a:pt x="1661449" y="988115"/>
                  <a:pt x="1657470" y="977768"/>
                  <a:pt x="1652296" y="965034"/>
                </a:cubicBezTo>
                <a:close/>
                <a:moveTo>
                  <a:pt x="1699255" y="947922"/>
                </a:moveTo>
                <a:cubicBezTo>
                  <a:pt x="1685326" y="953095"/>
                  <a:pt x="1672990" y="957870"/>
                  <a:pt x="1659460" y="963044"/>
                </a:cubicBezTo>
                <a:cubicBezTo>
                  <a:pt x="1664235" y="975380"/>
                  <a:pt x="1668214" y="985727"/>
                  <a:pt x="1673388" y="998859"/>
                </a:cubicBezTo>
                <a:cubicBezTo>
                  <a:pt x="1687316" y="993686"/>
                  <a:pt x="1699255" y="989309"/>
                  <a:pt x="1712387" y="984135"/>
                </a:cubicBezTo>
                <a:cubicBezTo>
                  <a:pt x="1708010" y="971799"/>
                  <a:pt x="1704030" y="960656"/>
                  <a:pt x="1699255" y="947922"/>
                </a:cubicBezTo>
                <a:close/>
                <a:moveTo>
                  <a:pt x="1006818" y="947126"/>
                </a:moveTo>
                <a:cubicBezTo>
                  <a:pt x="992890" y="958666"/>
                  <a:pt x="980554" y="969013"/>
                  <a:pt x="967421" y="979758"/>
                </a:cubicBezTo>
                <a:cubicBezTo>
                  <a:pt x="975380" y="989707"/>
                  <a:pt x="982543" y="998064"/>
                  <a:pt x="991298" y="1008410"/>
                </a:cubicBezTo>
                <a:cubicBezTo>
                  <a:pt x="1005227" y="996870"/>
                  <a:pt x="1017165" y="986921"/>
                  <a:pt x="1030298" y="976176"/>
                </a:cubicBezTo>
                <a:cubicBezTo>
                  <a:pt x="1021941" y="966227"/>
                  <a:pt x="1014777" y="957074"/>
                  <a:pt x="1006818" y="947126"/>
                </a:cubicBezTo>
                <a:close/>
                <a:moveTo>
                  <a:pt x="2055422" y="944738"/>
                </a:moveTo>
                <a:cubicBezTo>
                  <a:pt x="2041891" y="947126"/>
                  <a:pt x="2030749" y="948718"/>
                  <a:pt x="2018810" y="951105"/>
                </a:cubicBezTo>
                <a:cubicBezTo>
                  <a:pt x="2021198" y="965034"/>
                  <a:pt x="2022790" y="977370"/>
                  <a:pt x="2025177" y="991298"/>
                </a:cubicBezTo>
                <a:cubicBezTo>
                  <a:pt x="2037116" y="989707"/>
                  <a:pt x="2047861" y="988115"/>
                  <a:pt x="2060595" y="986523"/>
                </a:cubicBezTo>
                <a:cubicBezTo>
                  <a:pt x="2059003" y="972197"/>
                  <a:pt x="2057411" y="959860"/>
                  <a:pt x="2055422" y="944738"/>
                </a:cubicBezTo>
                <a:close/>
                <a:moveTo>
                  <a:pt x="2935294" y="942350"/>
                </a:moveTo>
                <a:cubicBezTo>
                  <a:pt x="2928926" y="957472"/>
                  <a:pt x="2923355" y="970605"/>
                  <a:pt x="2917784" y="984135"/>
                </a:cubicBezTo>
                <a:cubicBezTo>
                  <a:pt x="2942855" y="995278"/>
                  <a:pt x="2965538" y="1004829"/>
                  <a:pt x="2989017" y="1015175"/>
                </a:cubicBezTo>
                <a:cubicBezTo>
                  <a:pt x="2995384" y="1001247"/>
                  <a:pt x="3001354" y="989707"/>
                  <a:pt x="3008119" y="974982"/>
                </a:cubicBezTo>
                <a:cubicBezTo>
                  <a:pt x="2983048" y="963442"/>
                  <a:pt x="2959967" y="953095"/>
                  <a:pt x="2935294" y="942350"/>
                </a:cubicBezTo>
                <a:close/>
                <a:moveTo>
                  <a:pt x="2700502" y="931606"/>
                </a:moveTo>
                <a:cubicBezTo>
                  <a:pt x="2696522" y="947126"/>
                  <a:pt x="2692941" y="960258"/>
                  <a:pt x="2688961" y="975380"/>
                </a:cubicBezTo>
                <a:cubicBezTo>
                  <a:pt x="2714430" y="982543"/>
                  <a:pt x="2736715" y="988911"/>
                  <a:pt x="2760593" y="995676"/>
                </a:cubicBezTo>
                <a:cubicBezTo>
                  <a:pt x="2764970" y="980952"/>
                  <a:pt x="2768950" y="967819"/>
                  <a:pt x="2773327" y="953095"/>
                </a:cubicBezTo>
                <a:cubicBezTo>
                  <a:pt x="2748256" y="945932"/>
                  <a:pt x="2725175" y="939167"/>
                  <a:pt x="2700502" y="931606"/>
                </a:cubicBezTo>
                <a:close/>
                <a:moveTo>
                  <a:pt x="1747009" y="931606"/>
                </a:moveTo>
                <a:cubicBezTo>
                  <a:pt x="1732683" y="936381"/>
                  <a:pt x="1720346" y="940758"/>
                  <a:pt x="1706418" y="945534"/>
                </a:cubicBezTo>
                <a:cubicBezTo>
                  <a:pt x="1711193" y="958666"/>
                  <a:pt x="1715173" y="969809"/>
                  <a:pt x="1719550" y="981747"/>
                </a:cubicBezTo>
                <a:cubicBezTo>
                  <a:pt x="1733479" y="976972"/>
                  <a:pt x="1745019" y="972993"/>
                  <a:pt x="1758948" y="968217"/>
                </a:cubicBezTo>
                <a:cubicBezTo>
                  <a:pt x="1754570" y="954687"/>
                  <a:pt x="1750989" y="943942"/>
                  <a:pt x="1747009" y="931606"/>
                </a:cubicBezTo>
                <a:close/>
                <a:moveTo>
                  <a:pt x="2309713" y="924442"/>
                </a:moveTo>
                <a:cubicBezTo>
                  <a:pt x="2309713" y="943942"/>
                  <a:pt x="2309713" y="963442"/>
                  <a:pt x="2309713" y="985329"/>
                </a:cubicBezTo>
                <a:cubicBezTo>
                  <a:pt x="2326427" y="986125"/>
                  <a:pt x="2343539" y="986921"/>
                  <a:pt x="2362243" y="987717"/>
                </a:cubicBezTo>
                <a:cubicBezTo>
                  <a:pt x="2363437" y="965829"/>
                  <a:pt x="2364630" y="946330"/>
                  <a:pt x="2365824" y="924442"/>
                </a:cubicBezTo>
                <a:cubicBezTo>
                  <a:pt x="2346325" y="924442"/>
                  <a:pt x="2328815" y="924442"/>
                  <a:pt x="2309713" y="924442"/>
                </a:cubicBezTo>
                <a:close/>
                <a:moveTo>
                  <a:pt x="2228531" y="923647"/>
                </a:moveTo>
                <a:cubicBezTo>
                  <a:pt x="2228531" y="944738"/>
                  <a:pt x="2228531" y="964238"/>
                  <a:pt x="2228531" y="984533"/>
                </a:cubicBezTo>
                <a:cubicBezTo>
                  <a:pt x="2248428" y="984533"/>
                  <a:pt x="2265142" y="984533"/>
                  <a:pt x="2282254" y="984533"/>
                </a:cubicBezTo>
                <a:cubicBezTo>
                  <a:pt x="2282254" y="963044"/>
                  <a:pt x="2282254" y="943146"/>
                  <a:pt x="2282254" y="923647"/>
                </a:cubicBezTo>
                <a:cubicBezTo>
                  <a:pt x="2263153" y="923647"/>
                  <a:pt x="2245643" y="923647"/>
                  <a:pt x="2228531" y="923647"/>
                </a:cubicBezTo>
                <a:close/>
                <a:moveTo>
                  <a:pt x="2201470" y="923249"/>
                </a:moveTo>
                <a:cubicBezTo>
                  <a:pt x="2182766" y="924442"/>
                  <a:pt x="2166053" y="925636"/>
                  <a:pt x="2145359" y="926830"/>
                </a:cubicBezTo>
                <a:cubicBezTo>
                  <a:pt x="2146951" y="949115"/>
                  <a:pt x="2148543" y="969013"/>
                  <a:pt x="2150532" y="990502"/>
                </a:cubicBezTo>
                <a:cubicBezTo>
                  <a:pt x="2170032" y="988911"/>
                  <a:pt x="2186746" y="987717"/>
                  <a:pt x="2204256" y="986523"/>
                </a:cubicBezTo>
                <a:cubicBezTo>
                  <a:pt x="2203460" y="964238"/>
                  <a:pt x="2202266" y="944340"/>
                  <a:pt x="2201470" y="923249"/>
                </a:cubicBezTo>
                <a:close/>
                <a:moveTo>
                  <a:pt x="3458998" y="919667"/>
                </a:moveTo>
                <a:cubicBezTo>
                  <a:pt x="3448652" y="933993"/>
                  <a:pt x="3439499" y="946330"/>
                  <a:pt x="3430346" y="959462"/>
                </a:cubicBezTo>
                <a:cubicBezTo>
                  <a:pt x="3445070" y="970605"/>
                  <a:pt x="3457804" y="980156"/>
                  <a:pt x="3472131" y="990900"/>
                </a:cubicBezTo>
                <a:cubicBezTo>
                  <a:pt x="3482477" y="977370"/>
                  <a:pt x="3491630" y="965034"/>
                  <a:pt x="3501977" y="951901"/>
                </a:cubicBezTo>
                <a:cubicBezTo>
                  <a:pt x="3487253" y="941156"/>
                  <a:pt x="3474518" y="931208"/>
                  <a:pt x="3458998" y="919667"/>
                </a:cubicBezTo>
                <a:close/>
                <a:moveTo>
                  <a:pt x="1794365" y="917279"/>
                </a:moveTo>
                <a:cubicBezTo>
                  <a:pt x="1780039" y="921259"/>
                  <a:pt x="1767702" y="925238"/>
                  <a:pt x="1753774" y="929218"/>
                </a:cubicBezTo>
                <a:cubicBezTo>
                  <a:pt x="1757754" y="941952"/>
                  <a:pt x="1761335" y="953095"/>
                  <a:pt x="1765315" y="966625"/>
                </a:cubicBezTo>
                <a:cubicBezTo>
                  <a:pt x="1780039" y="961850"/>
                  <a:pt x="1792376" y="957870"/>
                  <a:pt x="1805508" y="953493"/>
                </a:cubicBezTo>
                <a:cubicBezTo>
                  <a:pt x="1801528" y="940360"/>
                  <a:pt x="1798345" y="929218"/>
                  <a:pt x="1794365" y="917279"/>
                </a:cubicBezTo>
                <a:close/>
                <a:moveTo>
                  <a:pt x="2592657" y="906933"/>
                </a:moveTo>
                <a:cubicBezTo>
                  <a:pt x="2589473" y="922453"/>
                  <a:pt x="2586688" y="935585"/>
                  <a:pt x="2583902" y="950707"/>
                </a:cubicBezTo>
                <a:cubicBezTo>
                  <a:pt x="2608575" y="956279"/>
                  <a:pt x="2632054" y="961452"/>
                  <a:pt x="2656727" y="967023"/>
                </a:cubicBezTo>
                <a:cubicBezTo>
                  <a:pt x="2660309" y="952299"/>
                  <a:pt x="2663890" y="939167"/>
                  <a:pt x="2667472" y="923647"/>
                </a:cubicBezTo>
                <a:cubicBezTo>
                  <a:pt x="2642003" y="918075"/>
                  <a:pt x="2618126" y="912504"/>
                  <a:pt x="2592657" y="906933"/>
                </a:cubicBezTo>
                <a:close/>
                <a:moveTo>
                  <a:pt x="2827847" y="901361"/>
                </a:moveTo>
                <a:cubicBezTo>
                  <a:pt x="2822673" y="916085"/>
                  <a:pt x="2818296" y="929218"/>
                  <a:pt x="2813122" y="944340"/>
                </a:cubicBezTo>
                <a:cubicBezTo>
                  <a:pt x="2838989" y="953891"/>
                  <a:pt x="2862070" y="962248"/>
                  <a:pt x="2886346" y="971003"/>
                </a:cubicBezTo>
                <a:cubicBezTo>
                  <a:pt x="2891917" y="956279"/>
                  <a:pt x="2896692" y="943942"/>
                  <a:pt x="2902264" y="929218"/>
                </a:cubicBezTo>
                <a:cubicBezTo>
                  <a:pt x="2876795" y="920065"/>
                  <a:pt x="2852917" y="911310"/>
                  <a:pt x="2827847" y="901361"/>
                </a:cubicBezTo>
                <a:close/>
                <a:moveTo>
                  <a:pt x="1969066" y="898178"/>
                </a:moveTo>
                <a:cubicBezTo>
                  <a:pt x="1955536" y="900963"/>
                  <a:pt x="1943995" y="903351"/>
                  <a:pt x="1931261" y="906137"/>
                </a:cubicBezTo>
                <a:cubicBezTo>
                  <a:pt x="1934444" y="920463"/>
                  <a:pt x="1937230" y="932799"/>
                  <a:pt x="1940016" y="946728"/>
                </a:cubicBezTo>
                <a:cubicBezTo>
                  <a:pt x="1953148" y="943942"/>
                  <a:pt x="1964291" y="941554"/>
                  <a:pt x="1976627" y="939167"/>
                </a:cubicBezTo>
                <a:cubicBezTo>
                  <a:pt x="1973842" y="924442"/>
                  <a:pt x="1971454" y="911708"/>
                  <a:pt x="1969066" y="898178"/>
                </a:cubicBezTo>
                <a:close/>
                <a:moveTo>
                  <a:pt x="1565941" y="890617"/>
                </a:moveTo>
                <a:cubicBezTo>
                  <a:pt x="1551217" y="896984"/>
                  <a:pt x="1538482" y="902555"/>
                  <a:pt x="1524156" y="908922"/>
                </a:cubicBezTo>
                <a:cubicBezTo>
                  <a:pt x="1537686" y="938371"/>
                  <a:pt x="1550421" y="965829"/>
                  <a:pt x="1563553" y="994880"/>
                </a:cubicBezTo>
                <a:cubicBezTo>
                  <a:pt x="1576686" y="988911"/>
                  <a:pt x="1588624" y="983737"/>
                  <a:pt x="1602950" y="977370"/>
                </a:cubicBezTo>
                <a:cubicBezTo>
                  <a:pt x="1590216" y="947524"/>
                  <a:pt x="1578277" y="919667"/>
                  <a:pt x="1565941" y="890617"/>
                </a:cubicBezTo>
                <a:close/>
                <a:moveTo>
                  <a:pt x="2960762" y="882259"/>
                </a:moveTo>
                <a:cubicBezTo>
                  <a:pt x="2954395" y="896586"/>
                  <a:pt x="2949222" y="909718"/>
                  <a:pt x="2943253" y="923647"/>
                </a:cubicBezTo>
                <a:cubicBezTo>
                  <a:pt x="2968324" y="934789"/>
                  <a:pt x="2991803" y="945136"/>
                  <a:pt x="3016874" y="956279"/>
                </a:cubicBezTo>
                <a:cubicBezTo>
                  <a:pt x="3023241" y="942350"/>
                  <a:pt x="3029210" y="929616"/>
                  <a:pt x="3036373" y="915687"/>
                </a:cubicBezTo>
                <a:cubicBezTo>
                  <a:pt x="3010108" y="904147"/>
                  <a:pt x="2986231" y="893402"/>
                  <a:pt x="2960762" y="882259"/>
                </a:cubicBezTo>
                <a:close/>
                <a:moveTo>
                  <a:pt x="2491975" y="875096"/>
                </a:moveTo>
                <a:cubicBezTo>
                  <a:pt x="2488394" y="904147"/>
                  <a:pt x="2484812" y="930412"/>
                  <a:pt x="2480832" y="958666"/>
                </a:cubicBezTo>
                <a:cubicBezTo>
                  <a:pt x="2502322" y="961850"/>
                  <a:pt x="2522220" y="964636"/>
                  <a:pt x="2542913" y="967819"/>
                </a:cubicBezTo>
                <a:cubicBezTo>
                  <a:pt x="2547688" y="939167"/>
                  <a:pt x="2552066" y="913698"/>
                  <a:pt x="2557239" y="884647"/>
                </a:cubicBezTo>
                <a:cubicBezTo>
                  <a:pt x="2534158" y="881066"/>
                  <a:pt x="2513862" y="878280"/>
                  <a:pt x="2491975" y="875096"/>
                </a:cubicBezTo>
                <a:close/>
                <a:moveTo>
                  <a:pt x="1614889" y="870321"/>
                </a:moveTo>
                <a:cubicBezTo>
                  <a:pt x="1600165" y="876290"/>
                  <a:pt x="1587430" y="881862"/>
                  <a:pt x="1573104" y="887831"/>
                </a:cubicBezTo>
                <a:cubicBezTo>
                  <a:pt x="1585441" y="917279"/>
                  <a:pt x="1597379" y="945534"/>
                  <a:pt x="1609716" y="974584"/>
                </a:cubicBezTo>
                <a:cubicBezTo>
                  <a:pt x="1624042" y="968615"/>
                  <a:pt x="1635980" y="963442"/>
                  <a:pt x="1649511" y="957870"/>
                </a:cubicBezTo>
                <a:cubicBezTo>
                  <a:pt x="1637572" y="928024"/>
                  <a:pt x="1626430" y="899769"/>
                  <a:pt x="1614889" y="870321"/>
                </a:cubicBezTo>
                <a:close/>
                <a:moveTo>
                  <a:pt x="1879527" y="858382"/>
                </a:moveTo>
                <a:cubicBezTo>
                  <a:pt x="1866395" y="861566"/>
                  <a:pt x="1855650" y="864352"/>
                  <a:pt x="1841722" y="867933"/>
                </a:cubicBezTo>
                <a:cubicBezTo>
                  <a:pt x="1845701" y="882657"/>
                  <a:pt x="1849283" y="894994"/>
                  <a:pt x="1852864" y="908524"/>
                </a:cubicBezTo>
                <a:cubicBezTo>
                  <a:pt x="1866395" y="904545"/>
                  <a:pt x="1877537" y="901759"/>
                  <a:pt x="1889874" y="898178"/>
                </a:cubicBezTo>
                <a:cubicBezTo>
                  <a:pt x="1885894" y="883453"/>
                  <a:pt x="1882711" y="871117"/>
                  <a:pt x="1879527" y="858382"/>
                </a:cubicBezTo>
                <a:close/>
                <a:moveTo>
                  <a:pt x="2848938" y="840077"/>
                </a:moveTo>
                <a:cubicBezTo>
                  <a:pt x="2843765" y="854801"/>
                  <a:pt x="2838989" y="867535"/>
                  <a:pt x="2833816" y="882657"/>
                </a:cubicBezTo>
                <a:cubicBezTo>
                  <a:pt x="2860081" y="892606"/>
                  <a:pt x="2884356" y="901361"/>
                  <a:pt x="2909825" y="910514"/>
                </a:cubicBezTo>
                <a:cubicBezTo>
                  <a:pt x="2915396" y="896188"/>
                  <a:pt x="2920569" y="883055"/>
                  <a:pt x="2926141" y="868331"/>
                </a:cubicBezTo>
                <a:cubicBezTo>
                  <a:pt x="2899080" y="858382"/>
                  <a:pt x="2874805" y="849627"/>
                  <a:pt x="2848938" y="840077"/>
                </a:cubicBezTo>
                <a:close/>
                <a:moveTo>
                  <a:pt x="1715173" y="834505"/>
                </a:moveTo>
                <a:cubicBezTo>
                  <a:pt x="1699653" y="839679"/>
                  <a:pt x="1686520" y="844056"/>
                  <a:pt x="1672194" y="849230"/>
                </a:cubicBezTo>
                <a:cubicBezTo>
                  <a:pt x="1682939" y="879872"/>
                  <a:pt x="1693286" y="908524"/>
                  <a:pt x="1703632" y="937973"/>
                </a:cubicBezTo>
                <a:cubicBezTo>
                  <a:pt x="1718754" y="932799"/>
                  <a:pt x="1731091" y="928422"/>
                  <a:pt x="1744621" y="924044"/>
                </a:cubicBezTo>
                <a:cubicBezTo>
                  <a:pt x="1734673" y="893402"/>
                  <a:pt x="1725122" y="864352"/>
                  <a:pt x="1715173" y="834505"/>
                </a:cubicBezTo>
                <a:close/>
                <a:moveTo>
                  <a:pt x="2398058" y="834107"/>
                </a:moveTo>
                <a:cubicBezTo>
                  <a:pt x="2396467" y="856393"/>
                  <a:pt x="2394875" y="876290"/>
                  <a:pt x="2393283" y="897382"/>
                </a:cubicBezTo>
                <a:cubicBezTo>
                  <a:pt x="2413181" y="899371"/>
                  <a:pt x="2430691" y="900963"/>
                  <a:pt x="2450588" y="902953"/>
                </a:cubicBezTo>
                <a:cubicBezTo>
                  <a:pt x="2452976" y="880668"/>
                  <a:pt x="2454966" y="861168"/>
                  <a:pt x="2457353" y="839679"/>
                </a:cubicBezTo>
                <a:cubicBezTo>
                  <a:pt x="2437058" y="837689"/>
                  <a:pt x="2418354" y="836097"/>
                  <a:pt x="2398058" y="834107"/>
                </a:cubicBezTo>
                <a:close/>
                <a:moveTo>
                  <a:pt x="2311305" y="832515"/>
                </a:moveTo>
                <a:cubicBezTo>
                  <a:pt x="2311305" y="852413"/>
                  <a:pt x="2311305" y="871913"/>
                  <a:pt x="2311305" y="893402"/>
                </a:cubicBezTo>
                <a:cubicBezTo>
                  <a:pt x="2329611" y="893402"/>
                  <a:pt x="2347916" y="893402"/>
                  <a:pt x="2367814" y="893402"/>
                </a:cubicBezTo>
                <a:cubicBezTo>
                  <a:pt x="2368610" y="873505"/>
                  <a:pt x="2369406" y="854005"/>
                  <a:pt x="2370600" y="832515"/>
                </a:cubicBezTo>
                <a:cubicBezTo>
                  <a:pt x="2350702" y="832515"/>
                  <a:pt x="2332396" y="832515"/>
                  <a:pt x="2311305" y="832515"/>
                </a:cubicBezTo>
                <a:close/>
                <a:moveTo>
                  <a:pt x="2197889" y="830526"/>
                </a:moveTo>
                <a:cubicBezTo>
                  <a:pt x="2177593" y="831322"/>
                  <a:pt x="2159287" y="832515"/>
                  <a:pt x="2137798" y="833709"/>
                </a:cubicBezTo>
                <a:cubicBezTo>
                  <a:pt x="2139788" y="856393"/>
                  <a:pt x="2141379" y="876290"/>
                  <a:pt x="2143369" y="897780"/>
                </a:cubicBezTo>
                <a:cubicBezTo>
                  <a:pt x="2163267" y="896586"/>
                  <a:pt x="2181175" y="894994"/>
                  <a:pt x="2197889" y="893800"/>
                </a:cubicBezTo>
                <a:cubicBezTo>
                  <a:pt x="2197889" y="872311"/>
                  <a:pt x="2197889" y="852811"/>
                  <a:pt x="2197889" y="830526"/>
                </a:cubicBezTo>
                <a:close/>
                <a:moveTo>
                  <a:pt x="1766111" y="819383"/>
                </a:moveTo>
                <a:cubicBezTo>
                  <a:pt x="1751784" y="823761"/>
                  <a:pt x="1738652" y="827740"/>
                  <a:pt x="1722734" y="832515"/>
                </a:cubicBezTo>
                <a:cubicBezTo>
                  <a:pt x="1732683" y="863556"/>
                  <a:pt x="1741836" y="892208"/>
                  <a:pt x="1751387" y="922055"/>
                </a:cubicBezTo>
                <a:cubicBezTo>
                  <a:pt x="1766111" y="917279"/>
                  <a:pt x="1778845" y="913300"/>
                  <a:pt x="1792774" y="908922"/>
                </a:cubicBezTo>
                <a:cubicBezTo>
                  <a:pt x="1783621" y="878280"/>
                  <a:pt x="1775264" y="849230"/>
                  <a:pt x="1766111" y="819383"/>
                </a:cubicBezTo>
                <a:close/>
                <a:moveTo>
                  <a:pt x="2733930" y="805853"/>
                </a:moveTo>
                <a:cubicBezTo>
                  <a:pt x="2729950" y="820975"/>
                  <a:pt x="2726369" y="834107"/>
                  <a:pt x="2722389" y="849230"/>
                </a:cubicBezTo>
                <a:cubicBezTo>
                  <a:pt x="2749450" y="857189"/>
                  <a:pt x="2774123" y="863954"/>
                  <a:pt x="2799990" y="871515"/>
                </a:cubicBezTo>
                <a:cubicBezTo>
                  <a:pt x="2804367" y="856791"/>
                  <a:pt x="2808745" y="843260"/>
                  <a:pt x="2813122" y="828536"/>
                </a:cubicBezTo>
                <a:cubicBezTo>
                  <a:pt x="2785266" y="820577"/>
                  <a:pt x="2760195" y="813414"/>
                  <a:pt x="2733930" y="805853"/>
                </a:cubicBezTo>
                <a:close/>
                <a:moveTo>
                  <a:pt x="2617330" y="778792"/>
                </a:moveTo>
                <a:cubicBezTo>
                  <a:pt x="2614544" y="794312"/>
                  <a:pt x="2611759" y="808240"/>
                  <a:pt x="2608575" y="822965"/>
                </a:cubicBezTo>
                <a:cubicBezTo>
                  <a:pt x="2635636" y="828934"/>
                  <a:pt x="2660707" y="834107"/>
                  <a:pt x="2687370" y="840077"/>
                </a:cubicBezTo>
                <a:cubicBezTo>
                  <a:pt x="2690951" y="824954"/>
                  <a:pt x="2694135" y="811424"/>
                  <a:pt x="2697716" y="796302"/>
                </a:cubicBezTo>
                <a:cubicBezTo>
                  <a:pt x="2669860" y="790333"/>
                  <a:pt x="2644391" y="784761"/>
                  <a:pt x="2617330" y="778792"/>
                </a:cubicBezTo>
                <a:close/>
                <a:moveTo>
                  <a:pt x="2869233" y="777996"/>
                </a:moveTo>
                <a:cubicBezTo>
                  <a:pt x="2864060" y="793516"/>
                  <a:pt x="2859683" y="806649"/>
                  <a:pt x="2854907" y="820577"/>
                </a:cubicBezTo>
                <a:cubicBezTo>
                  <a:pt x="2881570" y="830526"/>
                  <a:pt x="2906641" y="839679"/>
                  <a:pt x="2933304" y="848832"/>
                </a:cubicBezTo>
                <a:cubicBezTo>
                  <a:pt x="2938875" y="834903"/>
                  <a:pt x="2944049" y="822169"/>
                  <a:pt x="2950018" y="807047"/>
                </a:cubicBezTo>
                <a:cubicBezTo>
                  <a:pt x="2921763" y="797098"/>
                  <a:pt x="2895896" y="787547"/>
                  <a:pt x="2869233" y="777996"/>
                </a:cubicBezTo>
                <a:close/>
                <a:moveTo>
                  <a:pt x="1577879" y="775210"/>
                </a:moveTo>
                <a:cubicBezTo>
                  <a:pt x="1562359" y="781578"/>
                  <a:pt x="1548431" y="787149"/>
                  <a:pt x="1533309" y="793516"/>
                </a:cubicBezTo>
                <a:cubicBezTo>
                  <a:pt x="1545645" y="822965"/>
                  <a:pt x="1557584" y="851219"/>
                  <a:pt x="1569920" y="880668"/>
                </a:cubicBezTo>
                <a:cubicBezTo>
                  <a:pt x="1585043" y="873903"/>
                  <a:pt x="1598175" y="868331"/>
                  <a:pt x="1612103" y="862362"/>
                </a:cubicBezTo>
                <a:cubicBezTo>
                  <a:pt x="1600563" y="832515"/>
                  <a:pt x="1589420" y="804261"/>
                  <a:pt x="1577879" y="775210"/>
                </a:cubicBezTo>
                <a:close/>
                <a:moveTo>
                  <a:pt x="3010506" y="761282"/>
                </a:moveTo>
                <a:cubicBezTo>
                  <a:pt x="3004139" y="776404"/>
                  <a:pt x="2998568" y="789537"/>
                  <a:pt x="2992997" y="803067"/>
                </a:cubicBezTo>
                <a:cubicBezTo>
                  <a:pt x="3020455" y="815404"/>
                  <a:pt x="3045526" y="826546"/>
                  <a:pt x="3072189" y="838087"/>
                </a:cubicBezTo>
                <a:cubicBezTo>
                  <a:pt x="3078954" y="824159"/>
                  <a:pt x="3084923" y="811424"/>
                  <a:pt x="3091689" y="797496"/>
                </a:cubicBezTo>
                <a:cubicBezTo>
                  <a:pt x="3063832" y="785159"/>
                  <a:pt x="3038761" y="773619"/>
                  <a:pt x="3010506" y="761282"/>
                </a:cubicBezTo>
                <a:close/>
                <a:moveTo>
                  <a:pt x="1630807" y="755313"/>
                </a:moveTo>
                <a:cubicBezTo>
                  <a:pt x="1614093" y="761282"/>
                  <a:pt x="1600165" y="766853"/>
                  <a:pt x="1585441" y="772823"/>
                </a:cubicBezTo>
                <a:cubicBezTo>
                  <a:pt x="1597379" y="802669"/>
                  <a:pt x="1608124" y="830924"/>
                  <a:pt x="1619664" y="860372"/>
                </a:cubicBezTo>
                <a:cubicBezTo>
                  <a:pt x="1634389" y="854801"/>
                  <a:pt x="1647919" y="849627"/>
                  <a:pt x="1662643" y="844056"/>
                </a:cubicBezTo>
                <a:cubicBezTo>
                  <a:pt x="1651899" y="813812"/>
                  <a:pt x="1641552" y="785159"/>
                  <a:pt x="1630807" y="755313"/>
                </a:cubicBezTo>
                <a:close/>
                <a:moveTo>
                  <a:pt x="2750644" y="742578"/>
                </a:moveTo>
                <a:cubicBezTo>
                  <a:pt x="2746266" y="758496"/>
                  <a:pt x="2743083" y="771231"/>
                  <a:pt x="2739103" y="785955"/>
                </a:cubicBezTo>
                <a:cubicBezTo>
                  <a:pt x="2766164" y="793516"/>
                  <a:pt x="2791633" y="801077"/>
                  <a:pt x="2819489" y="809036"/>
                </a:cubicBezTo>
                <a:cubicBezTo>
                  <a:pt x="2824265" y="793914"/>
                  <a:pt x="2828244" y="780782"/>
                  <a:pt x="2832622" y="766058"/>
                </a:cubicBezTo>
                <a:cubicBezTo>
                  <a:pt x="2803969" y="757701"/>
                  <a:pt x="2777704" y="750139"/>
                  <a:pt x="2750644" y="742578"/>
                </a:cubicBezTo>
                <a:close/>
                <a:moveTo>
                  <a:pt x="2404824" y="742180"/>
                </a:moveTo>
                <a:cubicBezTo>
                  <a:pt x="2403232" y="764864"/>
                  <a:pt x="2401640" y="784761"/>
                  <a:pt x="2400844" y="805455"/>
                </a:cubicBezTo>
                <a:cubicBezTo>
                  <a:pt x="2422333" y="807445"/>
                  <a:pt x="2441037" y="809036"/>
                  <a:pt x="2460935" y="810628"/>
                </a:cubicBezTo>
                <a:cubicBezTo>
                  <a:pt x="2463322" y="788741"/>
                  <a:pt x="2465312" y="769241"/>
                  <a:pt x="2467700" y="747354"/>
                </a:cubicBezTo>
                <a:cubicBezTo>
                  <a:pt x="2445415" y="745762"/>
                  <a:pt x="2425915" y="744170"/>
                  <a:pt x="2404824" y="742180"/>
                </a:cubicBezTo>
                <a:close/>
                <a:moveTo>
                  <a:pt x="2313693" y="739793"/>
                </a:moveTo>
                <a:cubicBezTo>
                  <a:pt x="2313693" y="760486"/>
                  <a:pt x="2313693" y="779986"/>
                  <a:pt x="2313693" y="801077"/>
                </a:cubicBezTo>
                <a:cubicBezTo>
                  <a:pt x="2333988" y="801077"/>
                  <a:pt x="2353090" y="801077"/>
                  <a:pt x="2372988" y="801077"/>
                </a:cubicBezTo>
                <a:cubicBezTo>
                  <a:pt x="2374181" y="780782"/>
                  <a:pt x="2375375" y="761282"/>
                  <a:pt x="2376569" y="739793"/>
                </a:cubicBezTo>
                <a:cubicBezTo>
                  <a:pt x="2355080" y="739793"/>
                  <a:pt x="2335580" y="739793"/>
                  <a:pt x="2313693" y="739793"/>
                </a:cubicBezTo>
                <a:close/>
                <a:moveTo>
                  <a:pt x="2224153" y="738997"/>
                </a:moveTo>
                <a:cubicBezTo>
                  <a:pt x="2224153" y="760486"/>
                  <a:pt x="2224153" y="779986"/>
                  <a:pt x="2224153" y="799486"/>
                </a:cubicBezTo>
                <a:cubicBezTo>
                  <a:pt x="2245245" y="799486"/>
                  <a:pt x="2264346" y="799486"/>
                  <a:pt x="2284642" y="799486"/>
                </a:cubicBezTo>
                <a:cubicBezTo>
                  <a:pt x="2284642" y="778394"/>
                  <a:pt x="2284642" y="759292"/>
                  <a:pt x="2284642" y="738997"/>
                </a:cubicBezTo>
                <a:cubicBezTo>
                  <a:pt x="2263153" y="738997"/>
                  <a:pt x="2243255" y="738997"/>
                  <a:pt x="2224153" y="738997"/>
                </a:cubicBezTo>
                <a:close/>
                <a:moveTo>
                  <a:pt x="1684133" y="737405"/>
                </a:moveTo>
                <a:cubicBezTo>
                  <a:pt x="1668612" y="742578"/>
                  <a:pt x="1654286" y="747354"/>
                  <a:pt x="1638766" y="752925"/>
                </a:cubicBezTo>
                <a:cubicBezTo>
                  <a:pt x="1649113" y="783567"/>
                  <a:pt x="1659460" y="811822"/>
                  <a:pt x="1669806" y="841668"/>
                </a:cubicBezTo>
                <a:cubicBezTo>
                  <a:pt x="1684929" y="836097"/>
                  <a:pt x="1698459" y="831720"/>
                  <a:pt x="1713183" y="826546"/>
                </a:cubicBezTo>
                <a:cubicBezTo>
                  <a:pt x="1703234" y="796700"/>
                  <a:pt x="1694081" y="768047"/>
                  <a:pt x="1684133" y="737405"/>
                </a:cubicBezTo>
                <a:close/>
                <a:moveTo>
                  <a:pt x="1737856" y="720691"/>
                </a:moveTo>
                <a:cubicBezTo>
                  <a:pt x="1721540" y="725864"/>
                  <a:pt x="1707612" y="729844"/>
                  <a:pt x="1691694" y="734619"/>
                </a:cubicBezTo>
                <a:cubicBezTo>
                  <a:pt x="1702040" y="766058"/>
                  <a:pt x="1711193" y="794710"/>
                  <a:pt x="1720744" y="824556"/>
                </a:cubicBezTo>
                <a:cubicBezTo>
                  <a:pt x="1736264" y="819383"/>
                  <a:pt x="1749795" y="815006"/>
                  <a:pt x="1764121" y="810628"/>
                </a:cubicBezTo>
                <a:cubicBezTo>
                  <a:pt x="1754968" y="779588"/>
                  <a:pt x="1746611" y="750935"/>
                  <a:pt x="1737856" y="720691"/>
                </a:cubicBezTo>
                <a:close/>
                <a:moveTo>
                  <a:pt x="2630064" y="714722"/>
                </a:moveTo>
                <a:cubicBezTo>
                  <a:pt x="2626881" y="730242"/>
                  <a:pt x="2624493" y="743772"/>
                  <a:pt x="2621708" y="759292"/>
                </a:cubicBezTo>
                <a:cubicBezTo>
                  <a:pt x="2649962" y="765262"/>
                  <a:pt x="2675829" y="770833"/>
                  <a:pt x="2703288" y="776802"/>
                </a:cubicBezTo>
                <a:cubicBezTo>
                  <a:pt x="2706869" y="761282"/>
                  <a:pt x="2710053" y="748150"/>
                  <a:pt x="2713634" y="733028"/>
                </a:cubicBezTo>
                <a:cubicBezTo>
                  <a:pt x="2684982" y="726660"/>
                  <a:pt x="2658319" y="721089"/>
                  <a:pt x="2630064" y="714722"/>
                </a:cubicBezTo>
                <a:close/>
                <a:moveTo>
                  <a:pt x="1485953" y="701987"/>
                </a:moveTo>
                <a:cubicBezTo>
                  <a:pt x="1470034" y="709150"/>
                  <a:pt x="1455708" y="715518"/>
                  <a:pt x="1439392" y="722681"/>
                </a:cubicBezTo>
                <a:cubicBezTo>
                  <a:pt x="1453320" y="752925"/>
                  <a:pt x="1465657" y="780384"/>
                  <a:pt x="1478789" y="808638"/>
                </a:cubicBezTo>
                <a:cubicBezTo>
                  <a:pt x="1494708" y="801475"/>
                  <a:pt x="1508238" y="795506"/>
                  <a:pt x="1522962" y="788343"/>
                </a:cubicBezTo>
                <a:cubicBezTo>
                  <a:pt x="1510228" y="758894"/>
                  <a:pt x="1498289" y="731038"/>
                  <a:pt x="1485953" y="701987"/>
                </a:cubicBezTo>
                <a:close/>
                <a:moveTo>
                  <a:pt x="1540870" y="680100"/>
                </a:moveTo>
                <a:cubicBezTo>
                  <a:pt x="1524952" y="686467"/>
                  <a:pt x="1510228" y="692436"/>
                  <a:pt x="1493514" y="698804"/>
                </a:cubicBezTo>
                <a:cubicBezTo>
                  <a:pt x="1506646" y="729048"/>
                  <a:pt x="1518187" y="756905"/>
                  <a:pt x="1530523" y="785955"/>
                </a:cubicBezTo>
                <a:cubicBezTo>
                  <a:pt x="1546441" y="779190"/>
                  <a:pt x="1559972" y="773619"/>
                  <a:pt x="1575094" y="767251"/>
                </a:cubicBezTo>
                <a:cubicBezTo>
                  <a:pt x="1563155" y="737405"/>
                  <a:pt x="1552411" y="709150"/>
                  <a:pt x="1540870" y="680100"/>
                </a:cubicBezTo>
                <a:close/>
                <a:moveTo>
                  <a:pt x="1468841" y="662590"/>
                </a:moveTo>
                <a:cubicBezTo>
                  <a:pt x="1451729" y="670549"/>
                  <a:pt x="1437005" y="677314"/>
                  <a:pt x="1421882" y="684079"/>
                </a:cubicBezTo>
                <a:cubicBezTo>
                  <a:pt x="1426658" y="694824"/>
                  <a:pt x="1431035" y="703977"/>
                  <a:pt x="1436607" y="715916"/>
                </a:cubicBezTo>
                <a:cubicBezTo>
                  <a:pt x="1452525" y="708752"/>
                  <a:pt x="1467647" y="701987"/>
                  <a:pt x="1483167" y="694824"/>
                </a:cubicBezTo>
                <a:cubicBezTo>
                  <a:pt x="1477994" y="683284"/>
                  <a:pt x="1473616" y="673335"/>
                  <a:pt x="1468841" y="662590"/>
                </a:cubicBezTo>
                <a:close/>
                <a:moveTo>
                  <a:pt x="1596185" y="659008"/>
                </a:moveTo>
                <a:cubicBezTo>
                  <a:pt x="1579471" y="665376"/>
                  <a:pt x="1564747" y="670947"/>
                  <a:pt x="1548829" y="676916"/>
                </a:cubicBezTo>
                <a:cubicBezTo>
                  <a:pt x="1560370" y="706763"/>
                  <a:pt x="1571114" y="735017"/>
                  <a:pt x="1582655" y="764864"/>
                </a:cubicBezTo>
                <a:cubicBezTo>
                  <a:pt x="1598573" y="758894"/>
                  <a:pt x="1612899" y="753323"/>
                  <a:pt x="1628021" y="747354"/>
                </a:cubicBezTo>
                <a:cubicBezTo>
                  <a:pt x="1616879" y="716712"/>
                  <a:pt x="1606930" y="688457"/>
                  <a:pt x="1596185" y="659008"/>
                </a:cubicBezTo>
                <a:close/>
                <a:moveTo>
                  <a:pt x="2911018" y="654233"/>
                </a:moveTo>
                <a:cubicBezTo>
                  <a:pt x="2905845" y="669753"/>
                  <a:pt x="2901866" y="682886"/>
                  <a:pt x="2897090" y="696814"/>
                </a:cubicBezTo>
                <a:cubicBezTo>
                  <a:pt x="2925743" y="707559"/>
                  <a:pt x="2952803" y="717507"/>
                  <a:pt x="2981058" y="727854"/>
                </a:cubicBezTo>
                <a:cubicBezTo>
                  <a:pt x="2986629" y="713130"/>
                  <a:pt x="2991803" y="699998"/>
                  <a:pt x="2997374" y="685671"/>
                </a:cubicBezTo>
                <a:cubicBezTo>
                  <a:pt x="2967130" y="674529"/>
                  <a:pt x="2939671" y="664580"/>
                  <a:pt x="2911018" y="654233"/>
                </a:cubicBezTo>
                <a:close/>
                <a:moveTo>
                  <a:pt x="2191123" y="646672"/>
                </a:moveTo>
                <a:cubicBezTo>
                  <a:pt x="2167246" y="647866"/>
                  <a:pt x="2146553" y="648662"/>
                  <a:pt x="2124268" y="649856"/>
                </a:cubicBezTo>
                <a:cubicBezTo>
                  <a:pt x="2125859" y="672539"/>
                  <a:pt x="2127053" y="692436"/>
                  <a:pt x="2128645" y="713528"/>
                </a:cubicBezTo>
                <a:cubicBezTo>
                  <a:pt x="2151726" y="711936"/>
                  <a:pt x="2172022" y="711140"/>
                  <a:pt x="2191123" y="709946"/>
                </a:cubicBezTo>
                <a:cubicBezTo>
                  <a:pt x="2191123" y="688457"/>
                  <a:pt x="2191123" y="669355"/>
                  <a:pt x="2191123" y="646672"/>
                </a:cubicBezTo>
                <a:close/>
                <a:moveTo>
                  <a:pt x="2315682" y="645080"/>
                </a:moveTo>
                <a:cubicBezTo>
                  <a:pt x="2315682" y="667365"/>
                  <a:pt x="2315682" y="687263"/>
                  <a:pt x="2315682" y="708752"/>
                </a:cubicBezTo>
                <a:cubicBezTo>
                  <a:pt x="2335182" y="709548"/>
                  <a:pt x="2355478" y="710344"/>
                  <a:pt x="2378161" y="711538"/>
                </a:cubicBezTo>
                <a:cubicBezTo>
                  <a:pt x="2379355" y="688855"/>
                  <a:pt x="2380549" y="669355"/>
                  <a:pt x="2381742" y="647866"/>
                </a:cubicBezTo>
                <a:cubicBezTo>
                  <a:pt x="2358661" y="647070"/>
                  <a:pt x="2337968" y="645876"/>
                  <a:pt x="2315682" y="645080"/>
                </a:cubicBezTo>
                <a:close/>
                <a:moveTo>
                  <a:pt x="3060648" y="640703"/>
                </a:moveTo>
                <a:cubicBezTo>
                  <a:pt x="3054281" y="655427"/>
                  <a:pt x="3049108" y="667763"/>
                  <a:pt x="3043138" y="682090"/>
                </a:cubicBezTo>
                <a:cubicBezTo>
                  <a:pt x="3072587" y="695222"/>
                  <a:pt x="3099648" y="707161"/>
                  <a:pt x="3127902" y="719895"/>
                </a:cubicBezTo>
                <a:cubicBezTo>
                  <a:pt x="3134270" y="705967"/>
                  <a:pt x="3140239" y="693232"/>
                  <a:pt x="3147004" y="678906"/>
                </a:cubicBezTo>
                <a:cubicBezTo>
                  <a:pt x="3117556" y="665774"/>
                  <a:pt x="3090097" y="653835"/>
                  <a:pt x="3060648" y="640703"/>
                </a:cubicBezTo>
                <a:close/>
                <a:moveTo>
                  <a:pt x="1651899" y="640305"/>
                </a:moveTo>
                <a:cubicBezTo>
                  <a:pt x="1635185" y="645876"/>
                  <a:pt x="1620460" y="651049"/>
                  <a:pt x="1604144" y="656621"/>
                </a:cubicBezTo>
                <a:cubicBezTo>
                  <a:pt x="1614889" y="686467"/>
                  <a:pt x="1624838" y="715120"/>
                  <a:pt x="1635583" y="745364"/>
                </a:cubicBezTo>
                <a:cubicBezTo>
                  <a:pt x="1651899" y="739793"/>
                  <a:pt x="1667021" y="734619"/>
                  <a:pt x="1681347" y="729844"/>
                </a:cubicBezTo>
                <a:cubicBezTo>
                  <a:pt x="1670602" y="697610"/>
                  <a:pt x="1661449" y="669355"/>
                  <a:pt x="1651899" y="640305"/>
                </a:cubicBezTo>
                <a:close/>
                <a:moveTo>
                  <a:pt x="1524554" y="639907"/>
                </a:moveTo>
                <a:cubicBezTo>
                  <a:pt x="1507840" y="647070"/>
                  <a:pt x="1493116" y="653039"/>
                  <a:pt x="1477198" y="659804"/>
                </a:cubicBezTo>
                <a:cubicBezTo>
                  <a:pt x="1481973" y="671345"/>
                  <a:pt x="1486351" y="680896"/>
                  <a:pt x="1491126" y="691641"/>
                </a:cubicBezTo>
                <a:cubicBezTo>
                  <a:pt x="1507044" y="685273"/>
                  <a:pt x="1521370" y="679304"/>
                  <a:pt x="1538482" y="672539"/>
                </a:cubicBezTo>
                <a:cubicBezTo>
                  <a:pt x="1533309" y="660202"/>
                  <a:pt x="1528931" y="650254"/>
                  <a:pt x="1524554" y="639907"/>
                </a:cubicBezTo>
                <a:close/>
                <a:moveTo>
                  <a:pt x="1580665" y="618019"/>
                </a:moveTo>
                <a:cubicBezTo>
                  <a:pt x="1563951" y="624387"/>
                  <a:pt x="1549227" y="629958"/>
                  <a:pt x="1532911" y="636325"/>
                </a:cubicBezTo>
                <a:cubicBezTo>
                  <a:pt x="1537288" y="647468"/>
                  <a:pt x="1540870" y="657019"/>
                  <a:pt x="1545645" y="669355"/>
                </a:cubicBezTo>
                <a:cubicBezTo>
                  <a:pt x="1562757" y="662988"/>
                  <a:pt x="1577879" y="657019"/>
                  <a:pt x="1593798" y="651049"/>
                </a:cubicBezTo>
                <a:cubicBezTo>
                  <a:pt x="1589420" y="639111"/>
                  <a:pt x="1585441" y="629162"/>
                  <a:pt x="1580665" y="618019"/>
                </a:cubicBezTo>
                <a:close/>
                <a:moveTo>
                  <a:pt x="2784470" y="616030"/>
                </a:moveTo>
                <a:cubicBezTo>
                  <a:pt x="2780490" y="630356"/>
                  <a:pt x="2776909" y="643886"/>
                  <a:pt x="2772531" y="659008"/>
                </a:cubicBezTo>
                <a:cubicBezTo>
                  <a:pt x="2802378" y="667763"/>
                  <a:pt x="2829836" y="675722"/>
                  <a:pt x="2858887" y="684079"/>
                </a:cubicBezTo>
                <a:cubicBezTo>
                  <a:pt x="2863264" y="669753"/>
                  <a:pt x="2867642" y="656621"/>
                  <a:pt x="2872417" y="641499"/>
                </a:cubicBezTo>
                <a:cubicBezTo>
                  <a:pt x="2842571" y="633142"/>
                  <a:pt x="2814316" y="624785"/>
                  <a:pt x="2784470" y="616030"/>
                </a:cubicBezTo>
                <a:close/>
                <a:moveTo>
                  <a:pt x="1445759" y="608071"/>
                </a:moveTo>
                <a:cubicBezTo>
                  <a:pt x="1428648" y="616030"/>
                  <a:pt x="1413127" y="622795"/>
                  <a:pt x="1396811" y="630356"/>
                </a:cubicBezTo>
                <a:cubicBezTo>
                  <a:pt x="1403576" y="643488"/>
                  <a:pt x="1408750" y="654631"/>
                  <a:pt x="1414321" y="666172"/>
                </a:cubicBezTo>
                <a:cubicBezTo>
                  <a:pt x="1430637" y="658611"/>
                  <a:pt x="1445361" y="652243"/>
                  <a:pt x="1461677" y="645080"/>
                </a:cubicBezTo>
                <a:cubicBezTo>
                  <a:pt x="1456106" y="631550"/>
                  <a:pt x="1450933" y="620407"/>
                  <a:pt x="1445759" y="608071"/>
                </a:cubicBezTo>
                <a:close/>
                <a:moveTo>
                  <a:pt x="1639164" y="598918"/>
                </a:moveTo>
                <a:cubicBezTo>
                  <a:pt x="1622052" y="604887"/>
                  <a:pt x="1606532" y="610458"/>
                  <a:pt x="1590216" y="616030"/>
                </a:cubicBezTo>
                <a:cubicBezTo>
                  <a:pt x="1594593" y="628366"/>
                  <a:pt x="1598573" y="638315"/>
                  <a:pt x="1602552" y="649060"/>
                </a:cubicBezTo>
                <a:cubicBezTo>
                  <a:pt x="1619266" y="643090"/>
                  <a:pt x="1633991" y="637917"/>
                  <a:pt x="1650307" y="632744"/>
                </a:cubicBezTo>
                <a:cubicBezTo>
                  <a:pt x="1646725" y="621203"/>
                  <a:pt x="1643144" y="611652"/>
                  <a:pt x="1639164" y="598918"/>
                </a:cubicBezTo>
                <a:close/>
                <a:moveTo>
                  <a:pt x="2932110" y="592551"/>
                </a:moveTo>
                <a:cubicBezTo>
                  <a:pt x="2926936" y="607673"/>
                  <a:pt x="2922559" y="620805"/>
                  <a:pt x="2917386" y="635131"/>
                </a:cubicBezTo>
                <a:cubicBezTo>
                  <a:pt x="2947232" y="645876"/>
                  <a:pt x="2975487" y="656223"/>
                  <a:pt x="3004935" y="666968"/>
                </a:cubicBezTo>
                <a:cubicBezTo>
                  <a:pt x="3010506" y="652641"/>
                  <a:pt x="3015282" y="639907"/>
                  <a:pt x="3020853" y="625183"/>
                </a:cubicBezTo>
                <a:cubicBezTo>
                  <a:pt x="2991007" y="614040"/>
                  <a:pt x="2961956" y="603295"/>
                  <a:pt x="2932110" y="592551"/>
                </a:cubicBezTo>
                <a:close/>
                <a:moveTo>
                  <a:pt x="2654737" y="586581"/>
                </a:moveTo>
                <a:cubicBezTo>
                  <a:pt x="2651952" y="602499"/>
                  <a:pt x="2649564" y="616030"/>
                  <a:pt x="2646778" y="630754"/>
                </a:cubicBezTo>
                <a:cubicBezTo>
                  <a:pt x="2676625" y="637519"/>
                  <a:pt x="2704879" y="643488"/>
                  <a:pt x="2733930" y="649856"/>
                </a:cubicBezTo>
                <a:cubicBezTo>
                  <a:pt x="2737909" y="634335"/>
                  <a:pt x="2741093" y="621203"/>
                  <a:pt x="2744675" y="606081"/>
                </a:cubicBezTo>
                <a:cubicBezTo>
                  <a:pt x="2713634" y="599316"/>
                  <a:pt x="2684982" y="592948"/>
                  <a:pt x="2654737" y="586581"/>
                </a:cubicBezTo>
                <a:close/>
                <a:moveTo>
                  <a:pt x="1503860" y="584989"/>
                </a:moveTo>
                <a:cubicBezTo>
                  <a:pt x="1486749" y="591755"/>
                  <a:pt x="1470830" y="598122"/>
                  <a:pt x="1454514" y="605285"/>
                </a:cubicBezTo>
                <a:cubicBezTo>
                  <a:pt x="1460086" y="618019"/>
                  <a:pt x="1464861" y="629560"/>
                  <a:pt x="1470034" y="642295"/>
                </a:cubicBezTo>
                <a:cubicBezTo>
                  <a:pt x="1487146" y="635131"/>
                  <a:pt x="1502269" y="629162"/>
                  <a:pt x="1518585" y="622397"/>
                </a:cubicBezTo>
                <a:cubicBezTo>
                  <a:pt x="1513411" y="609264"/>
                  <a:pt x="1509034" y="598122"/>
                  <a:pt x="1503860" y="584989"/>
                </a:cubicBezTo>
                <a:close/>
                <a:moveTo>
                  <a:pt x="1696469" y="581010"/>
                </a:moveTo>
                <a:cubicBezTo>
                  <a:pt x="1679357" y="586183"/>
                  <a:pt x="1664235" y="590959"/>
                  <a:pt x="1647123" y="596132"/>
                </a:cubicBezTo>
                <a:cubicBezTo>
                  <a:pt x="1651501" y="608867"/>
                  <a:pt x="1654684" y="618417"/>
                  <a:pt x="1658266" y="629560"/>
                </a:cubicBezTo>
                <a:cubicBezTo>
                  <a:pt x="1674980" y="624387"/>
                  <a:pt x="1690102" y="620009"/>
                  <a:pt x="1706816" y="614836"/>
                </a:cubicBezTo>
                <a:cubicBezTo>
                  <a:pt x="1703234" y="603295"/>
                  <a:pt x="1700051" y="592948"/>
                  <a:pt x="1696469" y="581010"/>
                </a:cubicBezTo>
                <a:close/>
                <a:moveTo>
                  <a:pt x="1561563" y="563102"/>
                </a:moveTo>
                <a:cubicBezTo>
                  <a:pt x="1544452" y="569867"/>
                  <a:pt x="1528533" y="575836"/>
                  <a:pt x="1511819" y="582602"/>
                </a:cubicBezTo>
                <a:cubicBezTo>
                  <a:pt x="1517391" y="596132"/>
                  <a:pt x="1522166" y="607275"/>
                  <a:pt x="1526942" y="619611"/>
                </a:cubicBezTo>
                <a:cubicBezTo>
                  <a:pt x="1543656" y="613244"/>
                  <a:pt x="1558778" y="607275"/>
                  <a:pt x="1575492" y="600907"/>
                </a:cubicBezTo>
                <a:cubicBezTo>
                  <a:pt x="1570318" y="587377"/>
                  <a:pt x="1566339" y="575836"/>
                  <a:pt x="1561563" y="563102"/>
                </a:cubicBezTo>
                <a:close/>
                <a:moveTo>
                  <a:pt x="2418354" y="557929"/>
                </a:moveTo>
                <a:cubicBezTo>
                  <a:pt x="2416762" y="580214"/>
                  <a:pt x="2415170" y="600112"/>
                  <a:pt x="2413977" y="621203"/>
                </a:cubicBezTo>
                <a:cubicBezTo>
                  <a:pt x="2436660" y="623591"/>
                  <a:pt x="2457751" y="625580"/>
                  <a:pt x="2480832" y="627570"/>
                </a:cubicBezTo>
                <a:cubicBezTo>
                  <a:pt x="2483220" y="604887"/>
                  <a:pt x="2485210" y="584989"/>
                  <a:pt x="2487200" y="563898"/>
                </a:cubicBezTo>
                <a:cubicBezTo>
                  <a:pt x="2462925" y="561908"/>
                  <a:pt x="2441435" y="559918"/>
                  <a:pt x="2418354" y="557929"/>
                </a:cubicBezTo>
                <a:close/>
                <a:moveTo>
                  <a:pt x="2219378" y="553551"/>
                </a:moveTo>
                <a:cubicBezTo>
                  <a:pt x="2219378" y="575439"/>
                  <a:pt x="2219378" y="594938"/>
                  <a:pt x="2219378" y="614836"/>
                </a:cubicBezTo>
                <a:cubicBezTo>
                  <a:pt x="2242459" y="614836"/>
                  <a:pt x="2263949" y="614836"/>
                  <a:pt x="2284642" y="614836"/>
                </a:cubicBezTo>
                <a:cubicBezTo>
                  <a:pt x="2284642" y="593346"/>
                  <a:pt x="2284642" y="573449"/>
                  <a:pt x="2284642" y="553551"/>
                </a:cubicBezTo>
                <a:cubicBezTo>
                  <a:pt x="2261959" y="553551"/>
                  <a:pt x="2240867" y="553551"/>
                  <a:pt x="2219378" y="553551"/>
                </a:cubicBezTo>
                <a:close/>
                <a:moveTo>
                  <a:pt x="2318070" y="552755"/>
                </a:moveTo>
                <a:cubicBezTo>
                  <a:pt x="2318070" y="575836"/>
                  <a:pt x="2318070" y="595336"/>
                  <a:pt x="2317672" y="616030"/>
                </a:cubicBezTo>
                <a:cubicBezTo>
                  <a:pt x="2339957" y="617224"/>
                  <a:pt x="2360651" y="618417"/>
                  <a:pt x="2383732" y="619611"/>
                </a:cubicBezTo>
                <a:cubicBezTo>
                  <a:pt x="2384926" y="597724"/>
                  <a:pt x="2385722" y="577428"/>
                  <a:pt x="2386916" y="555939"/>
                </a:cubicBezTo>
                <a:cubicBezTo>
                  <a:pt x="2363437" y="554745"/>
                  <a:pt x="2341947" y="553949"/>
                  <a:pt x="2318070" y="552755"/>
                </a:cubicBezTo>
                <a:close/>
                <a:moveTo>
                  <a:pt x="1621256" y="542807"/>
                </a:moveTo>
                <a:cubicBezTo>
                  <a:pt x="1603348" y="548776"/>
                  <a:pt x="1587430" y="554347"/>
                  <a:pt x="1570716" y="560316"/>
                </a:cubicBezTo>
                <a:cubicBezTo>
                  <a:pt x="1575890" y="574245"/>
                  <a:pt x="1579869" y="585785"/>
                  <a:pt x="1584247" y="598122"/>
                </a:cubicBezTo>
                <a:cubicBezTo>
                  <a:pt x="1602155" y="591755"/>
                  <a:pt x="1617277" y="586581"/>
                  <a:pt x="1633593" y="581010"/>
                </a:cubicBezTo>
                <a:cubicBezTo>
                  <a:pt x="1629215" y="568275"/>
                  <a:pt x="1625634" y="557133"/>
                  <a:pt x="1621256" y="542807"/>
                </a:cubicBezTo>
                <a:close/>
                <a:moveTo>
                  <a:pt x="1680153" y="524899"/>
                </a:moveTo>
                <a:cubicBezTo>
                  <a:pt x="1662245" y="530072"/>
                  <a:pt x="1646327" y="535245"/>
                  <a:pt x="1629215" y="540021"/>
                </a:cubicBezTo>
                <a:cubicBezTo>
                  <a:pt x="1633991" y="553949"/>
                  <a:pt x="1637572" y="565092"/>
                  <a:pt x="1641950" y="578622"/>
                </a:cubicBezTo>
                <a:cubicBezTo>
                  <a:pt x="1659858" y="573051"/>
                  <a:pt x="1675378" y="568275"/>
                  <a:pt x="1691694" y="563102"/>
                </a:cubicBezTo>
                <a:cubicBezTo>
                  <a:pt x="1687714" y="549572"/>
                  <a:pt x="1684133" y="537633"/>
                  <a:pt x="1680153" y="524899"/>
                </a:cubicBezTo>
                <a:close/>
                <a:moveTo>
                  <a:pt x="2667472" y="522113"/>
                </a:moveTo>
                <a:cubicBezTo>
                  <a:pt x="2664288" y="538827"/>
                  <a:pt x="2661901" y="551959"/>
                  <a:pt x="2659115" y="566286"/>
                </a:cubicBezTo>
                <a:cubicBezTo>
                  <a:pt x="2690155" y="573051"/>
                  <a:pt x="2718808" y="579418"/>
                  <a:pt x="2749450" y="586183"/>
                </a:cubicBezTo>
                <a:cubicBezTo>
                  <a:pt x="2753032" y="571061"/>
                  <a:pt x="2756215" y="557929"/>
                  <a:pt x="2760195" y="542409"/>
                </a:cubicBezTo>
                <a:cubicBezTo>
                  <a:pt x="2728756" y="535643"/>
                  <a:pt x="2698910" y="528878"/>
                  <a:pt x="2667472" y="522113"/>
                </a:cubicBezTo>
                <a:close/>
                <a:moveTo>
                  <a:pt x="2425119" y="465604"/>
                </a:moveTo>
                <a:cubicBezTo>
                  <a:pt x="2423527" y="487889"/>
                  <a:pt x="2421936" y="508185"/>
                  <a:pt x="2420742" y="529276"/>
                </a:cubicBezTo>
                <a:cubicBezTo>
                  <a:pt x="2445017" y="531266"/>
                  <a:pt x="2467302" y="533654"/>
                  <a:pt x="2490781" y="535643"/>
                </a:cubicBezTo>
                <a:cubicBezTo>
                  <a:pt x="2493169" y="513358"/>
                  <a:pt x="2495159" y="493460"/>
                  <a:pt x="2497148" y="472369"/>
                </a:cubicBezTo>
                <a:cubicBezTo>
                  <a:pt x="2472476" y="469981"/>
                  <a:pt x="2450190" y="467992"/>
                  <a:pt x="2425119" y="465604"/>
                </a:cubicBezTo>
                <a:close/>
                <a:moveTo>
                  <a:pt x="2320060" y="462818"/>
                </a:moveTo>
                <a:cubicBezTo>
                  <a:pt x="2320060" y="483114"/>
                  <a:pt x="2320060" y="503011"/>
                  <a:pt x="2319662" y="523705"/>
                </a:cubicBezTo>
                <a:cubicBezTo>
                  <a:pt x="2342743" y="524899"/>
                  <a:pt x="2364233" y="526092"/>
                  <a:pt x="2388508" y="527286"/>
                </a:cubicBezTo>
                <a:cubicBezTo>
                  <a:pt x="2390099" y="505001"/>
                  <a:pt x="2391293" y="485103"/>
                  <a:pt x="2392487" y="462818"/>
                </a:cubicBezTo>
                <a:cubicBezTo>
                  <a:pt x="2367416" y="462818"/>
                  <a:pt x="2344335" y="462818"/>
                  <a:pt x="2320060" y="462818"/>
                </a:cubicBezTo>
                <a:close/>
                <a:moveTo>
                  <a:pt x="2181971" y="461226"/>
                </a:moveTo>
                <a:cubicBezTo>
                  <a:pt x="2156899" y="462818"/>
                  <a:pt x="2134614" y="464410"/>
                  <a:pt x="2110339" y="466002"/>
                </a:cubicBezTo>
                <a:cubicBezTo>
                  <a:pt x="2111931" y="487491"/>
                  <a:pt x="2113523" y="507787"/>
                  <a:pt x="2115115" y="528878"/>
                </a:cubicBezTo>
                <a:cubicBezTo>
                  <a:pt x="2138992" y="527684"/>
                  <a:pt x="2161277" y="526490"/>
                  <a:pt x="2185950" y="524899"/>
                </a:cubicBezTo>
                <a:cubicBezTo>
                  <a:pt x="2184358" y="501817"/>
                  <a:pt x="2183164" y="481920"/>
                  <a:pt x="2181971" y="461226"/>
                </a:cubicBezTo>
                <a:close/>
                <a:moveTo>
                  <a:pt x="1608523" y="448890"/>
                </a:moveTo>
                <a:cubicBezTo>
                  <a:pt x="1613696" y="462420"/>
                  <a:pt x="1616880" y="471573"/>
                  <a:pt x="1620859" y="481522"/>
                </a:cubicBezTo>
                <a:cubicBezTo>
                  <a:pt x="1630808" y="479532"/>
                  <a:pt x="1640359" y="477543"/>
                  <a:pt x="1651900" y="475155"/>
                </a:cubicBezTo>
                <a:cubicBezTo>
                  <a:pt x="1654287" y="483910"/>
                  <a:pt x="1656277" y="491471"/>
                  <a:pt x="1658267" y="498635"/>
                </a:cubicBezTo>
                <a:cubicBezTo>
                  <a:pt x="1573105" y="530471"/>
                  <a:pt x="1489534" y="561113"/>
                  <a:pt x="1403576" y="592950"/>
                </a:cubicBezTo>
                <a:cubicBezTo>
                  <a:pt x="1400791" y="586980"/>
                  <a:pt x="1397209" y="579817"/>
                  <a:pt x="1391240" y="566685"/>
                </a:cubicBezTo>
                <a:cubicBezTo>
                  <a:pt x="1406760" y="564297"/>
                  <a:pt x="1419892" y="562705"/>
                  <a:pt x="1432627" y="560318"/>
                </a:cubicBezTo>
                <a:cubicBezTo>
                  <a:pt x="1437004" y="559522"/>
                  <a:pt x="1441382" y="557930"/>
                  <a:pt x="1445759" y="556338"/>
                </a:cubicBezTo>
                <a:cubicBezTo>
                  <a:pt x="1499881" y="536838"/>
                  <a:pt x="1554003" y="516941"/>
                  <a:pt x="1608125" y="496247"/>
                </a:cubicBezTo>
                <a:cubicBezTo>
                  <a:pt x="1613298" y="494655"/>
                  <a:pt x="1617676" y="492267"/>
                  <a:pt x="1622451" y="489879"/>
                </a:cubicBezTo>
                <a:cubicBezTo>
                  <a:pt x="1621257" y="487093"/>
                  <a:pt x="1620461" y="484706"/>
                  <a:pt x="1619267" y="482318"/>
                </a:cubicBezTo>
                <a:cubicBezTo>
                  <a:pt x="1555595" y="505400"/>
                  <a:pt x="1492320" y="528481"/>
                  <a:pt x="1427056" y="552359"/>
                </a:cubicBezTo>
                <a:cubicBezTo>
                  <a:pt x="1423474" y="543604"/>
                  <a:pt x="1419494" y="534053"/>
                  <a:pt x="1413525" y="520920"/>
                </a:cubicBezTo>
                <a:cubicBezTo>
                  <a:pt x="1478391" y="497043"/>
                  <a:pt x="1542463" y="473165"/>
                  <a:pt x="1608523" y="448890"/>
                </a:cubicBezTo>
                <a:close/>
                <a:moveTo>
                  <a:pt x="2322448" y="370891"/>
                </a:moveTo>
                <a:cubicBezTo>
                  <a:pt x="2322448" y="390789"/>
                  <a:pt x="2322448" y="410288"/>
                  <a:pt x="2322845" y="432574"/>
                </a:cubicBezTo>
                <a:cubicBezTo>
                  <a:pt x="2347519" y="432574"/>
                  <a:pt x="2370202" y="432574"/>
                  <a:pt x="2394875" y="432574"/>
                </a:cubicBezTo>
                <a:cubicBezTo>
                  <a:pt x="2395671" y="412278"/>
                  <a:pt x="2396865" y="392779"/>
                  <a:pt x="2398058" y="370891"/>
                </a:cubicBezTo>
                <a:cubicBezTo>
                  <a:pt x="2371794" y="370891"/>
                  <a:pt x="2347916" y="370891"/>
                  <a:pt x="2322448" y="370891"/>
                </a:cubicBezTo>
                <a:close/>
                <a:moveTo>
                  <a:pt x="2215398" y="369697"/>
                </a:moveTo>
                <a:cubicBezTo>
                  <a:pt x="2215398" y="390789"/>
                  <a:pt x="2215398" y="411084"/>
                  <a:pt x="2215398" y="430982"/>
                </a:cubicBezTo>
                <a:cubicBezTo>
                  <a:pt x="2240072" y="430982"/>
                  <a:pt x="2263153" y="430982"/>
                  <a:pt x="2287428" y="430982"/>
                </a:cubicBezTo>
                <a:cubicBezTo>
                  <a:pt x="2287428" y="409891"/>
                  <a:pt x="2287428" y="389993"/>
                  <a:pt x="2287428" y="369697"/>
                </a:cubicBezTo>
                <a:cubicBezTo>
                  <a:pt x="2262357" y="369697"/>
                  <a:pt x="2238878" y="369697"/>
                  <a:pt x="2215398" y="369697"/>
                </a:cubicBezTo>
                <a:close/>
                <a:moveTo>
                  <a:pt x="2178787" y="369299"/>
                </a:moveTo>
                <a:cubicBezTo>
                  <a:pt x="2152522" y="370891"/>
                  <a:pt x="2128645" y="372483"/>
                  <a:pt x="2103176" y="374075"/>
                </a:cubicBezTo>
                <a:cubicBezTo>
                  <a:pt x="2104768" y="395962"/>
                  <a:pt x="2106360" y="415462"/>
                  <a:pt x="2108350" y="437747"/>
                </a:cubicBezTo>
                <a:cubicBezTo>
                  <a:pt x="2134614" y="436155"/>
                  <a:pt x="2157695" y="434166"/>
                  <a:pt x="2182368" y="432574"/>
                </a:cubicBezTo>
                <a:cubicBezTo>
                  <a:pt x="2181175" y="410288"/>
                  <a:pt x="2179981" y="390789"/>
                  <a:pt x="2178787" y="369299"/>
                </a:cubicBezTo>
                <a:close/>
                <a:moveTo>
                  <a:pt x="2438650" y="281352"/>
                </a:moveTo>
                <a:cubicBezTo>
                  <a:pt x="2437058" y="303239"/>
                  <a:pt x="2435466" y="323535"/>
                  <a:pt x="2433874" y="345024"/>
                </a:cubicBezTo>
                <a:cubicBezTo>
                  <a:pt x="2460139" y="347412"/>
                  <a:pt x="2484414" y="349402"/>
                  <a:pt x="2510281" y="351790"/>
                </a:cubicBezTo>
                <a:cubicBezTo>
                  <a:pt x="2512669" y="330698"/>
                  <a:pt x="2515056" y="311198"/>
                  <a:pt x="2517444" y="288515"/>
                </a:cubicBezTo>
                <a:cubicBezTo>
                  <a:pt x="2489985" y="286127"/>
                  <a:pt x="2465312" y="283740"/>
                  <a:pt x="2438650" y="281352"/>
                </a:cubicBezTo>
                <a:close/>
                <a:moveTo>
                  <a:pt x="2212215" y="276975"/>
                </a:moveTo>
                <a:cubicBezTo>
                  <a:pt x="2212215" y="298464"/>
                  <a:pt x="2212215" y="317964"/>
                  <a:pt x="2212215" y="337463"/>
                </a:cubicBezTo>
                <a:cubicBezTo>
                  <a:pt x="2238878" y="337463"/>
                  <a:pt x="2263153" y="337463"/>
                  <a:pt x="2288622" y="337463"/>
                </a:cubicBezTo>
                <a:cubicBezTo>
                  <a:pt x="2288622" y="316372"/>
                  <a:pt x="2288622" y="297270"/>
                  <a:pt x="2288622" y="276975"/>
                </a:cubicBezTo>
                <a:cubicBezTo>
                  <a:pt x="2261561" y="276975"/>
                  <a:pt x="2236490" y="276975"/>
                  <a:pt x="2212215" y="276975"/>
                </a:cubicBezTo>
                <a:close/>
                <a:moveTo>
                  <a:pt x="2445415" y="189425"/>
                </a:moveTo>
                <a:cubicBezTo>
                  <a:pt x="2443823" y="212108"/>
                  <a:pt x="2442231" y="231608"/>
                  <a:pt x="2440639" y="252700"/>
                </a:cubicBezTo>
                <a:cubicBezTo>
                  <a:pt x="2467302" y="255087"/>
                  <a:pt x="2492373" y="257475"/>
                  <a:pt x="2520230" y="259863"/>
                </a:cubicBezTo>
                <a:cubicBezTo>
                  <a:pt x="2522617" y="238771"/>
                  <a:pt x="2524607" y="219272"/>
                  <a:pt x="2526995" y="196588"/>
                </a:cubicBezTo>
                <a:cubicBezTo>
                  <a:pt x="2499138" y="194201"/>
                  <a:pt x="2472873" y="191813"/>
                  <a:pt x="2445415" y="189425"/>
                </a:cubicBezTo>
                <a:close/>
                <a:moveTo>
                  <a:pt x="2170828" y="184650"/>
                </a:moveTo>
                <a:cubicBezTo>
                  <a:pt x="2142175" y="186242"/>
                  <a:pt x="2116309" y="188231"/>
                  <a:pt x="2089248" y="189823"/>
                </a:cubicBezTo>
                <a:cubicBezTo>
                  <a:pt x="2091237" y="212506"/>
                  <a:pt x="2092829" y="232006"/>
                  <a:pt x="2094421" y="253097"/>
                </a:cubicBezTo>
                <a:cubicBezTo>
                  <a:pt x="2121880" y="251506"/>
                  <a:pt x="2146951" y="249914"/>
                  <a:pt x="2174409" y="248322"/>
                </a:cubicBezTo>
                <a:cubicBezTo>
                  <a:pt x="2173216" y="226435"/>
                  <a:pt x="2172022" y="206537"/>
                  <a:pt x="2170828" y="184650"/>
                </a:cubicBezTo>
                <a:close/>
                <a:moveTo>
                  <a:pt x="2210225" y="184252"/>
                </a:moveTo>
                <a:cubicBezTo>
                  <a:pt x="2210225" y="205741"/>
                  <a:pt x="2210225" y="225639"/>
                  <a:pt x="2210225" y="245536"/>
                </a:cubicBezTo>
                <a:cubicBezTo>
                  <a:pt x="2238082" y="245536"/>
                  <a:pt x="2263153" y="245536"/>
                  <a:pt x="2289020" y="245536"/>
                </a:cubicBezTo>
                <a:cubicBezTo>
                  <a:pt x="2289020" y="224047"/>
                  <a:pt x="2289020" y="204547"/>
                  <a:pt x="2289020" y="184252"/>
                </a:cubicBezTo>
                <a:cubicBezTo>
                  <a:pt x="2261959" y="184252"/>
                  <a:pt x="2236092" y="184252"/>
                  <a:pt x="2210225" y="184252"/>
                </a:cubicBezTo>
                <a:close/>
                <a:moveTo>
                  <a:pt x="2175205" y="0"/>
                </a:moveTo>
                <a:cubicBezTo>
                  <a:pt x="2211021" y="0"/>
                  <a:pt x="2246837" y="0"/>
                  <a:pt x="2282652" y="0"/>
                </a:cubicBezTo>
                <a:cubicBezTo>
                  <a:pt x="2282652" y="10347"/>
                  <a:pt x="2282652" y="21091"/>
                  <a:pt x="2282652" y="33030"/>
                </a:cubicBezTo>
                <a:cubicBezTo>
                  <a:pt x="2302948" y="33030"/>
                  <a:pt x="2322050" y="33030"/>
                  <a:pt x="2342345" y="33030"/>
                </a:cubicBezTo>
                <a:cubicBezTo>
                  <a:pt x="2342345" y="21091"/>
                  <a:pt x="2342345" y="10347"/>
                  <a:pt x="2342345" y="0"/>
                </a:cubicBezTo>
                <a:cubicBezTo>
                  <a:pt x="2350304" y="0"/>
                  <a:pt x="2358263" y="0"/>
                  <a:pt x="2366222" y="0"/>
                </a:cubicBezTo>
                <a:cubicBezTo>
                  <a:pt x="2381344" y="1194"/>
                  <a:pt x="2396467" y="2786"/>
                  <a:pt x="2411589" y="3980"/>
                </a:cubicBezTo>
                <a:cubicBezTo>
                  <a:pt x="2450986" y="7163"/>
                  <a:pt x="2490781" y="9949"/>
                  <a:pt x="2530179" y="12734"/>
                </a:cubicBezTo>
                <a:cubicBezTo>
                  <a:pt x="2530179" y="25071"/>
                  <a:pt x="2530179" y="35020"/>
                  <a:pt x="2530179" y="45367"/>
                </a:cubicBezTo>
                <a:cubicBezTo>
                  <a:pt x="2534954" y="46958"/>
                  <a:pt x="2540127" y="48550"/>
                  <a:pt x="2545301" y="50142"/>
                </a:cubicBezTo>
                <a:cubicBezTo>
                  <a:pt x="2542913" y="73223"/>
                  <a:pt x="2540923" y="95508"/>
                  <a:pt x="2538535" y="118590"/>
                </a:cubicBezTo>
                <a:cubicBezTo>
                  <a:pt x="2549678" y="120977"/>
                  <a:pt x="2559627" y="122967"/>
                  <a:pt x="2571168" y="125355"/>
                </a:cubicBezTo>
                <a:cubicBezTo>
                  <a:pt x="2541719" y="363330"/>
                  <a:pt x="2512669" y="599714"/>
                  <a:pt x="2483618" y="837689"/>
                </a:cubicBezTo>
                <a:cubicBezTo>
                  <a:pt x="2512669" y="841668"/>
                  <a:pt x="2539331" y="845648"/>
                  <a:pt x="2567188" y="849627"/>
                </a:cubicBezTo>
                <a:cubicBezTo>
                  <a:pt x="2589075" y="723875"/>
                  <a:pt x="2610565" y="600907"/>
                  <a:pt x="2632054" y="476746"/>
                </a:cubicBezTo>
                <a:cubicBezTo>
                  <a:pt x="2643993" y="478338"/>
                  <a:pt x="2653544" y="479532"/>
                  <a:pt x="2664686" y="480726"/>
                </a:cubicBezTo>
                <a:cubicBezTo>
                  <a:pt x="2668268" y="465206"/>
                  <a:pt x="2671452" y="449686"/>
                  <a:pt x="2675033" y="432972"/>
                </a:cubicBezTo>
                <a:cubicBezTo>
                  <a:pt x="2686176" y="434564"/>
                  <a:pt x="2696522" y="436155"/>
                  <a:pt x="2706869" y="437747"/>
                </a:cubicBezTo>
                <a:cubicBezTo>
                  <a:pt x="2709655" y="430186"/>
                  <a:pt x="2712042" y="423421"/>
                  <a:pt x="2715624" y="414666"/>
                </a:cubicBezTo>
                <a:cubicBezTo>
                  <a:pt x="2778899" y="430982"/>
                  <a:pt x="2841377" y="446900"/>
                  <a:pt x="2904651" y="463216"/>
                </a:cubicBezTo>
                <a:cubicBezTo>
                  <a:pt x="2902661" y="473563"/>
                  <a:pt x="2901070" y="479930"/>
                  <a:pt x="2899478" y="487491"/>
                </a:cubicBezTo>
                <a:cubicBezTo>
                  <a:pt x="2925743" y="495848"/>
                  <a:pt x="2951212" y="504205"/>
                  <a:pt x="2976680" y="512562"/>
                </a:cubicBezTo>
                <a:cubicBezTo>
                  <a:pt x="2980660" y="505001"/>
                  <a:pt x="2983844" y="499032"/>
                  <a:pt x="2988221" y="490675"/>
                </a:cubicBezTo>
                <a:cubicBezTo>
                  <a:pt x="3049506" y="515348"/>
                  <a:pt x="3109199" y="539225"/>
                  <a:pt x="3170085" y="563500"/>
                </a:cubicBezTo>
                <a:cubicBezTo>
                  <a:pt x="3166504" y="572653"/>
                  <a:pt x="3164116" y="578622"/>
                  <a:pt x="3161330" y="585387"/>
                </a:cubicBezTo>
                <a:cubicBezTo>
                  <a:pt x="3166902" y="589367"/>
                  <a:pt x="3171677" y="592551"/>
                  <a:pt x="3177248" y="596132"/>
                </a:cubicBezTo>
                <a:cubicBezTo>
                  <a:pt x="3170483" y="610856"/>
                  <a:pt x="3164116" y="625183"/>
                  <a:pt x="3157351" y="640305"/>
                </a:cubicBezTo>
                <a:cubicBezTo>
                  <a:pt x="3168891" y="646274"/>
                  <a:pt x="3179238" y="651845"/>
                  <a:pt x="3190779" y="657815"/>
                </a:cubicBezTo>
                <a:cubicBezTo>
                  <a:pt x="3110392" y="822965"/>
                  <a:pt x="3030404" y="987319"/>
                  <a:pt x="2948028" y="1156051"/>
                </a:cubicBezTo>
                <a:cubicBezTo>
                  <a:pt x="2952803" y="1157642"/>
                  <a:pt x="2958375" y="1159632"/>
                  <a:pt x="2962752" y="1161224"/>
                </a:cubicBezTo>
                <a:cubicBezTo>
                  <a:pt x="2938079" y="1211366"/>
                  <a:pt x="2915396" y="1257130"/>
                  <a:pt x="2892713" y="1303293"/>
                </a:cubicBezTo>
                <a:cubicBezTo>
                  <a:pt x="2895498" y="1304487"/>
                  <a:pt x="2897886" y="1306078"/>
                  <a:pt x="2900672" y="1307272"/>
                </a:cubicBezTo>
                <a:cubicBezTo>
                  <a:pt x="2924151" y="1260712"/>
                  <a:pt x="2948028" y="1214151"/>
                  <a:pt x="2971905" y="1167989"/>
                </a:cubicBezTo>
                <a:cubicBezTo>
                  <a:pt x="2985038" y="1170377"/>
                  <a:pt x="2986231" y="1175550"/>
                  <a:pt x="2980660" y="1185897"/>
                </a:cubicBezTo>
                <a:cubicBezTo>
                  <a:pt x="2957977" y="1227682"/>
                  <a:pt x="2936487" y="1269865"/>
                  <a:pt x="2913406" y="1314037"/>
                </a:cubicBezTo>
                <a:cubicBezTo>
                  <a:pt x="2929324" y="1322394"/>
                  <a:pt x="2943650" y="1329955"/>
                  <a:pt x="2961558" y="1339506"/>
                </a:cubicBezTo>
                <a:cubicBezTo>
                  <a:pt x="2952405" y="1316823"/>
                  <a:pt x="2956385" y="1309660"/>
                  <a:pt x="2977476" y="1300905"/>
                </a:cubicBezTo>
                <a:cubicBezTo>
                  <a:pt x="2979466" y="1299711"/>
                  <a:pt x="2981456" y="1292150"/>
                  <a:pt x="2979864" y="1290558"/>
                </a:cubicBezTo>
                <a:cubicBezTo>
                  <a:pt x="2976680" y="1286579"/>
                  <a:pt x="2971507" y="1284589"/>
                  <a:pt x="2965936" y="1281007"/>
                </a:cubicBezTo>
                <a:cubicBezTo>
                  <a:pt x="2971109" y="1271457"/>
                  <a:pt x="2975885" y="1263100"/>
                  <a:pt x="2979864" y="1256334"/>
                </a:cubicBezTo>
                <a:cubicBezTo>
                  <a:pt x="2989415" y="1257926"/>
                  <a:pt x="2996578" y="1259518"/>
                  <a:pt x="3003741" y="1260712"/>
                </a:cubicBezTo>
                <a:cubicBezTo>
                  <a:pt x="3004537" y="1258722"/>
                  <a:pt x="3004935" y="1256334"/>
                  <a:pt x="3005333" y="1254345"/>
                </a:cubicBezTo>
                <a:cubicBezTo>
                  <a:pt x="2996578" y="1248375"/>
                  <a:pt x="2988221" y="1242804"/>
                  <a:pt x="2979068" y="1236835"/>
                </a:cubicBezTo>
                <a:cubicBezTo>
                  <a:pt x="2984639" y="1227284"/>
                  <a:pt x="2989415" y="1218927"/>
                  <a:pt x="2994190" y="1210172"/>
                </a:cubicBezTo>
                <a:cubicBezTo>
                  <a:pt x="3002149" y="1214549"/>
                  <a:pt x="3007721" y="1218131"/>
                  <a:pt x="3013690" y="1220519"/>
                </a:cubicBezTo>
                <a:cubicBezTo>
                  <a:pt x="3016874" y="1221713"/>
                  <a:pt x="3021251" y="1220519"/>
                  <a:pt x="3025231" y="1220121"/>
                </a:cubicBezTo>
                <a:cubicBezTo>
                  <a:pt x="3023241" y="1216937"/>
                  <a:pt x="3022047" y="1212162"/>
                  <a:pt x="3018863" y="1210172"/>
                </a:cubicBezTo>
                <a:cubicBezTo>
                  <a:pt x="3010108" y="1204203"/>
                  <a:pt x="3000956" y="1199427"/>
                  <a:pt x="2991007" y="1193856"/>
                </a:cubicBezTo>
                <a:cubicBezTo>
                  <a:pt x="2996578" y="1183907"/>
                  <a:pt x="3001354" y="1175152"/>
                  <a:pt x="3006129" y="1166397"/>
                </a:cubicBezTo>
                <a:cubicBezTo>
                  <a:pt x="3017272" y="1172366"/>
                  <a:pt x="3026424" y="1177938"/>
                  <a:pt x="3035975" y="1182315"/>
                </a:cubicBezTo>
                <a:cubicBezTo>
                  <a:pt x="3038761" y="1183509"/>
                  <a:pt x="3043138" y="1181519"/>
                  <a:pt x="3047118" y="1181121"/>
                </a:cubicBezTo>
                <a:cubicBezTo>
                  <a:pt x="3045526" y="1177938"/>
                  <a:pt x="3044332" y="1173958"/>
                  <a:pt x="3041945" y="1172366"/>
                </a:cubicBezTo>
                <a:cubicBezTo>
                  <a:pt x="3029210" y="1164407"/>
                  <a:pt x="3016078" y="1157244"/>
                  <a:pt x="3002547" y="1149683"/>
                </a:cubicBezTo>
                <a:cubicBezTo>
                  <a:pt x="3008119" y="1139734"/>
                  <a:pt x="3012894" y="1131377"/>
                  <a:pt x="3017670" y="1122622"/>
                </a:cubicBezTo>
                <a:cubicBezTo>
                  <a:pt x="3031598" y="1130582"/>
                  <a:pt x="3043138" y="1137347"/>
                  <a:pt x="3055077" y="1142918"/>
                </a:cubicBezTo>
                <a:cubicBezTo>
                  <a:pt x="3059057" y="1144510"/>
                  <a:pt x="3064230" y="1143316"/>
                  <a:pt x="3068607" y="1143316"/>
                </a:cubicBezTo>
                <a:cubicBezTo>
                  <a:pt x="3065822" y="1139337"/>
                  <a:pt x="3063832" y="1134561"/>
                  <a:pt x="3060250" y="1132173"/>
                </a:cubicBezTo>
                <a:cubicBezTo>
                  <a:pt x="3045128" y="1123020"/>
                  <a:pt x="3029608" y="1114663"/>
                  <a:pt x="3013690" y="1105909"/>
                </a:cubicBezTo>
                <a:cubicBezTo>
                  <a:pt x="3019261" y="1095562"/>
                  <a:pt x="3023639" y="1087205"/>
                  <a:pt x="3028414" y="1078450"/>
                </a:cubicBezTo>
                <a:cubicBezTo>
                  <a:pt x="3041149" y="1085215"/>
                  <a:pt x="3051893" y="1090786"/>
                  <a:pt x="3062240" y="1096358"/>
                </a:cubicBezTo>
                <a:cubicBezTo>
                  <a:pt x="3084526" y="1108694"/>
                  <a:pt x="3084526" y="1109092"/>
                  <a:pt x="3091689" y="1099143"/>
                </a:cubicBezTo>
                <a:cubicBezTo>
                  <a:pt x="3069403" y="1086807"/>
                  <a:pt x="3047118" y="1074470"/>
                  <a:pt x="3024435" y="1061736"/>
                </a:cubicBezTo>
                <a:cubicBezTo>
                  <a:pt x="3030006" y="1051389"/>
                  <a:pt x="3033986" y="1043430"/>
                  <a:pt x="3039159" y="1033879"/>
                </a:cubicBezTo>
                <a:cubicBezTo>
                  <a:pt x="3059455" y="1045022"/>
                  <a:pt x="3078158" y="1055767"/>
                  <a:pt x="3097658" y="1065317"/>
                </a:cubicBezTo>
                <a:cubicBezTo>
                  <a:pt x="3101637" y="1067307"/>
                  <a:pt x="3107607" y="1065715"/>
                  <a:pt x="3112382" y="1065715"/>
                </a:cubicBezTo>
                <a:cubicBezTo>
                  <a:pt x="3109596" y="1062134"/>
                  <a:pt x="3107607" y="1056960"/>
                  <a:pt x="3103627" y="1054971"/>
                </a:cubicBezTo>
                <a:cubicBezTo>
                  <a:pt x="3081342" y="1042236"/>
                  <a:pt x="3058659" y="1029900"/>
                  <a:pt x="3035179" y="1017165"/>
                </a:cubicBezTo>
                <a:cubicBezTo>
                  <a:pt x="3039955" y="1007614"/>
                  <a:pt x="3044332" y="998859"/>
                  <a:pt x="3049108" y="989309"/>
                </a:cubicBezTo>
                <a:cubicBezTo>
                  <a:pt x="3069005" y="1000053"/>
                  <a:pt x="3085719" y="1010798"/>
                  <a:pt x="3104025" y="1017961"/>
                </a:cubicBezTo>
                <a:cubicBezTo>
                  <a:pt x="3121137" y="1024726"/>
                  <a:pt x="3139841" y="1027910"/>
                  <a:pt x="3157749" y="1032685"/>
                </a:cubicBezTo>
                <a:cubicBezTo>
                  <a:pt x="3168891" y="1015175"/>
                  <a:pt x="3178840" y="999257"/>
                  <a:pt x="3189187" y="982145"/>
                </a:cubicBezTo>
                <a:cubicBezTo>
                  <a:pt x="3229778" y="1008012"/>
                  <a:pt x="3268777" y="1033083"/>
                  <a:pt x="3308572" y="1058552"/>
                </a:cubicBezTo>
                <a:cubicBezTo>
                  <a:pt x="3360306" y="984533"/>
                  <a:pt x="3411642" y="911708"/>
                  <a:pt x="3463376" y="837689"/>
                </a:cubicBezTo>
                <a:cubicBezTo>
                  <a:pt x="3476110" y="846444"/>
                  <a:pt x="3486855" y="853607"/>
                  <a:pt x="3498793" y="861566"/>
                </a:cubicBezTo>
                <a:cubicBezTo>
                  <a:pt x="3508344" y="849627"/>
                  <a:pt x="3517099" y="838485"/>
                  <a:pt x="3526650" y="825750"/>
                </a:cubicBezTo>
                <a:cubicBezTo>
                  <a:pt x="3538191" y="833709"/>
                  <a:pt x="3548537" y="841270"/>
                  <a:pt x="3559680" y="849230"/>
                </a:cubicBezTo>
                <a:cubicBezTo>
                  <a:pt x="3566047" y="842066"/>
                  <a:pt x="3571619" y="836097"/>
                  <a:pt x="3579578" y="827740"/>
                </a:cubicBezTo>
                <a:cubicBezTo>
                  <a:pt x="3639270" y="878678"/>
                  <a:pt x="3698167" y="928820"/>
                  <a:pt x="3757462" y="979758"/>
                </a:cubicBezTo>
                <a:cubicBezTo>
                  <a:pt x="3750299" y="988911"/>
                  <a:pt x="3745126" y="995278"/>
                  <a:pt x="3737565" y="1004431"/>
                </a:cubicBezTo>
                <a:cubicBezTo>
                  <a:pt x="3746717" y="1010798"/>
                  <a:pt x="3755472" y="1017165"/>
                  <a:pt x="3764625" y="1023930"/>
                </a:cubicBezTo>
                <a:cubicBezTo>
                  <a:pt x="3752289" y="1037461"/>
                  <a:pt x="3742340" y="1048604"/>
                  <a:pt x="3729208" y="1062930"/>
                </a:cubicBezTo>
                <a:cubicBezTo>
                  <a:pt x="3740748" y="1071685"/>
                  <a:pt x="3751095" y="1078848"/>
                  <a:pt x="3762238" y="1087205"/>
                </a:cubicBezTo>
                <a:cubicBezTo>
                  <a:pt x="3673096" y="1174356"/>
                  <a:pt x="3586741" y="1258722"/>
                  <a:pt x="3500385" y="1343486"/>
                </a:cubicBezTo>
                <a:cubicBezTo>
                  <a:pt x="3510732" y="1354629"/>
                  <a:pt x="3519885" y="1364975"/>
                  <a:pt x="3530232" y="1376118"/>
                </a:cubicBezTo>
                <a:cubicBezTo>
                  <a:pt x="3460988" y="1440586"/>
                  <a:pt x="3392540" y="1504258"/>
                  <a:pt x="3322899" y="1569125"/>
                </a:cubicBezTo>
                <a:cubicBezTo>
                  <a:pt x="3341205" y="1581063"/>
                  <a:pt x="3357919" y="1592604"/>
                  <a:pt x="3377816" y="1606134"/>
                </a:cubicBezTo>
                <a:cubicBezTo>
                  <a:pt x="3379806" y="1604144"/>
                  <a:pt x="3382990" y="1600563"/>
                  <a:pt x="3386969" y="1596583"/>
                </a:cubicBezTo>
                <a:cubicBezTo>
                  <a:pt x="3377020" y="1584645"/>
                  <a:pt x="3368663" y="1574696"/>
                  <a:pt x="3359510" y="1563951"/>
                </a:cubicBezTo>
                <a:cubicBezTo>
                  <a:pt x="3365480" y="1558778"/>
                  <a:pt x="3370255" y="1554400"/>
                  <a:pt x="3375826" y="1549625"/>
                </a:cubicBezTo>
                <a:cubicBezTo>
                  <a:pt x="3385377" y="1560370"/>
                  <a:pt x="3394132" y="1569921"/>
                  <a:pt x="3404081" y="1580665"/>
                </a:cubicBezTo>
                <a:cubicBezTo>
                  <a:pt x="3408458" y="1576288"/>
                  <a:pt x="3412438" y="1572706"/>
                  <a:pt x="3416815" y="1568727"/>
                </a:cubicBezTo>
                <a:cubicBezTo>
                  <a:pt x="3407264" y="1557186"/>
                  <a:pt x="3398908" y="1547237"/>
                  <a:pt x="3389755" y="1536493"/>
                </a:cubicBezTo>
                <a:cubicBezTo>
                  <a:pt x="3395724" y="1530921"/>
                  <a:pt x="3400499" y="1526942"/>
                  <a:pt x="3406071" y="1522166"/>
                </a:cubicBezTo>
                <a:cubicBezTo>
                  <a:pt x="3416019" y="1532911"/>
                  <a:pt x="3424774" y="1542860"/>
                  <a:pt x="3434723" y="1553605"/>
                </a:cubicBezTo>
                <a:cubicBezTo>
                  <a:pt x="3439101" y="1550023"/>
                  <a:pt x="3443080" y="1546441"/>
                  <a:pt x="3447856" y="1542462"/>
                </a:cubicBezTo>
                <a:cubicBezTo>
                  <a:pt x="3437907" y="1530921"/>
                  <a:pt x="3429152" y="1520574"/>
                  <a:pt x="3419601" y="1509034"/>
                </a:cubicBezTo>
                <a:cubicBezTo>
                  <a:pt x="3425570" y="1503861"/>
                  <a:pt x="3430346" y="1499881"/>
                  <a:pt x="3436315" y="1494708"/>
                </a:cubicBezTo>
                <a:cubicBezTo>
                  <a:pt x="3446264" y="1505850"/>
                  <a:pt x="3455417" y="1515799"/>
                  <a:pt x="3465763" y="1527340"/>
                </a:cubicBezTo>
                <a:cubicBezTo>
                  <a:pt x="3470141" y="1523360"/>
                  <a:pt x="3474518" y="1519779"/>
                  <a:pt x="3478896" y="1515799"/>
                </a:cubicBezTo>
                <a:cubicBezTo>
                  <a:pt x="3468947" y="1503861"/>
                  <a:pt x="3459794" y="1493514"/>
                  <a:pt x="3449845" y="1481575"/>
                </a:cubicBezTo>
                <a:cubicBezTo>
                  <a:pt x="3455815" y="1476402"/>
                  <a:pt x="3460988" y="1472024"/>
                  <a:pt x="3466559" y="1467249"/>
                </a:cubicBezTo>
                <a:cubicBezTo>
                  <a:pt x="3477702" y="1479187"/>
                  <a:pt x="3487253" y="1489932"/>
                  <a:pt x="3498793" y="1502667"/>
                </a:cubicBezTo>
                <a:cubicBezTo>
                  <a:pt x="3516303" y="1475606"/>
                  <a:pt x="3483273" y="1470433"/>
                  <a:pt x="3482079" y="1452127"/>
                </a:cubicBezTo>
                <a:cubicBezTo>
                  <a:pt x="3486059" y="1448545"/>
                  <a:pt x="3490834" y="1444168"/>
                  <a:pt x="3496406" y="1439790"/>
                </a:cubicBezTo>
                <a:cubicBezTo>
                  <a:pt x="3507548" y="1451729"/>
                  <a:pt x="3517497" y="1462474"/>
                  <a:pt x="3529834" y="1475606"/>
                </a:cubicBezTo>
                <a:cubicBezTo>
                  <a:pt x="3547344" y="1448147"/>
                  <a:pt x="3513916" y="1443372"/>
                  <a:pt x="3512722" y="1424270"/>
                </a:cubicBezTo>
                <a:cubicBezTo>
                  <a:pt x="3516303" y="1421086"/>
                  <a:pt x="3521477" y="1416709"/>
                  <a:pt x="3527048" y="1411934"/>
                </a:cubicBezTo>
                <a:cubicBezTo>
                  <a:pt x="3538589" y="1424270"/>
                  <a:pt x="3548537" y="1435413"/>
                  <a:pt x="3560874" y="1448943"/>
                </a:cubicBezTo>
                <a:cubicBezTo>
                  <a:pt x="3566047" y="1443770"/>
                  <a:pt x="3569629" y="1440586"/>
                  <a:pt x="3573210" y="1436607"/>
                </a:cubicBezTo>
                <a:cubicBezTo>
                  <a:pt x="3561670" y="1422678"/>
                  <a:pt x="3551721" y="1411138"/>
                  <a:pt x="3541374" y="1398801"/>
                </a:cubicBezTo>
                <a:cubicBezTo>
                  <a:pt x="3546946" y="1394026"/>
                  <a:pt x="3551721" y="1389648"/>
                  <a:pt x="3557292" y="1384475"/>
                </a:cubicBezTo>
                <a:cubicBezTo>
                  <a:pt x="3568435" y="1396811"/>
                  <a:pt x="3579180" y="1408352"/>
                  <a:pt x="3590322" y="1420689"/>
                </a:cubicBezTo>
                <a:cubicBezTo>
                  <a:pt x="3594700" y="1416311"/>
                  <a:pt x="3598679" y="1413127"/>
                  <a:pt x="3603057" y="1409148"/>
                </a:cubicBezTo>
                <a:cubicBezTo>
                  <a:pt x="3592312" y="1396413"/>
                  <a:pt x="3581965" y="1384077"/>
                  <a:pt x="3571221" y="1371342"/>
                </a:cubicBezTo>
                <a:cubicBezTo>
                  <a:pt x="3577986" y="1365373"/>
                  <a:pt x="3583557" y="1360598"/>
                  <a:pt x="3590322" y="1354231"/>
                </a:cubicBezTo>
                <a:cubicBezTo>
                  <a:pt x="3604251" y="1369751"/>
                  <a:pt x="3616985" y="1383679"/>
                  <a:pt x="3630118" y="1398801"/>
                </a:cubicBezTo>
                <a:cubicBezTo>
                  <a:pt x="3644046" y="1387658"/>
                  <a:pt x="3656780" y="1377312"/>
                  <a:pt x="3671903" y="1364975"/>
                </a:cubicBezTo>
                <a:cubicBezTo>
                  <a:pt x="3710902" y="1416311"/>
                  <a:pt x="3749105" y="1466851"/>
                  <a:pt x="3787707" y="1517789"/>
                </a:cubicBezTo>
                <a:cubicBezTo>
                  <a:pt x="3771390" y="1529329"/>
                  <a:pt x="3757860" y="1538880"/>
                  <a:pt x="3743932" y="1548829"/>
                </a:cubicBezTo>
                <a:cubicBezTo>
                  <a:pt x="3756268" y="1567931"/>
                  <a:pt x="3767411" y="1585441"/>
                  <a:pt x="3779350" y="1604144"/>
                </a:cubicBezTo>
                <a:cubicBezTo>
                  <a:pt x="3713687" y="1645531"/>
                  <a:pt x="3649219" y="1685724"/>
                  <a:pt x="3585547" y="1725918"/>
                </a:cubicBezTo>
                <a:cubicBezTo>
                  <a:pt x="3611016" y="1771682"/>
                  <a:pt x="3635291" y="1814263"/>
                  <a:pt x="3659964" y="1858436"/>
                </a:cubicBezTo>
                <a:cubicBezTo>
                  <a:pt x="3675086" y="1834956"/>
                  <a:pt x="3683841" y="1830579"/>
                  <a:pt x="3698565" y="1834161"/>
                </a:cubicBezTo>
                <a:cubicBezTo>
                  <a:pt x="3710902" y="1824610"/>
                  <a:pt x="3720453" y="1817049"/>
                  <a:pt x="3732789" y="1807498"/>
                </a:cubicBezTo>
                <a:cubicBezTo>
                  <a:pt x="3754676" y="1856048"/>
                  <a:pt x="3774574" y="1900221"/>
                  <a:pt x="3794870" y="1944791"/>
                </a:cubicBezTo>
                <a:cubicBezTo>
                  <a:pt x="3811982" y="1938424"/>
                  <a:pt x="3827900" y="1932455"/>
                  <a:pt x="3844216" y="1926088"/>
                </a:cubicBezTo>
                <a:cubicBezTo>
                  <a:pt x="3850583" y="1941210"/>
                  <a:pt x="3856154" y="1954342"/>
                  <a:pt x="3861726" y="1968270"/>
                </a:cubicBezTo>
                <a:cubicBezTo>
                  <a:pt x="3875654" y="1963495"/>
                  <a:pt x="3887990" y="1959118"/>
                  <a:pt x="3902317" y="1954342"/>
                </a:cubicBezTo>
                <a:cubicBezTo>
                  <a:pt x="3917041" y="2002096"/>
                  <a:pt x="3931367" y="2047861"/>
                  <a:pt x="3946091" y="2094421"/>
                </a:cubicBezTo>
                <a:cubicBezTo>
                  <a:pt x="3930571" y="2098799"/>
                  <a:pt x="3918235" y="2102778"/>
                  <a:pt x="3905102" y="2106360"/>
                </a:cubicBezTo>
                <a:cubicBezTo>
                  <a:pt x="3909082" y="2123472"/>
                  <a:pt x="3912663" y="2138992"/>
                  <a:pt x="3916643" y="2155706"/>
                </a:cubicBezTo>
                <a:cubicBezTo>
                  <a:pt x="3870083" y="2166849"/>
                  <a:pt x="3824716" y="2177593"/>
                  <a:pt x="3782135" y="2187940"/>
                </a:cubicBezTo>
                <a:cubicBezTo>
                  <a:pt x="3795268" y="2281857"/>
                  <a:pt x="3808400" y="2373385"/>
                  <a:pt x="3821533" y="2467700"/>
                </a:cubicBezTo>
                <a:cubicBezTo>
                  <a:pt x="3764227" y="2470884"/>
                  <a:pt x="3712096" y="2473669"/>
                  <a:pt x="3659964" y="2476455"/>
                </a:cubicBezTo>
                <a:cubicBezTo>
                  <a:pt x="3659964" y="2530576"/>
                  <a:pt x="3659964" y="2581912"/>
                  <a:pt x="3659964" y="2634442"/>
                </a:cubicBezTo>
                <a:cubicBezTo>
                  <a:pt x="3673494" y="2635238"/>
                  <a:pt x="3686229" y="2636432"/>
                  <a:pt x="3698565" y="2637228"/>
                </a:cubicBezTo>
                <a:cubicBezTo>
                  <a:pt x="3732789" y="2639615"/>
                  <a:pt x="3767411" y="2641605"/>
                  <a:pt x="3801635" y="2643595"/>
                </a:cubicBezTo>
                <a:cubicBezTo>
                  <a:pt x="3812778" y="2643993"/>
                  <a:pt x="3819941" y="2647177"/>
                  <a:pt x="3811584" y="2659911"/>
                </a:cubicBezTo>
                <a:cubicBezTo>
                  <a:pt x="3760248" y="2656727"/>
                  <a:pt x="3709708" y="2653146"/>
                  <a:pt x="3656780" y="2649564"/>
                </a:cubicBezTo>
                <a:cubicBezTo>
                  <a:pt x="3655984" y="2665084"/>
                  <a:pt x="3655188" y="2678615"/>
                  <a:pt x="3653995" y="2694533"/>
                </a:cubicBezTo>
                <a:cubicBezTo>
                  <a:pt x="3706524" y="2705675"/>
                  <a:pt x="3756666" y="2716022"/>
                  <a:pt x="3808002" y="2726767"/>
                </a:cubicBezTo>
                <a:cubicBezTo>
                  <a:pt x="3801635" y="2745073"/>
                  <a:pt x="3813971" y="2752634"/>
                  <a:pt x="3828696" y="2761389"/>
                </a:cubicBezTo>
                <a:cubicBezTo>
                  <a:pt x="3874062" y="2788450"/>
                  <a:pt x="3913857" y="2822275"/>
                  <a:pt x="3946887" y="2863662"/>
                </a:cubicBezTo>
                <a:cubicBezTo>
                  <a:pt x="4063089" y="3008915"/>
                  <a:pt x="4086966" y="3174463"/>
                  <a:pt x="4050753" y="3351949"/>
                </a:cubicBezTo>
                <a:cubicBezTo>
                  <a:pt x="4032049" y="3443478"/>
                  <a:pt x="3993846" y="3527048"/>
                  <a:pt x="3941316" y="3603853"/>
                </a:cubicBezTo>
                <a:cubicBezTo>
                  <a:pt x="3934949" y="3612608"/>
                  <a:pt x="3929377" y="3620965"/>
                  <a:pt x="3947683" y="3623751"/>
                </a:cubicBezTo>
                <a:cubicBezTo>
                  <a:pt x="3973152" y="3580772"/>
                  <a:pt x="3998621" y="3537793"/>
                  <a:pt x="4024886" y="3494018"/>
                </a:cubicBezTo>
                <a:cubicBezTo>
                  <a:pt x="4047967" y="3506753"/>
                  <a:pt x="4069854" y="3518691"/>
                  <a:pt x="4094130" y="3531824"/>
                </a:cubicBezTo>
                <a:cubicBezTo>
                  <a:pt x="4065477" y="3579976"/>
                  <a:pt x="4037620" y="3626934"/>
                  <a:pt x="4009366" y="3674688"/>
                </a:cubicBezTo>
                <a:cubicBezTo>
                  <a:pt x="4015733" y="3679066"/>
                  <a:pt x="4021304" y="3682647"/>
                  <a:pt x="4028069" y="3687025"/>
                </a:cubicBezTo>
                <a:cubicBezTo>
                  <a:pt x="4055926" y="3640465"/>
                  <a:pt x="4082987" y="3595496"/>
                  <a:pt x="4110446" y="3549732"/>
                </a:cubicBezTo>
                <a:cubicBezTo>
                  <a:pt x="4133129" y="3562068"/>
                  <a:pt x="4154618" y="3574007"/>
                  <a:pt x="4177700" y="3586741"/>
                </a:cubicBezTo>
                <a:cubicBezTo>
                  <a:pt x="4148251" y="3636485"/>
                  <a:pt x="4119599" y="3684637"/>
                  <a:pt x="4089752" y="3734381"/>
                </a:cubicBezTo>
                <a:cubicBezTo>
                  <a:pt x="4095722" y="3738361"/>
                  <a:pt x="4101691" y="3742738"/>
                  <a:pt x="4109650" y="3748309"/>
                </a:cubicBezTo>
                <a:cubicBezTo>
                  <a:pt x="4138700" y="3699760"/>
                  <a:pt x="4166955" y="3653199"/>
                  <a:pt x="4195608" y="3605445"/>
                </a:cubicBezTo>
                <a:cubicBezTo>
                  <a:pt x="4217097" y="3617383"/>
                  <a:pt x="4238188" y="3628924"/>
                  <a:pt x="4261270" y="3641658"/>
                </a:cubicBezTo>
                <a:cubicBezTo>
                  <a:pt x="4230229" y="3693392"/>
                  <a:pt x="4199985" y="3743534"/>
                  <a:pt x="4169343" y="3794472"/>
                </a:cubicBezTo>
                <a:cubicBezTo>
                  <a:pt x="4176505" y="3799645"/>
                  <a:pt x="4182475" y="3804421"/>
                  <a:pt x="4190434" y="3810390"/>
                </a:cubicBezTo>
                <a:cubicBezTo>
                  <a:pt x="4221077" y="3760248"/>
                  <a:pt x="4250525" y="3711698"/>
                  <a:pt x="4280769" y="3661954"/>
                </a:cubicBezTo>
                <a:cubicBezTo>
                  <a:pt x="4301860" y="3673893"/>
                  <a:pt x="4322554" y="3685035"/>
                  <a:pt x="4344442" y="3697372"/>
                </a:cubicBezTo>
                <a:cubicBezTo>
                  <a:pt x="4311411" y="3751095"/>
                  <a:pt x="4279973" y="3803227"/>
                  <a:pt x="4247739" y="3856155"/>
                </a:cubicBezTo>
                <a:cubicBezTo>
                  <a:pt x="4254902" y="3862124"/>
                  <a:pt x="4262065" y="3867695"/>
                  <a:pt x="4270422" y="3874460"/>
                </a:cubicBezTo>
                <a:cubicBezTo>
                  <a:pt x="4275198" y="3868491"/>
                  <a:pt x="4278780" y="3863318"/>
                  <a:pt x="4283157" y="3858542"/>
                </a:cubicBezTo>
                <a:cubicBezTo>
                  <a:pt x="4314197" y="3822727"/>
                  <a:pt x="4344043" y="3786513"/>
                  <a:pt x="4376278" y="3752289"/>
                </a:cubicBezTo>
                <a:cubicBezTo>
                  <a:pt x="4387818" y="3739953"/>
                  <a:pt x="4403338" y="3731198"/>
                  <a:pt x="4418461" y="3723239"/>
                </a:cubicBezTo>
                <a:cubicBezTo>
                  <a:pt x="4431991" y="3716075"/>
                  <a:pt x="4442736" y="3722443"/>
                  <a:pt x="4443531" y="3737963"/>
                </a:cubicBezTo>
                <a:cubicBezTo>
                  <a:pt x="4444327" y="3752289"/>
                  <a:pt x="4444725" y="3767809"/>
                  <a:pt x="4439950" y="3780942"/>
                </a:cubicBezTo>
                <a:cubicBezTo>
                  <a:pt x="4422838" y="3829094"/>
                  <a:pt x="4404532" y="3876450"/>
                  <a:pt x="4384635" y="3923408"/>
                </a:cubicBezTo>
                <a:cubicBezTo>
                  <a:pt x="4372696" y="3951265"/>
                  <a:pt x="4371104" y="3955643"/>
                  <a:pt x="4394186" y="3976336"/>
                </a:cubicBezTo>
                <a:cubicBezTo>
                  <a:pt x="4438358" y="4015335"/>
                  <a:pt x="4483326" y="4053539"/>
                  <a:pt x="4527897" y="4092140"/>
                </a:cubicBezTo>
                <a:cubicBezTo>
                  <a:pt x="4532275" y="4096120"/>
                  <a:pt x="4537448" y="4098905"/>
                  <a:pt x="4546203" y="4104079"/>
                </a:cubicBezTo>
                <a:cubicBezTo>
                  <a:pt x="4546203" y="4106864"/>
                  <a:pt x="4546203" y="4109252"/>
                  <a:pt x="4546203" y="4112038"/>
                </a:cubicBezTo>
                <a:cubicBezTo>
                  <a:pt x="4541826" y="4115221"/>
                  <a:pt x="4537448" y="4118803"/>
                  <a:pt x="4531479" y="4123181"/>
                </a:cubicBezTo>
                <a:cubicBezTo>
                  <a:pt x="4465021" y="4086966"/>
                  <a:pt x="4398165" y="4050753"/>
                  <a:pt x="4330513" y="4014142"/>
                </a:cubicBezTo>
                <a:cubicBezTo>
                  <a:pt x="4325738" y="4019713"/>
                  <a:pt x="4321360" y="4024488"/>
                  <a:pt x="4317381" y="4029662"/>
                </a:cubicBezTo>
                <a:cubicBezTo>
                  <a:pt x="4281963" y="4072242"/>
                  <a:pt x="4244954" y="4112833"/>
                  <a:pt x="4198393" y="4143078"/>
                </a:cubicBezTo>
                <a:cubicBezTo>
                  <a:pt x="4180883" y="4154220"/>
                  <a:pt x="4160190" y="4172128"/>
                  <a:pt x="4140690" y="4156608"/>
                </a:cubicBezTo>
                <a:cubicBezTo>
                  <a:pt x="4121986" y="4141486"/>
                  <a:pt x="4133925" y="4117211"/>
                  <a:pt x="4142282" y="4099303"/>
                </a:cubicBezTo>
                <a:cubicBezTo>
                  <a:pt x="4160190" y="4060304"/>
                  <a:pt x="4181281" y="4022498"/>
                  <a:pt x="4201577" y="3984693"/>
                </a:cubicBezTo>
                <a:cubicBezTo>
                  <a:pt x="4207546" y="3973152"/>
                  <a:pt x="4215107" y="3962408"/>
                  <a:pt x="4222668" y="3950867"/>
                </a:cubicBezTo>
                <a:cubicBezTo>
                  <a:pt x="4213117" y="3945296"/>
                  <a:pt x="4205556" y="3940520"/>
                  <a:pt x="4197597" y="3935745"/>
                </a:cubicBezTo>
                <a:cubicBezTo>
                  <a:pt x="4159792" y="3983897"/>
                  <a:pt x="4122384" y="4031253"/>
                  <a:pt x="4084579" y="4079406"/>
                </a:cubicBezTo>
                <a:cubicBezTo>
                  <a:pt x="4064283" y="4062294"/>
                  <a:pt x="4046375" y="4047172"/>
                  <a:pt x="4028865" y="4032447"/>
                </a:cubicBezTo>
                <a:cubicBezTo>
                  <a:pt x="4064681" y="3986683"/>
                  <a:pt x="4098905" y="3942908"/>
                  <a:pt x="4134323" y="3897940"/>
                </a:cubicBezTo>
                <a:cubicBezTo>
                  <a:pt x="4125568" y="3892368"/>
                  <a:pt x="4119200" y="3888389"/>
                  <a:pt x="4112037" y="3884011"/>
                </a:cubicBezTo>
                <a:cubicBezTo>
                  <a:pt x="4075426" y="3930174"/>
                  <a:pt x="4039610" y="3975142"/>
                  <a:pt x="4002999" y="4021703"/>
                </a:cubicBezTo>
                <a:cubicBezTo>
                  <a:pt x="3983101" y="4004591"/>
                  <a:pt x="3964795" y="3989070"/>
                  <a:pt x="3946091" y="3973152"/>
                </a:cubicBezTo>
                <a:cubicBezTo>
                  <a:pt x="3980713" y="3929776"/>
                  <a:pt x="4013743" y="3887593"/>
                  <a:pt x="4047967" y="3844216"/>
                </a:cubicBezTo>
                <a:cubicBezTo>
                  <a:pt x="4039610" y="3839043"/>
                  <a:pt x="4033243" y="3835063"/>
                  <a:pt x="4027274" y="3831482"/>
                </a:cubicBezTo>
                <a:cubicBezTo>
                  <a:pt x="3991458" y="3876450"/>
                  <a:pt x="3956836" y="3919429"/>
                  <a:pt x="3921816" y="3963204"/>
                </a:cubicBezTo>
                <a:cubicBezTo>
                  <a:pt x="3900327" y="3944898"/>
                  <a:pt x="3882021" y="3928980"/>
                  <a:pt x="3863715" y="3913062"/>
                </a:cubicBezTo>
                <a:cubicBezTo>
                  <a:pt x="3897143" y="3870481"/>
                  <a:pt x="3929377" y="3830288"/>
                  <a:pt x="3962010" y="3788901"/>
                </a:cubicBezTo>
                <a:cubicBezTo>
                  <a:pt x="3954051" y="3784125"/>
                  <a:pt x="3948877" y="3780544"/>
                  <a:pt x="3943306" y="3776962"/>
                </a:cubicBezTo>
                <a:cubicBezTo>
                  <a:pt x="3909082" y="3819543"/>
                  <a:pt x="3875654" y="3861328"/>
                  <a:pt x="3841430" y="3903909"/>
                </a:cubicBezTo>
                <a:cubicBezTo>
                  <a:pt x="3819941" y="3885205"/>
                  <a:pt x="3800839" y="3868491"/>
                  <a:pt x="3781737" y="3852175"/>
                </a:cubicBezTo>
                <a:cubicBezTo>
                  <a:pt x="3813971" y="3811584"/>
                  <a:pt x="3845012" y="3772983"/>
                  <a:pt x="3876450" y="3733585"/>
                </a:cubicBezTo>
                <a:cubicBezTo>
                  <a:pt x="3868491" y="3728810"/>
                  <a:pt x="3863715" y="3726024"/>
                  <a:pt x="3858940" y="3723239"/>
                </a:cubicBezTo>
                <a:cubicBezTo>
                  <a:pt x="3825910" y="3763830"/>
                  <a:pt x="3793676" y="3803227"/>
                  <a:pt x="3761044" y="3843818"/>
                </a:cubicBezTo>
                <a:cubicBezTo>
                  <a:pt x="3750299" y="3834267"/>
                  <a:pt x="3741544" y="3826308"/>
                  <a:pt x="3731993" y="3819145"/>
                </a:cubicBezTo>
                <a:cubicBezTo>
                  <a:pt x="3728412" y="3816359"/>
                  <a:pt x="3721646" y="3813574"/>
                  <a:pt x="3718463" y="3815166"/>
                </a:cubicBezTo>
                <a:cubicBezTo>
                  <a:pt x="3694984" y="3826308"/>
                  <a:pt x="3671903" y="3838247"/>
                  <a:pt x="3647229" y="3850981"/>
                </a:cubicBezTo>
                <a:cubicBezTo>
                  <a:pt x="3687423" y="3889185"/>
                  <a:pt x="3726024" y="3925796"/>
                  <a:pt x="3770197" y="3967979"/>
                </a:cubicBezTo>
                <a:cubicBezTo>
                  <a:pt x="3750299" y="3982703"/>
                  <a:pt x="3732789" y="3996234"/>
                  <a:pt x="3714086" y="4010560"/>
                </a:cubicBezTo>
                <a:cubicBezTo>
                  <a:pt x="3723636" y="4019315"/>
                  <a:pt x="3728014" y="4023692"/>
                  <a:pt x="3734381" y="4029662"/>
                </a:cubicBezTo>
                <a:cubicBezTo>
                  <a:pt x="3750697" y="4012948"/>
                  <a:pt x="3766615" y="3997029"/>
                  <a:pt x="3783329" y="3980316"/>
                </a:cubicBezTo>
                <a:cubicBezTo>
                  <a:pt x="3789696" y="3987479"/>
                  <a:pt x="3795666" y="3993846"/>
                  <a:pt x="3802431" y="4001009"/>
                </a:cubicBezTo>
                <a:cubicBezTo>
                  <a:pt x="3794472" y="4009764"/>
                  <a:pt x="3786513" y="4018519"/>
                  <a:pt x="3774574" y="4031651"/>
                </a:cubicBezTo>
                <a:cubicBezTo>
                  <a:pt x="3785717" y="4038417"/>
                  <a:pt x="3795666" y="4044784"/>
                  <a:pt x="3806410" y="4051549"/>
                </a:cubicBezTo>
                <a:cubicBezTo>
                  <a:pt x="3793278" y="4065079"/>
                  <a:pt x="3784523" y="4074630"/>
                  <a:pt x="3770197" y="4089355"/>
                </a:cubicBezTo>
                <a:cubicBezTo>
                  <a:pt x="3793278" y="4109252"/>
                  <a:pt x="3815961" y="4128354"/>
                  <a:pt x="3840236" y="4149445"/>
                </a:cubicBezTo>
                <a:cubicBezTo>
                  <a:pt x="3826706" y="4161384"/>
                  <a:pt x="3815961" y="4170139"/>
                  <a:pt x="3804819" y="4180087"/>
                </a:cubicBezTo>
                <a:cubicBezTo>
                  <a:pt x="3831879" y="4208740"/>
                  <a:pt x="3857348" y="4236199"/>
                  <a:pt x="3884011" y="4264851"/>
                </a:cubicBezTo>
                <a:cubicBezTo>
                  <a:pt x="3860930" y="4285943"/>
                  <a:pt x="3839042" y="4305840"/>
                  <a:pt x="3816359" y="4326136"/>
                </a:cubicBezTo>
                <a:cubicBezTo>
                  <a:pt x="3790492" y="4296290"/>
                  <a:pt x="3765819" y="4268035"/>
                  <a:pt x="3741146" y="4239382"/>
                </a:cubicBezTo>
                <a:cubicBezTo>
                  <a:pt x="3728412" y="4249331"/>
                  <a:pt x="3717667" y="4258086"/>
                  <a:pt x="3706127" y="4267637"/>
                </a:cubicBezTo>
                <a:cubicBezTo>
                  <a:pt x="3686229" y="4244158"/>
                  <a:pt x="3667127" y="4221872"/>
                  <a:pt x="3648025" y="4199189"/>
                </a:cubicBezTo>
                <a:cubicBezTo>
                  <a:pt x="3637679" y="4206751"/>
                  <a:pt x="3628924" y="4213516"/>
                  <a:pt x="3619373" y="4220679"/>
                </a:cubicBezTo>
                <a:cubicBezTo>
                  <a:pt x="3610618" y="4211128"/>
                  <a:pt x="3603057" y="4202373"/>
                  <a:pt x="3595098" y="4193220"/>
                </a:cubicBezTo>
                <a:cubicBezTo>
                  <a:pt x="3584751" y="4200781"/>
                  <a:pt x="3575996" y="4207148"/>
                  <a:pt x="3566445" y="4214311"/>
                </a:cubicBezTo>
                <a:cubicBezTo>
                  <a:pt x="3494018" y="4121589"/>
                  <a:pt x="3423183" y="4030060"/>
                  <a:pt x="3351551" y="3937735"/>
                </a:cubicBezTo>
                <a:cubicBezTo>
                  <a:pt x="3332450" y="3952061"/>
                  <a:pt x="3315338" y="3965193"/>
                  <a:pt x="3297828" y="3978326"/>
                </a:cubicBezTo>
                <a:cubicBezTo>
                  <a:pt x="3304195" y="3987877"/>
                  <a:pt x="3309368" y="3995836"/>
                  <a:pt x="3314940" y="4004591"/>
                </a:cubicBezTo>
                <a:cubicBezTo>
                  <a:pt x="3302205" y="4014142"/>
                  <a:pt x="3290665" y="4022896"/>
                  <a:pt x="3278726" y="4031651"/>
                </a:cubicBezTo>
                <a:cubicBezTo>
                  <a:pt x="3288675" y="4046773"/>
                  <a:pt x="3297430" y="4060702"/>
                  <a:pt x="3307379" y="4075824"/>
                </a:cubicBezTo>
                <a:cubicBezTo>
                  <a:pt x="3264798" y="4102089"/>
                  <a:pt x="3224207" y="4127558"/>
                  <a:pt x="3182422" y="4153425"/>
                </a:cubicBezTo>
                <a:cubicBezTo>
                  <a:pt x="3172871" y="4136710"/>
                  <a:pt x="3164514" y="4122384"/>
                  <a:pt x="3155759" y="4107660"/>
                </a:cubicBezTo>
                <a:cubicBezTo>
                  <a:pt x="3140637" y="4115619"/>
                  <a:pt x="3126708" y="4122782"/>
                  <a:pt x="3111188" y="4131140"/>
                </a:cubicBezTo>
                <a:cubicBezTo>
                  <a:pt x="3088505" y="4088558"/>
                  <a:pt x="3066220" y="4046773"/>
                  <a:pt x="3043537" y="4004193"/>
                </a:cubicBezTo>
                <a:cubicBezTo>
                  <a:pt x="3023241" y="4014539"/>
                  <a:pt x="3005333" y="4024090"/>
                  <a:pt x="2986629" y="4033641"/>
                </a:cubicBezTo>
                <a:cubicBezTo>
                  <a:pt x="3056669" y="4180087"/>
                  <a:pt x="3126311" y="4324942"/>
                  <a:pt x="3196350" y="4470990"/>
                </a:cubicBezTo>
                <a:cubicBezTo>
                  <a:pt x="3184014" y="4476960"/>
                  <a:pt x="3173269" y="4482133"/>
                  <a:pt x="3162524" y="4486908"/>
                </a:cubicBezTo>
                <a:cubicBezTo>
                  <a:pt x="3159738" y="4488102"/>
                  <a:pt x="3155361" y="4487307"/>
                  <a:pt x="3151779" y="4487307"/>
                </a:cubicBezTo>
                <a:cubicBezTo>
                  <a:pt x="3145014" y="4486908"/>
                  <a:pt x="3137453" y="4484123"/>
                  <a:pt x="3131882" y="4486113"/>
                </a:cubicBezTo>
                <a:cubicBezTo>
                  <a:pt x="3049108" y="4515959"/>
                  <a:pt x="2966732" y="4546601"/>
                  <a:pt x="2883958" y="4577244"/>
                </a:cubicBezTo>
                <a:cubicBezTo>
                  <a:pt x="2879182" y="4579233"/>
                  <a:pt x="2870427" y="4580825"/>
                  <a:pt x="2870029" y="4583213"/>
                </a:cubicBezTo>
                <a:cubicBezTo>
                  <a:pt x="2867244" y="4609876"/>
                  <a:pt x="2844561" y="4596743"/>
                  <a:pt x="2831428" y="4607488"/>
                </a:cubicBezTo>
                <a:cubicBezTo>
                  <a:pt x="2799990" y="4490888"/>
                  <a:pt x="2769745" y="4378666"/>
                  <a:pt x="2739103" y="4264851"/>
                </a:cubicBezTo>
                <a:cubicBezTo>
                  <a:pt x="2730746" y="4267239"/>
                  <a:pt x="2723981" y="4269229"/>
                  <a:pt x="2715624" y="4271616"/>
                </a:cubicBezTo>
                <a:cubicBezTo>
                  <a:pt x="2719604" y="4288729"/>
                  <a:pt x="2723185" y="4304647"/>
                  <a:pt x="2727563" y="4323748"/>
                </a:cubicBezTo>
                <a:cubicBezTo>
                  <a:pt x="2664288" y="4336085"/>
                  <a:pt x="2602606" y="4348421"/>
                  <a:pt x="2539729" y="4360758"/>
                </a:cubicBezTo>
                <a:cubicBezTo>
                  <a:pt x="2536148" y="4340462"/>
                  <a:pt x="2533362" y="4325340"/>
                  <a:pt x="2530576" y="4308228"/>
                </a:cubicBezTo>
                <a:cubicBezTo>
                  <a:pt x="2508291" y="4310616"/>
                  <a:pt x="2487598" y="4312606"/>
                  <a:pt x="2465710" y="4314993"/>
                </a:cubicBezTo>
                <a:cubicBezTo>
                  <a:pt x="2464118" y="4305044"/>
                  <a:pt x="2462925" y="4297483"/>
                  <a:pt x="2462129" y="4289524"/>
                </a:cubicBezTo>
                <a:cubicBezTo>
                  <a:pt x="2452578" y="4199189"/>
                  <a:pt x="2443027" y="4108854"/>
                  <a:pt x="2433476" y="4018519"/>
                </a:cubicBezTo>
                <a:cubicBezTo>
                  <a:pt x="2431486" y="4002203"/>
                  <a:pt x="2431088" y="4001805"/>
                  <a:pt x="2413181" y="4009366"/>
                </a:cubicBezTo>
                <a:cubicBezTo>
                  <a:pt x="2443027" y="4331309"/>
                  <a:pt x="2473271" y="4653650"/>
                  <a:pt x="2503118" y="4975594"/>
                </a:cubicBezTo>
                <a:cubicBezTo>
                  <a:pt x="2491179" y="4977981"/>
                  <a:pt x="2483220" y="4979175"/>
                  <a:pt x="2474465" y="4980767"/>
                </a:cubicBezTo>
                <a:cubicBezTo>
                  <a:pt x="2476057" y="5004644"/>
                  <a:pt x="2477649" y="5026929"/>
                  <a:pt x="2479241" y="5049612"/>
                </a:cubicBezTo>
                <a:cubicBezTo>
                  <a:pt x="2468098" y="5051204"/>
                  <a:pt x="2459343" y="5052796"/>
                  <a:pt x="2449792" y="5054388"/>
                </a:cubicBezTo>
                <a:cubicBezTo>
                  <a:pt x="2449792" y="5065531"/>
                  <a:pt x="2449792" y="5075082"/>
                  <a:pt x="2449792" y="5085428"/>
                </a:cubicBezTo>
                <a:cubicBezTo>
                  <a:pt x="2422732" y="5087816"/>
                  <a:pt x="2396467" y="5090204"/>
                  <a:pt x="2370202" y="5092591"/>
                </a:cubicBezTo>
                <a:cubicBezTo>
                  <a:pt x="2334386" y="5092591"/>
                  <a:pt x="2298571" y="5092591"/>
                  <a:pt x="2262755" y="5092591"/>
                </a:cubicBezTo>
                <a:cubicBezTo>
                  <a:pt x="2262755" y="5082245"/>
                  <a:pt x="2262755" y="5071500"/>
                  <a:pt x="2262755" y="5059561"/>
                </a:cubicBezTo>
                <a:cubicBezTo>
                  <a:pt x="2242459" y="5059561"/>
                  <a:pt x="2223357" y="5059561"/>
                  <a:pt x="2203062" y="5059561"/>
                </a:cubicBezTo>
                <a:cubicBezTo>
                  <a:pt x="2203062" y="5071500"/>
                  <a:pt x="2203062" y="5082245"/>
                  <a:pt x="2203062" y="5092591"/>
                </a:cubicBezTo>
                <a:cubicBezTo>
                  <a:pt x="2195103" y="5092591"/>
                  <a:pt x="2187144" y="5092591"/>
                  <a:pt x="2179185" y="5092591"/>
                </a:cubicBezTo>
                <a:cubicBezTo>
                  <a:pt x="2169236" y="5091795"/>
                  <a:pt x="2159685" y="5090204"/>
                  <a:pt x="2149736" y="5089408"/>
                </a:cubicBezTo>
                <a:cubicBezTo>
                  <a:pt x="2105166" y="5085826"/>
                  <a:pt x="2060197" y="5083041"/>
                  <a:pt x="2016422" y="5079857"/>
                </a:cubicBezTo>
                <a:cubicBezTo>
                  <a:pt x="2011647" y="5065133"/>
                  <a:pt x="2027167" y="5044837"/>
                  <a:pt x="2000504" y="5042847"/>
                </a:cubicBezTo>
                <a:cubicBezTo>
                  <a:pt x="2002892" y="5019368"/>
                  <a:pt x="2004882" y="4997481"/>
                  <a:pt x="2007270" y="4974399"/>
                </a:cubicBezTo>
                <a:cubicBezTo>
                  <a:pt x="1995729" y="4972012"/>
                  <a:pt x="1985780" y="4970022"/>
                  <a:pt x="1974637" y="4967634"/>
                </a:cubicBezTo>
                <a:cubicBezTo>
                  <a:pt x="2004086" y="4729659"/>
                  <a:pt x="2033136" y="4492878"/>
                  <a:pt x="2062187" y="4255300"/>
                </a:cubicBezTo>
                <a:cubicBezTo>
                  <a:pt x="2032341" y="4250923"/>
                  <a:pt x="2006076" y="4247341"/>
                  <a:pt x="1978219" y="4243362"/>
                </a:cubicBezTo>
                <a:cubicBezTo>
                  <a:pt x="1956332" y="4368717"/>
                  <a:pt x="1934842" y="4491684"/>
                  <a:pt x="1913353" y="4615845"/>
                </a:cubicBezTo>
                <a:cubicBezTo>
                  <a:pt x="1901414" y="4614253"/>
                  <a:pt x="1891864" y="4613059"/>
                  <a:pt x="1880721" y="4611467"/>
                </a:cubicBezTo>
                <a:cubicBezTo>
                  <a:pt x="1877139" y="4627783"/>
                  <a:pt x="1873956" y="4643304"/>
                  <a:pt x="1870374" y="4659620"/>
                </a:cubicBezTo>
                <a:cubicBezTo>
                  <a:pt x="1858834" y="4658028"/>
                  <a:pt x="1848885" y="4656834"/>
                  <a:pt x="1838538" y="4655242"/>
                </a:cubicBezTo>
                <a:cubicBezTo>
                  <a:pt x="1835752" y="4662803"/>
                  <a:pt x="1832967" y="4669171"/>
                  <a:pt x="1829783" y="4677925"/>
                </a:cubicBezTo>
                <a:cubicBezTo>
                  <a:pt x="1766111" y="4661609"/>
                  <a:pt x="1703632" y="4645293"/>
                  <a:pt x="1640756" y="4629375"/>
                </a:cubicBezTo>
                <a:cubicBezTo>
                  <a:pt x="1643144" y="4619427"/>
                  <a:pt x="1644337" y="4613059"/>
                  <a:pt x="1645929" y="4605498"/>
                </a:cubicBezTo>
                <a:cubicBezTo>
                  <a:pt x="1619664" y="4596743"/>
                  <a:pt x="1594196" y="4588386"/>
                  <a:pt x="1568329" y="4580029"/>
                </a:cubicBezTo>
                <a:cubicBezTo>
                  <a:pt x="1565145" y="4587988"/>
                  <a:pt x="1562359" y="4593957"/>
                  <a:pt x="1558380" y="4602713"/>
                </a:cubicBezTo>
                <a:cubicBezTo>
                  <a:pt x="1497493" y="4578437"/>
                  <a:pt x="1437005" y="4554162"/>
                  <a:pt x="1375720" y="4529887"/>
                </a:cubicBezTo>
                <a:cubicBezTo>
                  <a:pt x="1379699" y="4520336"/>
                  <a:pt x="1381689" y="4514367"/>
                  <a:pt x="1384475" y="4508000"/>
                </a:cubicBezTo>
                <a:cubicBezTo>
                  <a:pt x="1378506" y="4504020"/>
                  <a:pt x="1373730" y="4500837"/>
                  <a:pt x="1368557" y="4497255"/>
                </a:cubicBezTo>
                <a:cubicBezTo>
                  <a:pt x="1375322" y="4482133"/>
                  <a:pt x="1381689" y="4468205"/>
                  <a:pt x="1388454" y="4453082"/>
                </a:cubicBezTo>
                <a:cubicBezTo>
                  <a:pt x="1376516" y="4447113"/>
                  <a:pt x="1366169" y="4441542"/>
                  <a:pt x="1354628" y="4435573"/>
                </a:cubicBezTo>
                <a:cubicBezTo>
                  <a:pt x="1435015" y="4270423"/>
                  <a:pt x="1515401" y="4106068"/>
                  <a:pt x="1595389" y="3941714"/>
                </a:cubicBezTo>
                <a:cubicBezTo>
                  <a:pt x="1591012" y="3936939"/>
                  <a:pt x="1587430" y="3932959"/>
                  <a:pt x="1583849" y="3929378"/>
                </a:cubicBezTo>
                <a:cubicBezTo>
                  <a:pt x="1606930" y="3882021"/>
                  <a:pt x="1630011" y="3836257"/>
                  <a:pt x="1652694" y="3790493"/>
                </a:cubicBezTo>
                <a:cubicBezTo>
                  <a:pt x="1649909" y="3789299"/>
                  <a:pt x="1647123" y="3787707"/>
                  <a:pt x="1644337" y="3786513"/>
                </a:cubicBezTo>
                <a:cubicBezTo>
                  <a:pt x="1620460" y="3832675"/>
                  <a:pt x="1596583" y="3879236"/>
                  <a:pt x="1573104" y="3925398"/>
                </a:cubicBezTo>
                <a:cubicBezTo>
                  <a:pt x="1558778" y="3923010"/>
                  <a:pt x="1559176" y="3917041"/>
                  <a:pt x="1564349" y="3907092"/>
                </a:cubicBezTo>
                <a:cubicBezTo>
                  <a:pt x="1586634" y="3865307"/>
                  <a:pt x="1608522" y="3823125"/>
                  <a:pt x="1631205" y="3779350"/>
                </a:cubicBezTo>
                <a:cubicBezTo>
                  <a:pt x="1615287" y="3770993"/>
                  <a:pt x="1600563" y="3763034"/>
                  <a:pt x="1582655" y="3753483"/>
                </a:cubicBezTo>
                <a:cubicBezTo>
                  <a:pt x="1592206" y="3776564"/>
                  <a:pt x="1587828" y="3784125"/>
                  <a:pt x="1567135" y="3792482"/>
                </a:cubicBezTo>
                <a:cubicBezTo>
                  <a:pt x="1565145" y="3793676"/>
                  <a:pt x="1563155" y="3801237"/>
                  <a:pt x="1564349" y="3802829"/>
                </a:cubicBezTo>
                <a:cubicBezTo>
                  <a:pt x="1567533" y="3806808"/>
                  <a:pt x="1572706" y="3808798"/>
                  <a:pt x="1578277" y="3812380"/>
                </a:cubicBezTo>
                <a:cubicBezTo>
                  <a:pt x="1573104" y="3821533"/>
                  <a:pt x="1568329" y="3829890"/>
                  <a:pt x="1564349" y="3837053"/>
                </a:cubicBezTo>
                <a:cubicBezTo>
                  <a:pt x="1554798" y="3835063"/>
                  <a:pt x="1547635" y="3833869"/>
                  <a:pt x="1540472" y="3832277"/>
                </a:cubicBezTo>
                <a:cubicBezTo>
                  <a:pt x="1540074" y="3834267"/>
                  <a:pt x="1539278" y="3836655"/>
                  <a:pt x="1538880" y="3838645"/>
                </a:cubicBezTo>
                <a:cubicBezTo>
                  <a:pt x="1547635" y="3844216"/>
                  <a:pt x="1555992" y="3850185"/>
                  <a:pt x="1565145" y="3856155"/>
                </a:cubicBezTo>
                <a:cubicBezTo>
                  <a:pt x="1559972" y="3865307"/>
                  <a:pt x="1555196" y="3873664"/>
                  <a:pt x="1550421" y="3882419"/>
                </a:cubicBezTo>
                <a:cubicBezTo>
                  <a:pt x="1542064" y="3878042"/>
                  <a:pt x="1536095" y="3874062"/>
                  <a:pt x="1529329" y="3871277"/>
                </a:cubicBezTo>
                <a:cubicBezTo>
                  <a:pt x="1526544" y="3870083"/>
                  <a:pt x="1522564" y="3872073"/>
                  <a:pt x="1519380" y="3872471"/>
                </a:cubicBezTo>
                <a:cubicBezTo>
                  <a:pt x="1520972" y="3875654"/>
                  <a:pt x="1521370" y="3880032"/>
                  <a:pt x="1523758" y="3881623"/>
                </a:cubicBezTo>
                <a:cubicBezTo>
                  <a:pt x="1533309" y="3887593"/>
                  <a:pt x="1543258" y="3892766"/>
                  <a:pt x="1553604" y="3898736"/>
                </a:cubicBezTo>
                <a:cubicBezTo>
                  <a:pt x="1548033" y="3909082"/>
                  <a:pt x="1543258" y="3917439"/>
                  <a:pt x="1538482" y="3926592"/>
                </a:cubicBezTo>
                <a:cubicBezTo>
                  <a:pt x="1528533" y="3921021"/>
                  <a:pt x="1520574" y="3916245"/>
                  <a:pt x="1512217" y="3912664"/>
                </a:cubicBezTo>
                <a:cubicBezTo>
                  <a:pt x="1507840" y="3911072"/>
                  <a:pt x="1502667" y="3911868"/>
                  <a:pt x="1497493" y="3911868"/>
                </a:cubicBezTo>
                <a:cubicBezTo>
                  <a:pt x="1500279" y="3915449"/>
                  <a:pt x="1502269" y="3920225"/>
                  <a:pt x="1505850" y="3922613"/>
                </a:cubicBezTo>
                <a:cubicBezTo>
                  <a:pt x="1517391" y="3929776"/>
                  <a:pt x="1529329" y="3936143"/>
                  <a:pt x="1541666" y="3943306"/>
                </a:cubicBezTo>
                <a:cubicBezTo>
                  <a:pt x="1536095" y="3953653"/>
                  <a:pt x="1531319" y="3962010"/>
                  <a:pt x="1526544" y="3970765"/>
                </a:cubicBezTo>
                <a:cubicBezTo>
                  <a:pt x="1512217" y="3962806"/>
                  <a:pt x="1499881" y="3955643"/>
                  <a:pt x="1487544" y="3949673"/>
                </a:cubicBezTo>
                <a:cubicBezTo>
                  <a:pt x="1484361" y="3948081"/>
                  <a:pt x="1479585" y="3950071"/>
                  <a:pt x="1475606" y="3950071"/>
                </a:cubicBezTo>
                <a:cubicBezTo>
                  <a:pt x="1477596" y="3953255"/>
                  <a:pt x="1478789" y="3958030"/>
                  <a:pt x="1481973" y="3960020"/>
                </a:cubicBezTo>
                <a:cubicBezTo>
                  <a:pt x="1497493" y="3969173"/>
                  <a:pt x="1513809" y="3977928"/>
                  <a:pt x="1530125" y="3987081"/>
                </a:cubicBezTo>
                <a:cubicBezTo>
                  <a:pt x="1524952" y="3997428"/>
                  <a:pt x="1520176" y="4005784"/>
                  <a:pt x="1515799" y="4014142"/>
                </a:cubicBezTo>
                <a:cubicBezTo>
                  <a:pt x="1457300" y="3987081"/>
                  <a:pt x="1457300" y="3987081"/>
                  <a:pt x="1451729" y="3994244"/>
                </a:cubicBezTo>
                <a:cubicBezTo>
                  <a:pt x="1474412" y="4006580"/>
                  <a:pt x="1496697" y="4018917"/>
                  <a:pt x="1519380" y="4031651"/>
                </a:cubicBezTo>
                <a:cubicBezTo>
                  <a:pt x="1513809" y="4041600"/>
                  <a:pt x="1509830" y="4049957"/>
                  <a:pt x="1504656" y="4059508"/>
                </a:cubicBezTo>
                <a:cubicBezTo>
                  <a:pt x="1484361" y="4048763"/>
                  <a:pt x="1465657" y="4038019"/>
                  <a:pt x="1446157" y="4028468"/>
                </a:cubicBezTo>
                <a:cubicBezTo>
                  <a:pt x="1442178" y="4026478"/>
                  <a:pt x="1436607" y="4027672"/>
                  <a:pt x="1431433" y="4027672"/>
                </a:cubicBezTo>
                <a:cubicBezTo>
                  <a:pt x="1434219" y="4031253"/>
                  <a:pt x="1436607" y="4036427"/>
                  <a:pt x="1440188" y="4038417"/>
                </a:cubicBezTo>
                <a:cubicBezTo>
                  <a:pt x="1462473" y="4051151"/>
                  <a:pt x="1485157" y="4063487"/>
                  <a:pt x="1509034" y="4076222"/>
                </a:cubicBezTo>
                <a:cubicBezTo>
                  <a:pt x="1504258" y="4085773"/>
                  <a:pt x="1499881" y="4094528"/>
                  <a:pt x="1495503" y="4103283"/>
                </a:cubicBezTo>
                <a:cubicBezTo>
                  <a:pt x="1457698" y="4089355"/>
                  <a:pt x="1428648" y="4058314"/>
                  <a:pt x="1384475" y="4064681"/>
                </a:cubicBezTo>
                <a:cubicBezTo>
                  <a:pt x="1375720" y="4078212"/>
                  <a:pt x="1366169" y="4094528"/>
                  <a:pt x="1355424" y="4111640"/>
                </a:cubicBezTo>
                <a:cubicBezTo>
                  <a:pt x="1314435" y="4085375"/>
                  <a:pt x="1275436" y="4060304"/>
                  <a:pt x="1235641" y="4034835"/>
                </a:cubicBezTo>
                <a:cubicBezTo>
                  <a:pt x="1183907" y="4108456"/>
                  <a:pt x="1132571" y="4181679"/>
                  <a:pt x="1080838" y="4255698"/>
                </a:cubicBezTo>
                <a:cubicBezTo>
                  <a:pt x="1068103" y="4247341"/>
                  <a:pt x="1057358" y="4239780"/>
                  <a:pt x="1045420" y="4231821"/>
                </a:cubicBezTo>
                <a:cubicBezTo>
                  <a:pt x="1036267" y="4243760"/>
                  <a:pt x="1027512" y="4255300"/>
                  <a:pt x="1017563" y="4268035"/>
                </a:cubicBezTo>
                <a:cubicBezTo>
                  <a:pt x="1006420" y="4260076"/>
                  <a:pt x="995676" y="4252515"/>
                  <a:pt x="984533" y="4244556"/>
                </a:cubicBezTo>
                <a:cubicBezTo>
                  <a:pt x="978166" y="4251321"/>
                  <a:pt x="972595" y="4257688"/>
                  <a:pt x="964636" y="4266045"/>
                </a:cubicBezTo>
                <a:cubicBezTo>
                  <a:pt x="904943" y="4215505"/>
                  <a:pt x="846046" y="4165363"/>
                  <a:pt x="786353" y="4114425"/>
                </a:cubicBezTo>
                <a:cubicBezTo>
                  <a:pt x="793516" y="4105273"/>
                  <a:pt x="798690" y="4098905"/>
                  <a:pt x="804261" y="4092140"/>
                </a:cubicBezTo>
                <a:cubicBezTo>
                  <a:pt x="796302" y="4083783"/>
                  <a:pt x="788741" y="4075824"/>
                  <a:pt x="781180" y="4067467"/>
                </a:cubicBezTo>
                <a:cubicBezTo>
                  <a:pt x="792322" y="4055927"/>
                  <a:pt x="802271" y="4045580"/>
                  <a:pt x="812220" y="4034835"/>
                </a:cubicBezTo>
                <a:cubicBezTo>
                  <a:pt x="801873" y="4024090"/>
                  <a:pt x="793516" y="4014937"/>
                  <a:pt x="783965" y="4004988"/>
                </a:cubicBezTo>
                <a:cubicBezTo>
                  <a:pt x="870719" y="3919827"/>
                  <a:pt x="957074" y="3835461"/>
                  <a:pt x="1043430" y="3750697"/>
                </a:cubicBezTo>
                <a:cubicBezTo>
                  <a:pt x="1033083" y="3739555"/>
                  <a:pt x="1023930" y="3729208"/>
                  <a:pt x="1013584" y="3718065"/>
                </a:cubicBezTo>
                <a:cubicBezTo>
                  <a:pt x="1083225" y="3653199"/>
                  <a:pt x="1152071" y="3589527"/>
                  <a:pt x="1220917" y="3525059"/>
                </a:cubicBezTo>
                <a:cubicBezTo>
                  <a:pt x="1202213" y="3512324"/>
                  <a:pt x="1185897" y="3501181"/>
                  <a:pt x="1167989" y="3489243"/>
                </a:cubicBezTo>
                <a:cubicBezTo>
                  <a:pt x="1165999" y="3490835"/>
                  <a:pt x="1162418" y="3494416"/>
                  <a:pt x="1158040" y="3498396"/>
                </a:cubicBezTo>
                <a:cubicBezTo>
                  <a:pt x="1166795" y="3509140"/>
                  <a:pt x="1175152" y="3519089"/>
                  <a:pt x="1184305" y="3529834"/>
                </a:cubicBezTo>
                <a:cubicBezTo>
                  <a:pt x="1178336" y="3535007"/>
                  <a:pt x="1173560" y="3538987"/>
                  <a:pt x="1167989" y="3543762"/>
                </a:cubicBezTo>
                <a:cubicBezTo>
                  <a:pt x="1158438" y="3533415"/>
                  <a:pt x="1149683" y="3523865"/>
                  <a:pt x="1139734" y="3513120"/>
                </a:cubicBezTo>
                <a:cubicBezTo>
                  <a:pt x="1135357" y="3517497"/>
                  <a:pt x="1131377" y="3521079"/>
                  <a:pt x="1127000" y="3525059"/>
                </a:cubicBezTo>
                <a:cubicBezTo>
                  <a:pt x="1136551" y="3536599"/>
                  <a:pt x="1144908" y="3546548"/>
                  <a:pt x="1154061" y="3557293"/>
                </a:cubicBezTo>
                <a:cubicBezTo>
                  <a:pt x="1147693" y="3562466"/>
                  <a:pt x="1142918" y="3566446"/>
                  <a:pt x="1137745" y="3571221"/>
                </a:cubicBezTo>
                <a:cubicBezTo>
                  <a:pt x="1127000" y="3560078"/>
                  <a:pt x="1117847" y="3550528"/>
                  <a:pt x="1107898" y="3539783"/>
                </a:cubicBezTo>
                <a:cubicBezTo>
                  <a:pt x="1103123" y="3544558"/>
                  <a:pt x="1099541" y="3547742"/>
                  <a:pt x="1095562" y="3551721"/>
                </a:cubicBezTo>
                <a:cubicBezTo>
                  <a:pt x="1105113" y="3562864"/>
                  <a:pt x="1113868" y="3573609"/>
                  <a:pt x="1123418" y="3584751"/>
                </a:cubicBezTo>
                <a:cubicBezTo>
                  <a:pt x="1117449" y="3589527"/>
                  <a:pt x="1112674" y="3593904"/>
                  <a:pt x="1107102" y="3598680"/>
                </a:cubicBezTo>
                <a:cubicBezTo>
                  <a:pt x="1096756" y="3587537"/>
                  <a:pt x="1086807" y="3577190"/>
                  <a:pt x="1075266" y="3564854"/>
                </a:cubicBezTo>
                <a:cubicBezTo>
                  <a:pt x="1070491" y="3569629"/>
                  <a:pt x="1066909" y="3573211"/>
                  <a:pt x="1062930" y="3576792"/>
                </a:cubicBezTo>
                <a:cubicBezTo>
                  <a:pt x="1074072" y="3589925"/>
                  <a:pt x="1083225" y="3600272"/>
                  <a:pt x="1093174" y="3612210"/>
                </a:cubicBezTo>
                <a:cubicBezTo>
                  <a:pt x="1087603" y="3617383"/>
                  <a:pt x="1082429" y="3621761"/>
                  <a:pt x="1076858" y="3626536"/>
                </a:cubicBezTo>
                <a:cubicBezTo>
                  <a:pt x="1066113" y="3614598"/>
                  <a:pt x="1056164" y="3603853"/>
                  <a:pt x="1044624" y="3591118"/>
                </a:cubicBezTo>
                <a:cubicBezTo>
                  <a:pt x="1027114" y="3618179"/>
                  <a:pt x="1059746" y="3623751"/>
                  <a:pt x="1061338" y="3641658"/>
                </a:cubicBezTo>
                <a:cubicBezTo>
                  <a:pt x="1056960" y="3645240"/>
                  <a:pt x="1052185" y="3649220"/>
                  <a:pt x="1046614" y="3653995"/>
                </a:cubicBezTo>
                <a:cubicBezTo>
                  <a:pt x="1035471" y="3642454"/>
                  <a:pt x="1025522" y="3631312"/>
                  <a:pt x="1014379" y="3619373"/>
                </a:cubicBezTo>
                <a:cubicBezTo>
                  <a:pt x="1009206" y="3623751"/>
                  <a:pt x="1005625" y="3626536"/>
                  <a:pt x="1001247" y="3630118"/>
                </a:cubicBezTo>
                <a:cubicBezTo>
                  <a:pt x="1013186" y="3644444"/>
                  <a:pt x="1022737" y="3655985"/>
                  <a:pt x="1032685" y="3667923"/>
                </a:cubicBezTo>
                <a:cubicBezTo>
                  <a:pt x="1026318" y="3673097"/>
                  <a:pt x="1021543" y="3677076"/>
                  <a:pt x="1016767" y="3681056"/>
                </a:cubicBezTo>
                <a:cubicBezTo>
                  <a:pt x="982145" y="3648026"/>
                  <a:pt x="982145" y="3648026"/>
                  <a:pt x="972197" y="3659566"/>
                </a:cubicBezTo>
                <a:cubicBezTo>
                  <a:pt x="981747" y="3671107"/>
                  <a:pt x="991696" y="3682647"/>
                  <a:pt x="1002043" y="3694984"/>
                </a:cubicBezTo>
                <a:cubicBezTo>
                  <a:pt x="996472" y="3700157"/>
                  <a:pt x="991696" y="3704535"/>
                  <a:pt x="986125" y="3709708"/>
                </a:cubicBezTo>
                <a:cubicBezTo>
                  <a:pt x="974584" y="3697372"/>
                  <a:pt x="963840" y="3685831"/>
                  <a:pt x="952697" y="3673495"/>
                </a:cubicBezTo>
                <a:cubicBezTo>
                  <a:pt x="947922" y="3677872"/>
                  <a:pt x="944340" y="3681056"/>
                  <a:pt x="939565" y="3685035"/>
                </a:cubicBezTo>
                <a:cubicBezTo>
                  <a:pt x="950309" y="3697770"/>
                  <a:pt x="960258" y="3709708"/>
                  <a:pt x="971401" y="3722841"/>
                </a:cubicBezTo>
                <a:cubicBezTo>
                  <a:pt x="965033" y="3728810"/>
                  <a:pt x="959064" y="3733585"/>
                  <a:pt x="952299" y="3739953"/>
                </a:cubicBezTo>
                <a:cubicBezTo>
                  <a:pt x="938769" y="3724432"/>
                  <a:pt x="926034" y="3710106"/>
                  <a:pt x="912504" y="3694984"/>
                </a:cubicBezTo>
                <a:cubicBezTo>
                  <a:pt x="898973" y="3706127"/>
                  <a:pt x="886239" y="3716473"/>
                  <a:pt x="871117" y="3729208"/>
                </a:cubicBezTo>
                <a:cubicBezTo>
                  <a:pt x="831720" y="3677474"/>
                  <a:pt x="793516" y="3626934"/>
                  <a:pt x="754915" y="3575996"/>
                </a:cubicBezTo>
                <a:cubicBezTo>
                  <a:pt x="771231" y="3564456"/>
                  <a:pt x="784363" y="3554905"/>
                  <a:pt x="798690" y="3544956"/>
                </a:cubicBezTo>
                <a:cubicBezTo>
                  <a:pt x="786751" y="3525854"/>
                  <a:pt x="775210" y="3508344"/>
                  <a:pt x="763272" y="3489243"/>
                </a:cubicBezTo>
                <a:cubicBezTo>
                  <a:pt x="828934" y="3447856"/>
                  <a:pt x="893402" y="3407663"/>
                  <a:pt x="957472" y="3367470"/>
                </a:cubicBezTo>
                <a:cubicBezTo>
                  <a:pt x="932003" y="3322501"/>
                  <a:pt x="907728" y="3279522"/>
                  <a:pt x="882259" y="3233758"/>
                </a:cubicBezTo>
                <a:cubicBezTo>
                  <a:pt x="872709" y="3254053"/>
                  <a:pt x="861566" y="3265992"/>
                  <a:pt x="844852" y="3259227"/>
                </a:cubicBezTo>
                <a:cubicBezTo>
                  <a:pt x="832913" y="3268777"/>
                  <a:pt x="822965" y="3276339"/>
                  <a:pt x="810628" y="3286287"/>
                </a:cubicBezTo>
                <a:cubicBezTo>
                  <a:pt x="788741" y="3238135"/>
                  <a:pt x="768445" y="3193565"/>
                  <a:pt x="748150" y="3148596"/>
                </a:cubicBezTo>
                <a:cubicBezTo>
                  <a:pt x="731038" y="3155361"/>
                  <a:pt x="715518" y="3161330"/>
                  <a:pt x="698804" y="3167698"/>
                </a:cubicBezTo>
                <a:cubicBezTo>
                  <a:pt x="692834" y="3152973"/>
                  <a:pt x="687263" y="3139841"/>
                  <a:pt x="681294" y="3125515"/>
                </a:cubicBezTo>
                <a:cubicBezTo>
                  <a:pt x="667763" y="3129892"/>
                  <a:pt x="655427" y="3133872"/>
                  <a:pt x="640703" y="3139045"/>
                </a:cubicBezTo>
                <a:cubicBezTo>
                  <a:pt x="625978" y="3091689"/>
                  <a:pt x="611652" y="3045924"/>
                  <a:pt x="596928" y="2999364"/>
                </a:cubicBezTo>
                <a:cubicBezTo>
                  <a:pt x="612050" y="2994986"/>
                  <a:pt x="624387" y="2991007"/>
                  <a:pt x="637917" y="2987027"/>
                </a:cubicBezTo>
                <a:cubicBezTo>
                  <a:pt x="634335" y="2970313"/>
                  <a:pt x="630754" y="2955191"/>
                  <a:pt x="626774" y="2938079"/>
                </a:cubicBezTo>
                <a:cubicBezTo>
                  <a:pt x="673335" y="2926937"/>
                  <a:pt x="718701" y="2915794"/>
                  <a:pt x="765262" y="2904651"/>
                </a:cubicBezTo>
                <a:cubicBezTo>
                  <a:pt x="744966" y="2811929"/>
                  <a:pt x="729844" y="2720400"/>
                  <a:pt x="726262" y="2625289"/>
                </a:cubicBezTo>
                <a:cubicBezTo>
                  <a:pt x="780384" y="2622504"/>
                  <a:pt x="831720" y="2619718"/>
                  <a:pt x="883851" y="2616932"/>
                </a:cubicBezTo>
                <a:cubicBezTo>
                  <a:pt x="883851" y="2563607"/>
                  <a:pt x="883851" y="2512271"/>
                  <a:pt x="883851" y="2459343"/>
                </a:cubicBezTo>
                <a:cubicBezTo>
                  <a:pt x="872311" y="2458547"/>
                  <a:pt x="861168" y="2457353"/>
                  <a:pt x="850025" y="2456558"/>
                </a:cubicBezTo>
                <a:cubicBezTo>
                  <a:pt x="814608" y="2454170"/>
                  <a:pt x="778792" y="2452180"/>
                  <a:pt x="742976" y="2450190"/>
                </a:cubicBezTo>
                <a:cubicBezTo>
                  <a:pt x="732232" y="2449792"/>
                  <a:pt x="723875" y="2447405"/>
                  <a:pt x="731834" y="2433476"/>
                </a:cubicBezTo>
                <a:cubicBezTo>
                  <a:pt x="783169" y="2437058"/>
                  <a:pt x="834505" y="2440639"/>
                  <a:pt x="887035" y="2444221"/>
                </a:cubicBezTo>
                <a:cubicBezTo>
                  <a:pt x="888229" y="2428303"/>
                  <a:pt x="889025" y="2415170"/>
                  <a:pt x="889821" y="2399252"/>
                </a:cubicBezTo>
                <a:cubicBezTo>
                  <a:pt x="838087" y="2388110"/>
                  <a:pt x="787149" y="2377763"/>
                  <a:pt x="734619" y="2366620"/>
                </a:cubicBezTo>
                <a:cubicBezTo>
                  <a:pt x="743772" y="2349111"/>
                  <a:pt x="730640" y="2342743"/>
                  <a:pt x="718303" y="2333590"/>
                </a:cubicBezTo>
                <a:cubicBezTo>
                  <a:pt x="685273" y="2309315"/>
                  <a:pt x="650253" y="2286234"/>
                  <a:pt x="622397" y="2256786"/>
                </a:cubicBezTo>
                <a:cubicBezTo>
                  <a:pt x="495848" y="2123870"/>
                  <a:pt x="460828" y="1962699"/>
                  <a:pt x="485103" y="1785610"/>
                </a:cubicBezTo>
                <a:cubicBezTo>
                  <a:pt x="499828" y="1678163"/>
                  <a:pt x="541215" y="1580267"/>
                  <a:pt x="602101" y="1490728"/>
                </a:cubicBezTo>
                <a:cubicBezTo>
                  <a:pt x="607673" y="1482769"/>
                  <a:pt x="616030" y="1474412"/>
                  <a:pt x="596530" y="1469637"/>
                </a:cubicBezTo>
                <a:cubicBezTo>
                  <a:pt x="571061" y="1512218"/>
                  <a:pt x="545194" y="1555594"/>
                  <a:pt x="518929" y="1599767"/>
                </a:cubicBezTo>
                <a:cubicBezTo>
                  <a:pt x="495848" y="1587430"/>
                  <a:pt x="473563" y="1575492"/>
                  <a:pt x="449288" y="1562359"/>
                </a:cubicBezTo>
                <a:cubicBezTo>
                  <a:pt x="478338" y="1513809"/>
                  <a:pt x="505797" y="1467249"/>
                  <a:pt x="534052" y="1419893"/>
                </a:cubicBezTo>
                <a:cubicBezTo>
                  <a:pt x="528082" y="1415515"/>
                  <a:pt x="522909" y="1411934"/>
                  <a:pt x="515746" y="1406760"/>
                </a:cubicBezTo>
                <a:cubicBezTo>
                  <a:pt x="487889" y="1452923"/>
                  <a:pt x="460828" y="1498289"/>
                  <a:pt x="432972" y="1544452"/>
                </a:cubicBezTo>
                <a:cubicBezTo>
                  <a:pt x="410288" y="1532115"/>
                  <a:pt x="388401" y="1520177"/>
                  <a:pt x="365320" y="1507442"/>
                </a:cubicBezTo>
                <a:cubicBezTo>
                  <a:pt x="395564" y="1457300"/>
                  <a:pt x="424217" y="1408750"/>
                  <a:pt x="453665" y="1359802"/>
                </a:cubicBezTo>
                <a:cubicBezTo>
                  <a:pt x="447298" y="1355424"/>
                  <a:pt x="441727" y="1351047"/>
                  <a:pt x="433768" y="1345476"/>
                </a:cubicBezTo>
                <a:cubicBezTo>
                  <a:pt x="404717" y="1393628"/>
                  <a:pt x="376463" y="1440586"/>
                  <a:pt x="347412" y="1488340"/>
                </a:cubicBezTo>
                <a:cubicBezTo>
                  <a:pt x="325525" y="1476402"/>
                  <a:pt x="304035" y="1464463"/>
                  <a:pt x="281750" y="1452127"/>
                </a:cubicBezTo>
                <a:cubicBezTo>
                  <a:pt x="313188" y="1399995"/>
                  <a:pt x="343035" y="1350251"/>
                  <a:pt x="373677" y="1299313"/>
                </a:cubicBezTo>
                <a:cubicBezTo>
                  <a:pt x="366912" y="1294538"/>
                  <a:pt x="360544" y="1289364"/>
                  <a:pt x="352585" y="1283395"/>
                </a:cubicBezTo>
                <a:cubicBezTo>
                  <a:pt x="321545" y="1334333"/>
                  <a:pt x="292097" y="1382883"/>
                  <a:pt x="262250" y="1431831"/>
                </a:cubicBezTo>
                <a:cubicBezTo>
                  <a:pt x="240761" y="1419893"/>
                  <a:pt x="220863" y="1408750"/>
                  <a:pt x="198578" y="1396413"/>
                </a:cubicBezTo>
                <a:cubicBezTo>
                  <a:pt x="231210" y="1342690"/>
                  <a:pt x="263046" y="1290558"/>
                  <a:pt x="294882" y="1237631"/>
                </a:cubicBezTo>
                <a:cubicBezTo>
                  <a:pt x="286923" y="1231263"/>
                  <a:pt x="279760" y="1225692"/>
                  <a:pt x="272597" y="1220121"/>
                </a:cubicBezTo>
                <a:cubicBezTo>
                  <a:pt x="246332" y="1251161"/>
                  <a:pt x="222853" y="1282201"/>
                  <a:pt x="196190" y="1310854"/>
                </a:cubicBezTo>
                <a:cubicBezTo>
                  <a:pt x="177089" y="1331149"/>
                  <a:pt x="155201" y="1350251"/>
                  <a:pt x="132120" y="1366567"/>
                </a:cubicBezTo>
                <a:cubicBezTo>
                  <a:pt x="111029" y="1381291"/>
                  <a:pt x="97100" y="1371740"/>
                  <a:pt x="97100" y="1345476"/>
                </a:cubicBezTo>
                <a:cubicBezTo>
                  <a:pt x="97100" y="1340700"/>
                  <a:pt x="97896" y="1335925"/>
                  <a:pt x="98692" y="1331547"/>
                </a:cubicBezTo>
                <a:cubicBezTo>
                  <a:pt x="108243" y="1273048"/>
                  <a:pt x="132120" y="1220121"/>
                  <a:pt x="158385" y="1167989"/>
                </a:cubicBezTo>
                <a:cubicBezTo>
                  <a:pt x="170721" y="1142918"/>
                  <a:pt x="170721" y="1137347"/>
                  <a:pt x="149630" y="1118245"/>
                </a:cubicBezTo>
                <a:cubicBezTo>
                  <a:pt x="121375" y="1092776"/>
                  <a:pt x="92325" y="1068899"/>
                  <a:pt x="63672" y="1044226"/>
                </a:cubicBezTo>
                <a:cubicBezTo>
                  <a:pt x="42581" y="1026318"/>
                  <a:pt x="21091" y="1008808"/>
                  <a:pt x="0" y="990900"/>
                </a:cubicBezTo>
                <a:cubicBezTo>
                  <a:pt x="0" y="988115"/>
                  <a:pt x="0" y="985727"/>
                  <a:pt x="0" y="982941"/>
                </a:cubicBezTo>
                <a:cubicBezTo>
                  <a:pt x="4377" y="979360"/>
                  <a:pt x="8755" y="975778"/>
                  <a:pt x="14724" y="971401"/>
                </a:cubicBezTo>
                <a:cubicBezTo>
                  <a:pt x="80784" y="1007216"/>
                  <a:pt x="147640" y="1043828"/>
                  <a:pt x="215292" y="1080440"/>
                </a:cubicBezTo>
                <a:cubicBezTo>
                  <a:pt x="220067" y="1074868"/>
                  <a:pt x="223649" y="1069297"/>
                  <a:pt x="228424" y="1064919"/>
                </a:cubicBezTo>
                <a:cubicBezTo>
                  <a:pt x="266628" y="1027512"/>
                  <a:pt x="304433" y="989707"/>
                  <a:pt x="344228" y="953891"/>
                </a:cubicBezTo>
                <a:cubicBezTo>
                  <a:pt x="355371" y="943544"/>
                  <a:pt x="371687" y="938371"/>
                  <a:pt x="386809" y="933993"/>
                </a:cubicBezTo>
                <a:cubicBezTo>
                  <a:pt x="403125" y="929616"/>
                  <a:pt x="413074" y="937973"/>
                  <a:pt x="411880" y="955085"/>
                </a:cubicBezTo>
                <a:cubicBezTo>
                  <a:pt x="410686" y="968615"/>
                  <a:pt x="408697" y="983339"/>
                  <a:pt x="402727" y="995278"/>
                </a:cubicBezTo>
                <a:cubicBezTo>
                  <a:pt x="380840" y="1039053"/>
                  <a:pt x="356963" y="1082031"/>
                  <a:pt x="333882" y="1125010"/>
                </a:cubicBezTo>
                <a:cubicBezTo>
                  <a:pt x="330300" y="1130979"/>
                  <a:pt x="326719" y="1136949"/>
                  <a:pt x="322739" y="1143714"/>
                </a:cubicBezTo>
                <a:cubicBezTo>
                  <a:pt x="332290" y="1149285"/>
                  <a:pt x="340249" y="1154061"/>
                  <a:pt x="347810" y="1158438"/>
                </a:cubicBezTo>
                <a:cubicBezTo>
                  <a:pt x="386013" y="1109888"/>
                  <a:pt x="423023" y="1062930"/>
                  <a:pt x="460828" y="1014777"/>
                </a:cubicBezTo>
                <a:cubicBezTo>
                  <a:pt x="480726" y="1031889"/>
                  <a:pt x="498634" y="1046614"/>
                  <a:pt x="516144" y="1061736"/>
                </a:cubicBezTo>
                <a:cubicBezTo>
                  <a:pt x="480726" y="1107102"/>
                  <a:pt x="446104" y="1151275"/>
                  <a:pt x="410686" y="1196642"/>
                </a:cubicBezTo>
                <a:cubicBezTo>
                  <a:pt x="420237" y="1202213"/>
                  <a:pt x="426604" y="1206192"/>
                  <a:pt x="433370" y="1210172"/>
                </a:cubicBezTo>
                <a:cubicBezTo>
                  <a:pt x="469981" y="1164010"/>
                  <a:pt x="505797" y="1118643"/>
                  <a:pt x="542408" y="1072481"/>
                </a:cubicBezTo>
                <a:cubicBezTo>
                  <a:pt x="562704" y="1089990"/>
                  <a:pt x="581010" y="1105511"/>
                  <a:pt x="599316" y="1121031"/>
                </a:cubicBezTo>
                <a:cubicBezTo>
                  <a:pt x="565092" y="1164805"/>
                  <a:pt x="531664" y="1206590"/>
                  <a:pt x="497838" y="1249967"/>
                </a:cubicBezTo>
                <a:cubicBezTo>
                  <a:pt x="505797" y="1255141"/>
                  <a:pt x="511766" y="1259120"/>
                  <a:pt x="518133" y="1263100"/>
                </a:cubicBezTo>
                <a:cubicBezTo>
                  <a:pt x="553551" y="1218927"/>
                  <a:pt x="588173" y="1175550"/>
                  <a:pt x="623591" y="1130979"/>
                </a:cubicBezTo>
                <a:cubicBezTo>
                  <a:pt x="644284" y="1148887"/>
                  <a:pt x="662988" y="1165203"/>
                  <a:pt x="681692" y="1181121"/>
                </a:cubicBezTo>
                <a:cubicBezTo>
                  <a:pt x="647866" y="1223702"/>
                  <a:pt x="616030" y="1263895"/>
                  <a:pt x="583398" y="1305283"/>
                </a:cubicBezTo>
                <a:cubicBezTo>
                  <a:pt x="591755" y="1310456"/>
                  <a:pt x="597326" y="1313639"/>
                  <a:pt x="602499" y="1316823"/>
                </a:cubicBezTo>
                <a:cubicBezTo>
                  <a:pt x="636723" y="1274242"/>
                  <a:pt x="670151" y="1232457"/>
                  <a:pt x="704375" y="1190274"/>
                </a:cubicBezTo>
                <a:cubicBezTo>
                  <a:pt x="725864" y="1208978"/>
                  <a:pt x="744966" y="1225294"/>
                  <a:pt x="764068" y="1242008"/>
                </a:cubicBezTo>
                <a:cubicBezTo>
                  <a:pt x="732232" y="1281803"/>
                  <a:pt x="701589" y="1320405"/>
                  <a:pt x="669355" y="1360598"/>
                </a:cubicBezTo>
                <a:cubicBezTo>
                  <a:pt x="676916" y="1364975"/>
                  <a:pt x="682090" y="1367761"/>
                  <a:pt x="686865" y="1370547"/>
                </a:cubicBezTo>
                <a:cubicBezTo>
                  <a:pt x="719895" y="1329955"/>
                  <a:pt x="751731" y="1290558"/>
                  <a:pt x="784363" y="1250365"/>
                </a:cubicBezTo>
                <a:cubicBezTo>
                  <a:pt x="795904" y="1260314"/>
                  <a:pt x="804659" y="1268671"/>
                  <a:pt x="814210" y="1275436"/>
                </a:cubicBezTo>
                <a:cubicBezTo>
                  <a:pt x="817791" y="1278222"/>
                  <a:pt x="825352" y="1279416"/>
                  <a:pt x="829332" y="1277426"/>
                </a:cubicBezTo>
                <a:cubicBezTo>
                  <a:pt x="852015" y="1267079"/>
                  <a:pt x="874300" y="1255141"/>
                  <a:pt x="898178" y="1243202"/>
                </a:cubicBezTo>
                <a:cubicBezTo>
                  <a:pt x="858382" y="1205397"/>
                  <a:pt x="819383" y="1167989"/>
                  <a:pt x="777598" y="1127796"/>
                </a:cubicBezTo>
                <a:cubicBezTo>
                  <a:pt x="795904" y="1111878"/>
                  <a:pt x="812220" y="1097552"/>
                  <a:pt x="829730" y="1082031"/>
                </a:cubicBezTo>
                <a:cubicBezTo>
                  <a:pt x="821771" y="1074868"/>
                  <a:pt x="816995" y="1070093"/>
                  <a:pt x="809434" y="1062930"/>
                </a:cubicBezTo>
                <a:cubicBezTo>
                  <a:pt x="792720" y="1080042"/>
                  <a:pt x="777200" y="1096358"/>
                  <a:pt x="762078" y="1111878"/>
                </a:cubicBezTo>
                <a:cubicBezTo>
                  <a:pt x="754915" y="1105909"/>
                  <a:pt x="747752" y="1100337"/>
                  <a:pt x="740589" y="1094368"/>
                </a:cubicBezTo>
                <a:cubicBezTo>
                  <a:pt x="750935" y="1083623"/>
                  <a:pt x="758894" y="1074868"/>
                  <a:pt x="768843" y="1064124"/>
                </a:cubicBezTo>
                <a:cubicBezTo>
                  <a:pt x="758098" y="1055767"/>
                  <a:pt x="749343" y="1049001"/>
                  <a:pt x="734619" y="1037859"/>
                </a:cubicBezTo>
                <a:cubicBezTo>
                  <a:pt x="750139" y="1027910"/>
                  <a:pt x="761680" y="1020349"/>
                  <a:pt x="778394" y="1009604"/>
                </a:cubicBezTo>
                <a:cubicBezTo>
                  <a:pt x="750537" y="985329"/>
                  <a:pt x="728650" y="966227"/>
                  <a:pt x="703181" y="943544"/>
                </a:cubicBezTo>
                <a:cubicBezTo>
                  <a:pt x="717507" y="932401"/>
                  <a:pt x="728650" y="923249"/>
                  <a:pt x="740589" y="914096"/>
                </a:cubicBezTo>
                <a:cubicBezTo>
                  <a:pt x="712732" y="884647"/>
                  <a:pt x="687263" y="857189"/>
                  <a:pt x="660998" y="828934"/>
                </a:cubicBezTo>
                <a:cubicBezTo>
                  <a:pt x="684477" y="807445"/>
                  <a:pt x="705967" y="787945"/>
                  <a:pt x="728650" y="767649"/>
                </a:cubicBezTo>
                <a:cubicBezTo>
                  <a:pt x="754119" y="797098"/>
                  <a:pt x="778792" y="825750"/>
                  <a:pt x="804261" y="854801"/>
                </a:cubicBezTo>
                <a:cubicBezTo>
                  <a:pt x="816597" y="844852"/>
                  <a:pt x="827740" y="835699"/>
                  <a:pt x="839281" y="826148"/>
                </a:cubicBezTo>
                <a:cubicBezTo>
                  <a:pt x="859178" y="849627"/>
                  <a:pt x="877882" y="871913"/>
                  <a:pt x="896984" y="894994"/>
                </a:cubicBezTo>
                <a:cubicBezTo>
                  <a:pt x="907330" y="887433"/>
                  <a:pt x="916483" y="880270"/>
                  <a:pt x="926034" y="873107"/>
                </a:cubicBezTo>
                <a:cubicBezTo>
                  <a:pt x="934789" y="883453"/>
                  <a:pt x="941952" y="891810"/>
                  <a:pt x="949911" y="900963"/>
                </a:cubicBezTo>
                <a:cubicBezTo>
                  <a:pt x="959860" y="893800"/>
                  <a:pt x="968615" y="887035"/>
                  <a:pt x="978962" y="879872"/>
                </a:cubicBezTo>
                <a:cubicBezTo>
                  <a:pt x="1050593" y="972197"/>
                  <a:pt x="1121429" y="1063726"/>
                  <a:pt x="1193458" y="1156051"/>
                </a:cubicBezTo>
                <a:cubicBezTo>
                  <a:pt x="1212162" y="1142122"/>
                  <a:pt x="1229274" y="1128990"/>
                  <a:pt x="1247181" y="1115857"/>
                </a:cubicBezTo>
                <a:cubicBezTo>
                  <a:pt x="1241212" y="1106704"/>
                  <a:pt x="1236039" y="1098348"/>
                  <a:pt x="1230070" y="1089195"/>
                </a:cubicBezTo>
                <a:cubicBezTo>
                  <a:pt x="1242406" y="1080042"/>
                  <a:pt x="1253947" y="1071685"/>
                  <a:pt x="1266283" y="1062532"/>
                </a:cubicBezTo>
                <a:cubicBezTo>
                  <a:pt x="1256732" y="1047410"/>
                  <a:pt x="1247977" y="1033879"/>
                  <a:pt x="1237631" y="1017961"/>
                </a:cubicBezTo>
                <a:cubicBezTo>
                  <a:pt x="1279814" y="992094"/>
                  <a:pt x="1320405" y="966625"/>
                  <a:pt x="1362587" y="940758"/>
                </a:cubicBezTo>
                <a:cubicBezTo>
                  <a:pt x="1372138" y="957074"/>
                  <a:pt x="1380495" y="971003"/>
                  <a:pt x="1389250" y="986125"/>
                </a:cubicBezTo>
                <a:cubicBezTo>
                  <a:pt x="1403974" y="978166"/>
                  <a:pt x="1418301" y="970605"/>
                  <a:pt x="1433821" y="962646"/>
                </a:cubicBezTo>
                <a:cubicBezTo>
                  <a:pt x="1456902" y="1005227"/>
                  <a:pt x="1478789" y="1046614"/>
                  <a:pt x="1501473" y="1089195"/>
                </a:cubicBezTo>
                <a:cubicBezTo>
                  <a:pt x="1520972" y="1078848"/>
                  <a:pt x="1539278" y="1069695"/>
                  <a:pt x="1558380" y="1059746"/>
                </a:cubicBezTo>
                <a:cubicBezTo>
                  <a:pt x="1488340" y="913698"/>
                  <a:pt x="1419097" y="768843"/>
                  <a:pt x="1348659" y="622397"/>
                </a:cubicBezTo>
                <a:cubicBezTo>
                  <a:pt x="1361394" y="616428"/>
                  <a:pt x="1372536" y="610856"/>
                  <a:pt x="1384077" y="605683"/>
                </a:cubicBezTo>
                <a:cubicBezTo>
                  <a:pt x="1386465" y="604887"/>
                  <a:pt x="1392036" y="604489"/>
                  <a:pt x="1392832" y="605683"/>
                </a:cubicBezTo>
                <a:cubicBezTo>
                  <a:pt x="1399597" y="617621"/>
                  <a:pt x="1407556" y="609662"/>
                  <a:pt x="1414719" y="606877"/>
                </a:cubicBezTo>
                <a:cubicBezTo>
                  <a:pt x="1496697" y="576632"/>
                  <a:pt x="1578675" y="546388"/>
                  <a:pt x="1660653" y="516144"/>
                </a:cubicBezTo>
                <a:cubicBezTo>
                  <a:pt x="1665827" y="514154"/>
                  <a:pt x="1674980" y="512960"/>
                  <a:pt x="1674980" y="510572"/>
                </a:cubicBezTo>
                <a:cubicBezTo>
                  <a:pt x="1677367" y="483512"/>
                  <a:pt x="1700051" y="495450"/>
                  <a:pt x="1713979" y="485899"/>
                </a:cubicBezTo>
                <a:cubicBezTo>
                  <a:pt x="1745417" y="601703"/>
                  <a:pt x="1776059" y="714722"/>
                  <a:pt x="1806702" y="828536"/>
                </a:cubicBezTo>
                <a:cubicBezTo>
                  <a:pt x="1816253" y="825352"/>
                  <a:pt x="1822620" y="823363"/>
                  <a:pt x="1829783" y="820975"/>
                </a:cubicBezTo>
                <a:cubicBezTo>
                  <a:pt x="1825803" y="803465"/>
                  <a:pt x="1822222" y="787547"/>
                  <a:pt x="1818242" y="769241"/>
                </a:cubicBezTo>
                <a:cubicBezTo>
                  <a:pt x="1881915" y="756905"/>
                  <a:pt x="1943199" y="744568"/>
                  <a:pt x="2005678" y="732232"/>
                </a:cubicBezTo>
                <a:cubicBezTo>
                  <a:pt x="2009259" y="752129"/>
                  <a:pt x="2012045" y="767649"/>
                  <a:pt x="2014831" y="784761"/>
                </a:cubicBezTo>
                <a:cubicBezTo>
                  <a:pt x="2036718" y="782374"/>
                  <a:pt x="2057411" y="779986"/>
                  <a:pt x="2080095" y="777598"/>
                </a:cubicBezTo>
                <a:cubicBezTo>
                  <a:pt x="2091237" y="881862"/>
                  <a:pt x="2102380" y="984533"/>
                  <a:pt x="2113125" y="1086807"/>
                </a:cubicBezTo>
                <a:cubicBezTo>
                  <a:pt x="2130635" y="1091582"/>
                  <a:pt x="2131829" y="1082827"/>
                  <a:pt x="2130635" y="1070093"/>
                </a:cubicBezTo>
                <a:cubicBezTo>
                  <a:pt x="2119492" y="951901"/>
                  <a:pt x="2108747" y="833709"/>
                  <a:pt x="2097605" y="715518"/>
                </a:cubicBezTo>
                <a:cubicBezTo>
                  <a:pt x="2079697" y="522909"/>
                  <a:pt x="2061789" y="329902"/>
                  <a:pt x="2043881" y="137293"/>
                </a:cubicBezTo>
                <a:cubicBezTo>
                  <a:pt x="2043483" y="130528"/>
                  <a:pt x="2043881" y="123365"/>
                  <a:pt x="2043881" y="116600"/>
                </a:cubicBezTo>
                <a:cubicBezTo>
                  <a:pt x="2053830" y="115008"/>
                  <a:pt x="2062187" y="113416"/>
                  <a:pt x="2070942" y="111824"/>
                </a:cubicBezTo>
                <a:cubicBezTo>
                  <a:pt x="2069350" y="87947"/>
                  <a:pt x="2067758" y="66060"/>
                  <a:pt x="2066166" y="42979"/>
                </a:cubicBezTo>
                <a:cubicBezTo>
                  <a:pt x="2077309" y="41387"/>
                  <a:pt x="2086064" y="39795"/>
                  <a:pt x="2095615" y="38203"/>
                </a:cubicBezTo>
                <a:cubicBezTo>
                  <a:pt x="2095615" y="27459"/>
                  <a:pt x="2095615" y="17510"/>
                  <a:pt x="2095615" y="7163"/>
                </a:cubicBezTo>
                <a:cubicBezTo>
                  <a:pt x="2122676" y="4775"/>
                  <a:pt x="2148940" y="2388"/>
                  <a:pt x="2175205" y="0"/>
                </a:cubicBezTo>
                <a:close/>
              </a:path>
            </a:pathLst>
          </a:custGeom>
          <a:solidFill>
            <a:schemeClr val="accent1"/>
          </a:solidFill>
          <a:ln w="39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4CFEB52-2320-4F1C-B307-962BF0438AAB}"/>
              </a:ext>
            </a:extLst>
          </p:cNvPr>
          <p:cNvGrpSpPr/>
          <p:nvPr/>
        </p:nvGrpSpPr>
        <p:grpSpPr>
          <a:xfrm>
            <a:off x="1975496" y="1997837"/>
            <a:ext cx="2697460" cy="2696074"/>
            <a:chOff x="4574848" y="1897856"/>
            <a:chExt cx="3028217" cy="3026664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0116E20-8F11-4309-8D12-7F4741BC1EAF}"/>
                </a:ext>
              </a:extLst>
            </p:cNvPr>
            <p:cNvSpPr/>
            <p:nvPr/>
          </p:nvSpPr>
          <p:spPr>
            <a:xfrm>
              <a:off x="4575624" y="1897856"/>
              <a:ext cx="3026664" cy="3026664"/>
            </a:xfrm>
            <a:custGeom>
              <a:avLst/>
              <a:gdLst>
                <a:gd name="connsiteX0" fmla="*/ 3057049 w 3057525"/>
                <a:gd name="connsiteY0" fmla="*/ 1532096 h 3057525"/>
                <a:gd name="connsiteX1" fmla="*/ 1532096 w 3057525"/>
                <a:gd name="connsiteY1" fmla="*/ 3057049 h 3057525"/>
                <a:gd name="connsiteX2" fmla="*/ 7144 w 3057525"/>
                <a:gd name="connsiteY2" fmla="*/ 1532096 h 3057525"/>
                <a:gd name="connsiteX3" fmla="*/ 1532096 w 3057525"/>
                <a:gd name="connsiteY3" fmla="*/ 7144 h 3057525"/>
                <a:gd name="connsiteX4" fmla="*/ 3057049 w 3057525"/>
                <a:gd name="connsiteY4" fmla="*/ 1532096 h 305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7525" h="3057525">
                  <a:moveTo>
                    <a:pt x="3057049" y="1532096"/>
                  </a:moveTo>
                  <a:cubicBezTo>
                    <a:pt x="3057049" y="2374304"/>
                    <a:pt x="2374304" y="3057049"/>
                    <a:pt x="1532096" y="3057049"/>
                  </a:cubicBezTo>
                  <a:cubicBezTo>
                    <a:pt x="689888" y="3057049"/>
                    <a:pt x="7144" y="2374304"/>
                    <a:pt x="7144" y="1532096"/>
                  </a:cubicBezTo>
                  <a:cubicBezTo>
                    <a:pt x="7144" y="689888"/>
                    <a:pt x="689888" y="7144"/>
                    <a:pt x="1532096" y="7144"/>
                  </a:cubicBezTo>
                  <a:cubicBezTo>
                    <a:pt x="2374304" y="7144"/>
                    <a:pt x="3057049" y="689888"/>
                    <a:pt x="3057049" y="153209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9F5F6BD-971A-43CF-AC53-18F0950ADA83}"/>
                </a:ext>
              </a:extLst>
            </p:cNvPr>
            <p:cNvSpPr/>
            <p:nvPr/>
          </p:nvSpPr>
          <p:spPr>
            <a:xfrm>
              <a:off x="4574848" y="1907000"/>
              <a:ext cx="3028217" cy="2962327"/>
            </a:xfrm>
            <a:custGeom>
              <a:avLst/>
              <a:gdLst>
                <a:gd name="connsiteX0" fmla="*/ 2863236 w 3028217"/>
                <a:gd name="connsiteY0" fmla="*/ 2049564 h 2962327"/>
                <a:gd name="connsiteX1" fmla="*/ 2844662 w 3028217"/>
                <a:gd name="connsiteY1" fmla="*/ 2065518 h 2962327"/>
                <a:gd name="connsiteX2" fmla="*/ 2847519 w 3028217"/>
                <a:gd name="connsiteY2" fmla="*/ 2116953 h 2962327"/>
                <a:gd name="connsiteX3" fmla="*/ 2887525 w 3028217"/>
                <a:gd name="connsiteY3" fmla="*/ 2084568 h 2962327"/>
                <a:gd name="connsiteX4" fmla="*/ 2890382 w 3028217"/>
                <a:gd name="connsiteY4" fmla="*/ 2078853 h 2962327"/>
                <a:gd name="connsiteX5" fmla="*/ 2890382 w 3028217"/>
                <a:gd name="connsiteY5" fmla="*/ 2057898 h 2962327"/>
                <a:gd name="connsiteX6" fmla="*/ 2863236 w 3028217"/>
                <a:gd name="connsiteY6" fmla="*/ 2049564 h 2962327"/>
                <a:gd name="connsiteX7" fmla="*/ 2453184 w 3028217"/>
                <a:gd name="connsiteY7" fmla="*/ 1703568 h 2962327"/>
                <a:gd name="connsiteX8" fmla="*/ 2444611 w 3028217"/>
                <a:gd name="connsiteY8" fmla="*/ 1714046 h 2962327"/>
                <a:gd name="connsiteX9" fmla="*/ 2467471 w 3028217"/>
                <a:gd name="connsiteY9" fmla="*/ 1740716 h 2962327"/>
                <a:gd name="connsiteX10" fmla="*/ 2482711 w 3028217"/>
                <a:gd name="connsiteY10" fmla="*/ 1728333 h 2962327"/>
                <a:gd name="connsiteX11" fmla="*/ 2453184 w 3028217"/>
                <a:gd name="connsiteY11" fmla="*/ 1703568 h 2962327"/>
                <a:gd name="connsiteX12" fmla="*/ 802501 w 3028217"/>
                <a:gd name="connsiteY12" fmla="*/ 1583553 h 2962327"/>
                <a:gd name="connsiteX13" fmla="*/ 812026 w 3028217"/>
                <a:gd name="connsiteY13" fmla="*/ 1589268 h 2962327"/>
                <a:gd name="connsiteX14" fmla="*/ 802501 w 3028217"/>
                <a:gd name="connsiteY14" fmla="*/ 1599745 h 2962327"/>
                <a:gd name="connsiteX15" fmla="*/ 792024 w 3028217"/>
                <a:gd name="connsiteY15" fmla="*/ 1594030 h 2962327"/>
                <a:gd name="connsiteX16" fmla="*/ 802501 w 3028217"/>
                <a:gd name="connsiteY16" fmla="*/ 1583553 h 2962327"/>
                <a:gd name="connsiteX17" fmla="*/ 573901 w 3028217"/>
                <a:gd name="connsiteY17" fmla="*/ 1577838 h 2962327"/>
                <a:gd name="connsiteX18" fmla="*/ 592951 w 3028217"/>
                <a:gd name="connsiteY18" fmla="*/ 1589268 h 2962327"/>
                <a:gd name="connsiteX19" fmla="*/ 584379 w 3028217"/>
                <a:gd name="connsiteY19" fmla="*/ 1596888 h 2962327"/>
                <a:gd name="connsiteX20" fmla="*/ 565329 w 3028217"/>
                <a:gd name="connsiteY20" fmla="*/ 1587363 h 2962327"/>
                <a:gd name="connsiteX21" fmla="*/ 573901 w 3028217"/>
                <a:gd name="connsiteY21" fmla="*/ 1577838 h 2962327"/>
                <a:gd name="connsiteX22" fmla="*/ 698678 w 3028217"/>
                <a:gd name="connsiteY22" fmla="*/ 1550216 h 2962327"/>
                <a:gd name="connsiteX23" fmla="*/ 763448 w 3028217"/>
                <a:gd name="connsiteY23" fmla="*/ 1592126 h 2962327"/>
                <a:gd name="connsiteX24" fmla="*/ 678676 w 3028217"/>
                <a:gd name="connsiteY24" fmla="*/ 1592126 h 2962327"/>
                <a:gd name="connsiteX25" fmla="*/ 698678 w 3028217"/>
                <a:gd name="connsiteY25" fmla="*/ 1550216 h 2962327"/>
                <a:gd name="connsiteX26" fmla="*/ 492939 w 3028217"/>
                <a:gd name="connsiteY26" fmla="*/ 1460681 h 2962327"/>
                <a:gd name="connsiteX27" fmla="*/ 562471 w 3028217"/>
                <a:gd name="connsiteY27" fmla="*/ 1479731 h 2962327"/>
                <a:gd name="connsiteX28" fmla="*/ 646291 w 3028217"/>
                <a:gd name="connsiteY28" fmla="*/ 1537833 h 2962327"/>
                <a:gd name="connsiteX29" fmla="*/ 577711 w 3028217"/>
                <a:gd name="connsiteY29" fmla="*/ 1525451 h 2962327"/>
                <a:gd name="connsiteX30" fmla="*/ 527229 w 3028217"/>
                <a:gd name="connsiteY30" fmla="*/ 1487351 h 2962327"/>
                <a:gd name="connsiteX31" fmla="*/ 525032 w 3028217"/>
                <a:gd name="connsiteY31" fmla="*/ 1486533 h 2962327"/>
                <a:gd name="connsiteX32" fmla="*/ 527229 w 3028217"/>
                <a:gd name="connsiteY32" fmla="*/ 1488303 h 2962327"/>
                <a:gd name="connsiteX33" fmla="*/ 451029 w 3028217"/>
                <a:gd name="connsiteY33" fmla="*/ 1494971 h 2962327"/>
                <a:gd name="connsiteX34" fmla="*/ 492939 w 3028217"/>
                <a:gd name="connsiteY34" fmla="*/ 1460681 h 2962327"/>
                <a:gd name="connsiteX35" fmla="*/ 592475 w 3028217"/>
                <a:gd name="connsiteY35" fmla="*/ 1413889 h 2962327"/>
                <a:gd name="connsiteX36" fmla="*/ 596761 w 3028217"/>
                <a:gd name="connsiteY36" fmla="*/ 1414961 h 2962327"/>
                <a:gd name="connsiteX37" fmla="*/ 595809 w 3028217"/>
                <a:gd name="connsiteY37" fmla="*/ 1447346 h 2962327"/>
                <a:gd name="connsiteX38" fmla="*/ 588189 w 3028217"/>
                <a:gd name="connsiteY38" fmla="*/ 1414961 h 2962327"/>
                <a:gd name="connsiteX39" fmla="*/ 592475 w 3028217"/>
                <a:gd name="connsiteY39" fmla="*/ 1413889 h 2962327"/>
                <a:gd name="connsiteX40" fmla="*/ 2633206 w 3028217"/>
                <a:gd name="connsiteY40" fmla="*/ 1174931 h 2962327"/>
                <a:gd name="connsiteX41" fmla="*/ 2673211 w 3028217"/>
                <a:gd name="connsiteY41" fmla="*/ 1180646 h 2962327"/>
                <a:gd name="connsiteX42" fmla="*/ 2633206 w 3028217"/>
                <a:gd name="connsiteY42" fmla="*/ 1174931 h 2962327"/>
                <a:gd name="connsiteX43" fmla="*/ 2477948 w 3028217"/>
                <a:gd name="connsiteY43" fmla="*/ 1095873 h 2962327"/>
                <a:gd name="connsiteX44" fmla="*/ 2484616 w 3028217"/>
                <a:gd name="connsiteY44" fmla="*/ 1110160 h 2962327"/>
                <a:gd name="connsiteX45" fmla="*/ 2464613 w 3028217"/>
                <a:gd name="connsiteY45" fmla="*/ 1135878 h 2962327"/>
                <a:gd name="connsiteX46" fmla="*/ 2444611 w 3028217"/>
                <a:gd name="connsiteY46" fmla="*/ 1144450 h 2962327"/>
                <a:gd name="connsiteX47" fmla="*/ 2415083 w 3028217"/>
                <a:gd name="connsiteY47" fmla="*/ 1119685 h 2962327"/>
                <a:gd name="connsiteX48" fmla="*/ 2446516 w 3028217"/>
                <a:gd name="connsiteY48" fmla="*/ 1114923 h 2962327"/>
                <a:gd name="connsiteX49" fmla="*/ 2477948 w 3028217"/>
                <a:gd name="connsiteY49" fmla="*/ 1095873 h 2962327"/>
                <a:gd name="connsiteX50" fmla="*/ 2344599 w 3028217"/>
                <a:gd name="connsiteY50" fmla="*/ 1039676 h 2962327"/>
                <a:gd name="connsiteX51" fmla="*/ 2355076 w 3028217"/>
                <a:gd name="connsiteY51" fmla="*/ 1066346 h 2962327"/>
                <a:gd name="connsiteX52" fmla="*/ 2341741 w 3028217"/>
                <a:gd name="connsiteY52" fmla="*/ 1092063 h 2962327"/>
                <a:gd name="connsiteX53" fmla="*/ 2328406 w 3028217"/>
                <a:gd name="connsiteY53" fmla="*/ 1065393 h 2962327"/>
                <a:gd name="connsiteX54" fmla="*/ 2344599 w 3028217"/>
                <a:gd name="connsiteY54" fmla="*/ 1039676 h 2962327"/>
                <a:gd name="connsiteX55" fmla="*/ 699631 w 3028217"/>
                <a:gd name="connsiteY55" fmla="*/ 966334 h 2962327"/>
                <a:gd name="connsiteX56" fmla="*/ 616764 w 3028217"/>
                <a:gd name="connsiteY56" fmla="*/ 992051 h 2962327"/>
                <a:gd name="connsiteX57" fmla="*/ 699631 w 3028217"/>
                <a:gd name="connsiteY57" fmla="*/ 966334 h 2962327"/>
                <a:gd name="connsiteX58" fmla="*/ 2786559 w 3028217"/>
                <a:gd name="connsiteY58" fmla="*/ 938711 h 2962327"/>
                <a:gd name="connsiteX59" fmla="*/ 2814181 w 3028217"/>
                <a:gd name="connsiteY59" fmla="*/ 938711 h 2962327"/>
                <a:gd name="connsiteX60" fmla="*/ 2814181 w 3028217"/>
                <a:gd name="connsiteY60" fmla="*/ 945378 h 2962327"/>
                <a:gd name="connsiteX61" fmla="*/ 2786559 w 3028217"/>
                <a:gd name="connsiteY61" fmla="*/ 938711 h 2962327"/>
                <a:gd name="connsiteX62" fmla="*/ 737731 w 3028217"/>
                <a:gd name="connsiteY62" fmla="*/ 935019 h 2962327"/>
                <a:gd name="connsiteX63" fmla="*/ 702489 w 3028217"/>
                <a:gd name="connsiteY63" fmla="*/ 951093 h 2962327"/>
                <a:gd name="connsiteX64" fmla="*/ 770116 w 3028217"/>
                <a:gd name="connsiteY64" fmla="*/ 936805 h 2962327"/>
                <a:gd name="connsiteX65" fmla="*/ 737731 w 3028217"/>
                <a:gd name="connsiteY65" fmla="*/ 935019 h 2962327"/>
                <a:gd name="connsiteX66" fmla="*/ 619383 w 3028217"/>
                <a:gd name="connsiteY66" fmla="*/ 880251 h 2962327"/>
                <a:gd name="connsiteX67" fmla="*/ 608191 w 3028217"/>
                <a:gd name="connsiteY67" fmla="*/ 882513 h 2962327"/>
                <a:gd name="connsiteX68" fmla="*/ 541516 w 3028217"/>
                <a:gd name="connsiteY68" fmla="*/ 968238 h 2962327"/>
                <a:gd name="connsiteX69" fmla="*/ 558661 w 3028217"/>
                <a:gd name="connsiteY69" fmla="*/ 975858 h 2962327"/>
                <a:gd name="connsiteX70" fmla="*/ 578664 w 3028217"/>
                <a:gd name="connsiteY70" fmla="*/ 949188 h 2962327"/>
                <a:gd name="connsiteX71" fmla="*/ 623431 w 3028217"/>
                <a:gd name="connsiteY71" fmla="*/ 890133 h 2962327"/>
                <a:gd name="connsiteX72" fmla="*/ 619383 w 3028217"/>
                <a:gd name="connsiteY72" fmla="*/ 880251 h 2962327"/>
                <a:gd name="connsiteX73" fmla="*/ 659626 w 3028217"/>
                <a:gd name="connsiteY73" fmla="*/ 872036 h 2962327"/>
                <a:gd name="connsiteX74" fmla="*/ 647244 w 3028217"/>
                <a:gd name="connsiteY74" fmla="*/ 879656 h 2962327"/>
                <a:gd name="connsiteX75" fmla="*/ 657721 w 3028217"/>
                <a:gd name="connsiteY75" fmla="*/ 950141 h 2962327"/>
                <a:gd name="connsiteX76" fmla="*/ 683439 w 3028217"/>
                <a:gd name="connsiteY76" fmla="*/ 913946 h 2962327"/>
                <a:gd name="connsiteX77" fmla="*/ 711061 w 3028217"/>
                <a:gd name="connsiteY77" fmla="*/ 910136 h 2962327"/>
                <a:gd name="connsiteX78" fmla="*/ 709156 w 3028217"/>
                <a:gd name="connsiteY78" fmla="*/ 891086 h 2962327"/>
                <a:gd name="connsiteX79" fmla="*/ 659626 w 3028217"/>
                <a:gd name="connsiteY79" fmla="*/ 872036 h 2962327"/>
                <a:gd name="connsiteX80" fmla="*/ 620410 w 3028217"/>
                <a:gd name="connsiteY80" fmla="*/ 803828 h 2962327"/>
                <a:gd name="connsiteX81" fmla="*/ 603429 w 3028217"/>
                <a:gd name="connsiteY81" fmla="*/ 807266 h 2962327"/>
                <a:gd name="connsiteX82" fmla="*/ 532944 w 3028217"/>
                <a:gd name="connsiteY82" fmla="*/ 841556 h 2962327"/>
                <a:gd name="connsiteX83" fmla="*/ 541516 w 3028217"/>
                <a:gd name="connsiteY83" fmla="*/ 855843 h 2962327"/>
                <a:gd name="connsiteX84" fmla="*/ 602476 w 3028217"/>
                <a:gd name="connsiteY84" fmla="*/ 859653 h 2962327"/>
                <a:gd name="connsiteX85" fmla="*/ 652959 w 3028217"/>
                <a:gd name="connsiteY85" fmla="*/ 835841 h 2962327"/>
                <a:gd name="connsiteX86" fmla="*/ 620410 w 3028217"/>
                <a:gd name="connsiteY86" fmla="*/ 803828 h 2962327"/>
                <a:gd name="connsiteX87" fmla="*/ 2051228 w 3028217"/>
                <a:gd name="connsiteY87" fmla="*/ 690108 h 2962327"/>
                <a:gd name="connsiteX88" fmla="*/ 2074088 w 3028217"/>
                <a:gd name="connsiteY88" fmla="*/ 722493 h 2962327"/>
                <a:gd name="connsiteX89" fmla="*/ 2021701 w 3028217"/>
                <a:gd name="connsiteY89" fmla="*/ 782500 h 2962327"/>
                <a:gd name="connsiteX90" fmla="*/ 2000746 w 3028217"/>
                <a:gd name="connsiteY90" fmla="*/ 772023 h 2962327"/>
                <a:gd name="connsiteX91" fmla="*/ 2036941 w 3028217"/>
                <a:gd name="connsiteY91" fmla="*/ 698680 h 2962327"/>
                <a:gd name="connsiteX92" fmla="*/ 2051228 w 3028217"/>
                <a:gd name="connsiteY92" fmla="*/ 690108 h 2962327"/>
                <a:gd name="connsiteX93" fmla="*/ 2111236 w 3028217"/>
                <a:gd name="connsiteY93" fmla="*/ 608669 h 2962327"/>
                <a:gd name="connsiteX94" fmla="*/ 2113141 w 3028217"/>
                <a:gd name="connsiteY94" fmla="*/ 623433 h 2962327"/>
                <a:gd name="connsiteX95" fmla="*/ 2111236 w 3028217"/>
                <a:gd name="connsiteY95" fmla="*/ 626290 h 2962327"/>
                <a:gd name="connsiteX96" fmla="*/ 2159814 w 3028217"/>
                <a:gd name="connsiteY96" fmla="*/ 711063 h 2962327"/>
                <a:gd name="connsiteX97" fmla="*/ 2199819 w 3028217"/>
                <a:gd name="connsiteY97" fmla="*/ 758688 h 2962327"/>
                <a:gd name="connsiteX98" fmla="*/ 2176959 w 3028217"/>
                <a:gd name="connsiteY98" fmla="*/ 800598 h 2962327"/>
                <a:gd name="connsiteX99" fmla="*/ 2092186 w 3028217"/>
                <a:gd name="connsiteY99" fmla="*/ 814885 h 2962327"/>
                <a:gd name="connsiteX100" fmla="*/ 2092186 w 3028217"/>
                <a:gd name="connsiteY100" fmla="*/ 777738 h 2962327"/>
                <a:gd name="connsiteX101" fmla="*/ 2111236 w 3028217"/>
                <a:gd name="connsiteY101" fmla="*/ 740590 h 2962327"/>
                <a:gd name="connsiteX102" fmla="*/ 2110284 w 3028217"/>
                <a:gd name="connsiteY102" fmla="*/ 710110 h 2962327"/>
                <a:gd name="connsiteX103" fmla="*/ 2076946 w 3028217"/>
                <a:gd name="connsiteY103" fmla="*/ 669153 h 2962327"/>
                <a:gd name="connsiteX104" fmla="*/ 2097901 w 3028217"/>
                <a:gd name="connsiteY104" fmla="*/ 611050 h 2962327"/>
                <a:gd name="connsiteX105" fmla="*/ 2111236 w 3028217"/>
                <a:gd name="connsiteY105" fmla="*/ 608669 h 2962327"/>
                <a:gd name="connsiteX106" fmla="*/ 927279 w 3028217"/>
                <a:gd name="connsiteY106" fmla="*/ 479605 h 2962327"/>
                <a:gd name="connsiteX107" fmla="*/ 933946 w 3028217"/>
                <a:gd name="connsiteY107" fmla="*/ 486273 h 2962327"/>
                <a:gd name="connsiteX108" fmla="*/ 929184 w 3028217"/>
                <a:gd name="connsiteY108" fmla="*/ 493893 h 2962327"/>
                <a:gd name="connsiteX109" fmla="*/ 919659 w 3028217"/>
                <a:gd name="connsiteY109" fmla="*/ 488178 h 2962327"/>
                <a:gd name="connsiteX110" fmla="*/ 927279 w 3028217"/>
                <a:gd name="connsiteY110" fmla="*/ 479605 h 2962327"/>
                <a:gd name="connsiteX111" fmla="*/ 1938089 w 3028217"/>
                <a:gd name="connsiteY111" fmla="*/ 417931 h 2962327"/>
                <a:gd name="connsiteX112" fmla="*/ 1959789 w 3028217"/>
                <a:gd name="connsiteY112" fmla="*/ 441505 h 2962327"/>
                <a:gd name="connsiteX113" fmla="*/ 1940739 w 3028217"/>
                <a:gd name="connsiteY113" fmla="*/ 466270 h 2962327"/>
                <a:gd name="connsiteX114" fmla="*/ 1842631 w 3028217"/>
                <a:gd name="connsiteY114" fmla="*/ 480558 h 2962327"/>
                <a:gd name="connsiteX115" fmla="*/ 1832154 w 3028217"/>
                <a:gd name="connsiteY115" fmla="*/ 458650 h 2962327"/>
                <a:gd name="connsiteX116" fmla="*/ 1833106 w 3028217"/>
                <a:gd name="connsiteY116" fmla="*/ 431980 h 2962327"/>
                <a:gd name="connsiteX117" fmla="*/ 1845489 w 3028217"/>
                <a:gd name="connsiteY117" fmla="*/ 423408 h 2962327"/>
                <a:gd name="connsiteX118" fmla="*/ 1857871 w 3028217"/>
                <a:gd name="connsiteY118" fmla="*/ 432933 h 2962327"/>
                <a:gd name="connsiteX119" fmla="*/ 1926451 w 3028217"/>
                <a:gd name="connsiteY119" fmla="*/ 418645 h 2962327"/>
                <a:gd name="connsiteX120" fmla="*/ 1938089 w 3028217"/>
                <a:gd name="connsiteY120" fmla="*/ 417931 h 2962327"/>
                <a:gd name="connsiteX121" fmla="*/ 904419 w 3028217"/>
                <a:gd name="connsiteY121" fmla="*/ 389118 h 2962327"/>
                <a:gd name="connsiteX122" fmla="*/ 938709 w 3028217"/>
                <a:gd name="connsiteY122" fmla="*/ 433886 h 2962327"/>
                <a:gd name="connsiteX123" fmla="*/ 942519 w 3028217"/>
                <a:gd name="connsiteY123" fmla="*/ 446268 h 2962327"/>
                <a:gd name="connsiteX124" fmla="*/ 931089 w 3028217"/>
                <a:gd name="connsiteY124" fmla="*/ 449125 h 2962327"/>
                <a:gd name="connsiteX125" fmla="*/ 878701 w 3028217"/>
                <a:gd name="connsiteY125" fmla="*/ 449125 h 2962327"/>
                <a:gd name="connsiteX126" fmla="*/ 856794 w 3028217"/>
                <a:gd name="connsiteY126" fmla="*/ 443411 h 2962327"/>
                <a:gd name="connsiteX127" fmla="*/ 867271 w 3028217"/>
                <a:gd name="connsiteY127" fmla="*/ 412930 h 2962327"/>
                <a:gd name="connsiteX128" fmla="*/ 904419 w 3028217"/>
                <a:gd name="connsiteY128" fmla="*/ 389118 h 2962327"/>
                <a:gd name="connsiteX129" fmla="*/ 1062534 w 3028217"/>
                <a:gd name="connsiteY129" fmla="*/ 340541 h 2962327"/>
                <a:gd name="connsiteX130" fmla="*/ 1083489 w 3028217"/>
                <a:gd name="connsiteY130" fmla="*/ 353876 h 2962327"/>
                <a:gd name="connsiteX131" fmla="*/ 1053961 w 3028217"/>
                <a:gd name="connsiteY131" fmla="*/ 360543 h 2962327"/>
                <a:gd name="connsiteX132" fmla="*/ 1062534 w 3028217"/>
                <a:gd name="connsiteY132" fmla="*/ 340541 h 2962327"/>
                <a:gd name="connsiteX133" fmla="*/ 2471113 w 3028217"/>
                <a:gd name="connsiteY133" fmla="*/ 336025 h 2962327"/>
                <a:gd name="connsiteX134" fmla="*/ 2521763 w 3028217"/>
                <a:gd name="connsiteY134" fmla="*/ 370068 h 2962327"/>
                <a:gd name="connsiteX135" fmla="*/ 2848471 w 3028217"/>
                <a:gd name="connsiteY135" fmla="*/ 785358 h 2962327"/>
                <a:gd name="connsiteX136" fmla="*/ 2920861 w 3028217"/>
                <a:gd name="connsiteY136" fmla="*/ 940616 h 2962327"/>
                <a:gd name="connsiteX137" fmla="*/ 2926576 w 3028217"/>
                <a:gd name="connsiteY137" fmla="*/ 977763 h 2962327"/>
                <a:gd name="connsiteX138" fmla="*/ 2847518 w 3028217"/>
                <a:gd name="connsiteY138" fmla="*/ 938711 h 2962327"/>
                <a:gd name="connsiteX139" fmla="*/ 2864663 w 3028217"/>
                <a:gd name="connsiteY139" fmla="*/ 890133 h 2962327"/>
                <a:gd name="connsiteX140" fmla="*/ 2810371 w 3028217"/>
                <a:gd name="connsiteY140" fmla="*/ 908231 h 2962327"/>
                <a:gd name="connsiteX141" fmla="*/ 2757031 w 3028217"/>
                <a:gd name="connsiteY141" fmla="*/ 904421 h 2962327"/>
                <a:gd name="connsiteX142" fmla="*/ 2728456 w 3028217"/>
                <a:gd name="connsiteY142" fmla="*/ 916803 h 2962327"/>
                <a:gd name="connsiteX143" fmla="*/ 2707501 w 3028217"/>
                <a:gd name="connsiteY143" fmla="*/ 971096 h 2962327"/>
                <a:gd name="connsiteX144" fmla="*/ 2706548 w 3028217"/>
                <a:gd name="connsiteY144" fmla="*/ 1011101 h 2962327"/>
                <a:gd name="connsiteX145" fmla="*/ 2712263 w 3028217"/>
                <a:gd name="connsiteY145" fmla="*/ 1044438 h 2962327"/>
                <a:gd name="connsiteX146" fmla="*/ 2750438 w 3028217"/>
                <a:gd name="connsiteY146" fmla="*/ 1026892 h 2962327"/>
                <a:gd name="connsiteX147" fmla="*/ 2757317 w 3028217"/>
                <a:gd name="connsiteY147" fmla="*/ 1029909 h 2962327"/>
                <a:gd name="connsiteX148" fmla="*/ 2760842 w 3028217"/>
                <a:gd name="connsiteY148" fmla="*/ 1028246 h 2962327"/>
                <a:gd name="connsiteX149" fmla="*/ 2785607 w 3028217"/>
                <a:gd name="connsiteY149" fmla="*/ 1010148 h 2962327"/>
                <a:gd name="connsiteX150" fmla="*/ 2804538 w 3028217"/>
                <a:gd name="connsiteY150" fmla="*/ 1006457 h 2962327"/>
                <a:gd name="connsiteX151" fmla="*/ 2822755 w 3028217"/>
                <a:gd name="connsiteY151" fmla="*/ 1009196 h 2962327"/>
                <a:gd name="connsiteX152" fmla="*/ 2938959 w 3028217"/>
                <a:gd name="connsiteY152" fmla="*/ 1031103 h 2962327"/>
                <a:gd name="connsiteX153" fmla="*/ 2959915 w 3028217"/>
                <a:gd name="connsiteY153" fmla="*/ 1058726 h 2962327"/>
                <a:gd name="connsiteX154" fmla="*/ 3021827 w 3028217"/>
                <a:gd name="connsiteY154" fmla="*/ 1368288 h 2962327"/>
                <a:gd name="connsiteX155" fmla="*/ 3027542 w 3028217"/>
                <a:gd name="connsiteY155" fmla="*/ 1562598 h 2962327"/>
                <a:gd name="connsiteX156" fmla="*/ 3020874 w 3028217"/>
                <a:gd name="connsiteY156" fmla="*/ 1594983 h 2962327"/>
                <a:gd name="connsiteX157" fmla="*/ 2958009 w 3028217"/>
                <a:gd name="connsiteY157" fmla="*/ 1512116 h 2962327"/>
                <a:gd name="connsiteX158" fmla="*/ 2918005 w 3028217"/>
                <a:gd name="connsiteY158" fmla="*/ 1446393 h 2962327"/>
                <a:gd name="connsiteX159" fmla="*/ 2860855 w 3028217"/>
                <a:gd name="connsiteY159" fmla="*/ 1371146 h 2962327"/>
                <a:gd name="connsiteX160" fmla="*/ 2831327 w 3028217"/>
                <a:gd name="connsiteY160" fmla="*/ 1343523 h 2962327"/>
                <a:gd name="connsiteX161" fmla="*/ 2856092 w 3028217"/>
                <a:gd name="connsiteY161" fmla="*/ 1380671 h 2962327"/>
                <a:gd name="connsiteX162" fmla="*/ 2930387 w 3028217"/>
                <a:gd name="connsiteY162" fmla="*/ 1514021 h 2962327"/>
                <a:gd name="connsiteX163" fmla="*/ 2939912 w 3028217"/>
                <a:gd name="connsiteY163" fmla="*/ 1546406 h 2962327"/>
                <a:gd name="connsiteX164" fmla="*/ 2962772 w 3028217"/>
                <a:gd name="connsiteY164" fmla="*/ 1597841 h 2962327"/>
                <a:gd name="connsiteX165" fmla="*/ 2999919 w 3028217"/>
                <a:gd name="connsiteY165" fmla="*/ 1683566 h 2962327"/>
                <a:gd name="connsiteX166" fmla="*/ 3012302 w 3028217"/>
                <a:gd name="connsiteY166" fmla="*/ 1740716 h 2962327"/>
                <a:gd name="connsiteX167" fmla="*/ 2886572 w 3028217"/>
                <a:gd name="connsiteY167" fmla="*/ 2158864 h 2962327"/>
                <a:gd name="connsiteX168" fmla="*/ 2841805 w 3028217"/>
                <a:gd name="connsiteY168" fmla="*/ 2246493 h 2962327"/>
                <a:gd name="connsiteX169" fmla="*/ 2821802 w 3028217"/>
                <a:gd name="connsiteY169" fmla="*/ 2266496 h 2962327"/>
                <a:gd name="connsiteX170" fmla="*/ 2808467 w 3028217"/>
                <a:gd name="connsiteY170" fmla="*/ 2240778 h 2962327"/>
                <a:gd name="connsiteX171" fmla="*/ 2785607 w 3028217"/>
                <a:gd name="connsiteY171" fmla="*/ 2172198 h 2962327"/>
                <a:gd name="connsiteX172" fmla="*/ 2805609 w 3028217"/>
                <a:gd name="connsiteY172" fmla="*/ 2234111 h 2962327"/>
                <a:gd name="connsiteX173" fmla="*/ 2821802 w 3028217"/>
                <a:gd name="connsiteY173" fmla="*/ 2273164 h 2962327"/>
                <a:gd name="connsiteX174" fmla="*/ 2708455 w 3028217"/>
                <a:gd name="connsiteY174" fmla="*/ 2451281 h 2962327"/>
                <a:gd name="connsiteX175" fmla="*/ 2551292 w 3028217"/>
                <a:gd name="connsiteY175" fmla="*/ 2622731 h 2962327"/>
                <a:gd name="connsiteX176" fmla="*/ 2476997 w 3028217"/>
                <a:gd name="connsiteY176" fmla="*/ 2687501 h 2962327"/>
                <a:gd name="connsiteX177" fmla="*/ 2463662 w 3028217"/>
                <a:gd name="connsiteY177" fmla="*/ 2655116 h 2962327"/>
                <a:gd name="connsiteX178" fmla="*/ 2425562 w 3028217"/>
                <a:gd name="connsiteY178" fmla="*/ 2533196 h 2962327"/>
                <a:gd name="connsiteX179" fmla="*/ 2439849 w 3028217"/>
                <a:gd name="connsiteY179" fmla="*/ 2375081 h 2962327"/>
                <a:gd name="connsiteX180" fmla="*/ 2449374 w 3028217"/>
                <a:gd name="connsiteY180" fmla="*/ 2301739 h 2962327"/>
                <a:gd name="connsiteX181" fmla="*/ 2430324 w 3028217"/>
                <a:gd name="connsiteY181" fmla="*/ 2210298 h 2962327"/>
                <a:gd name="connsiteX182" fmla="*/ 2396987 w 3028217"/>
                <a:gd name="connsiteY182" fmla="*/ 2144576 h 2962327"/>
                <a:gd name="connsiteX183" fmla="*/ 2370317 w 3028217"/>
                <a:gd name="connsiteY183" fmla="*/ 2012178 h 2962327"/>
                <a:gd name="connsiteX184" fmla="*/ 2374127 w 3028217"/>
                <a:gd name="connsiteY184" fmla="*/ 1992176 h 2962327"/>
                <a:gd name="connsiteX185" fmla="*/ 2319834 w 3028217"/>
                <a:gd name="connsiteY185" fmla="*/ 1944551 h 2962327"/>
                <a:gd name="connsiteX186" fmla="*/ 2282687 w 3028217"/>
                <a:gd name="connsiteY186" fmla="*/ 1931216 h 2962327"/>
                <a:gd name="connsiteX187" fmla="*/ 2200772 w 3028217"/>
                <a:gd name="connsiteY187" fmla="*/ 1905498 h 2962327"/>
                <a:gd name="connsiteX188" fmla="*/ 2157909 w 3028217"/>
                <a:gd name="connsiteY188" fmla="*/ 1926453 h 2962327"/>
                <a:gd name="connsiteX189" fmla="*/ 2106474 w 3028217"/>
                <a:gd name="connsiteY189" fmla="*/ 1931216 h 2962327"/>
                <a:gd name="connsiteX190" fmla="*/ 2040752 w 3028217"/>
                <a:gd name="connsiteY190" fmla="*/ 1937883 h 2962327"/>
                <a:gd name="connsiteX191" fmla="*/ 1974077 w 3028217"/>
                <a:gd name="connsiteY191" fmla="*/ 1924548 h 2962327"/>
                <a:gd name="connsiteX192" fmla="*/ 1919784 w 3028217"/>
                <a:gd name="connsiteY192" fmla="*/ 1877876 h 2962327"/>
                <a:gd name="connsiteX193" fmla="*/ 1896924 w 3028217"/>
                <a:gd name="connsiteY193" fmla="*/ 1849301 h 2962327"/>
                <a:gd name="connsiteX194" fmla="*/ 1839774 w 3028217"/>
                <a:gd name="connsiteY194" fmla="*/ 1762623 h 2962327"/>
                <a:gd name="connsiteX195" fmla="*/ 1822629 w 3028217"/>
                <a:gd name="connsiteY195" fmla="*/ 1676898 h 2962327"/>
                <a:gd name="connsiteX196" fmla="*/ 1829297 w 3028217"/>
                <a:gd name="connsiteY196" fmla="*/ 1537833 h 2962327"/>
                <a:gd name="connsiteX197" fmla="*/ 1828344 w 3028217"/>
                <a:gd name="connsiteY197" fmla="*/ 1514973 h 2962327"/>
                <a:gd name="connsiteX198" fmla="*/ 1909307 w 3028217"/>
                <a:gd name="connsiteY198" fmla="*/ 1373051 h 2962327"/>
                <a:gd name="connsiteX199" fmla="*/ 1929309 w 3028217"/>
                <a:gd name="connsiteY199" fmla="*/ 1361621 h 2962327"/>
                <a:gd name="connsiteX200" fmla="*/ 1977887 w 3028217"/>
                <a:gd name="connsiteY200" fmla="*/ 1293041 h 2962327"/>
                <a:gd name="connsiteX201" fmla="*/ 2019797 w 3028217"/>
                <a:gd name="connsiteY201" fmla="*/ 1227318 h 2962327"/>
                <a:gd name="connsiteX202" fmla="*/ 2051229 w 3028217"/>
                <a:gd name="connsiteY202" fmla="*/ 1178741 h 2962327"/>
                <a:gd name="connsiteX203" fmla="*/ 2083614 w 3028217"/>
                <a:gd name="connsiteY203" fmla="*/ 1172073 h 2962327"/>
                <a:gd name="connsiteX204" fmla="*/ 2161719 w 3028217"/>
                <a:gd name="connsiteY204" fmla="*/ 1162548 h 2962327"/>
                <a:gd name="connsiteX205" fmla="*/ 2266494 w 3028217"/>
                <a:gd name="connsiteY205" fmla="*/ 1136831 h 2962327"/>
                <a:gd name="connsiteX206" fmla="*/ 2331264 w 3028217"/>
                <a:gd name="connsiteY206" fmla="*/ 1133021 h 2962327"/>
                <a:gd name="connsiteX207" fmla="*/ 2387462 w 3028217"/>
                <a:gd name="connsiteY207" fmla="*/ 1197791 h 2962327"/>
                <a:gd name="connsiteX208" fmla="*/ 2400797 w 3028217"/>
                <a:gd name="connsiteY208" fmla="*/ 1229223 h 2962327"/>
                <a:gd name="connsiteX209" fmla="*/ 2517002 w 3028217"/>
                <a:gd name="connsiteY209" fmla="*/ 1283516 h 2962327"/>
                <a:gd name="connsiteX210" fmla="*/ 2556055 w 3028217"/>
                <a:gd name="connsiteY210" fmla="*/ 1266371 h 2962327"/>
                <a:gd name="connsiteX211" fmla="*/ 2617967 w 3028217"/>
                <a:gd name="connsiteY211" fmla="*/ 1241606 h 2962327"/>
                <a:gd name="connsiteX212" fmla="*/ 2701787 w 3028217"/>
                <a:gd name="connsiteY212" fmla="*/ 1271133 h 2962327"/>
                <a:gd name="connsiteX213" fmla="*/ 2823707 w 3028217"/>
                <a:gd name="connsiteY213" fmla="*/ 1270181 h 2962327"/>
                <a:gd name="connsiteX214" fmla="*/ 2842757 w 3028217"/>
                <a:gd name="connsiteY214" fmla="*/ 1253988 h 2962327"/>
                <a:gd name="connsiteX215" fmla="*/ 2857997 w 3028217"/>
                <a:gd name="connsiteY215" fmla="*/ 1191123 h 2962327"/>
                <a:gd name="connsiteX216" fmla="*/ 2824659 w 3028217"/>
                <a:gd name="connsiteY216" fmla="*/ 1163501 h 2962327"/>
                <a:gd name="connsiteX217" fmla="*/ 2781797 w 3028217"/>
                <a:gd name="connsiteY217" fmla="*/ 1153023 h 2962327"/>
                <a:gd name="connsiteX218" fmla="*/ 2778142 w 3028217"/>
                <a:gd name="connsiteY218" fmla="*/ 1149005 h 2962327"/>
                <a:gd name="connsiteX219" fmla="*/ 2758579 w 3028217"/>
                <a:gd name="connsiteY219" fmla="*/ 1157637 h 2962327"/>
                <a:gd name="connsiteX220" fmla="*/ 2684641 w 3028217"/>
                <a:gd name="connsiteY220" fmla="*/ 1122543 h 2962327"/>
                <a:gd name="connsiteX221" fmla="*/ 2664638 w 3028217"/>
                <a:gd name="connsiteY221" fmla="*/ 1083491 h 2962327"/>
                <a:gd name="connsiteX222" fmla="*/ 2646541 w 3028217"/>
                <a:gd name="connsiteY222" fmla="*/ 1054916 h 2962327"/>
                <a:gd name="connsiteX223" fmla="*/ 2610346 w 3028217"/>
                <a:gd name="connsiteY223" fmla="*/ 1080633 h 2962327"/>
                <a:gd name="connsiteX224" fmla="*/ 2609202 w 3028217"/>
                <a:gd name="connsiteY224" fmla="*/ 1082346 h 2962327"/>
                <a:gd name="connsiteX225" fmla="*/ 2613204 w 3028217"/>
                <a:gd name="connsiteY225" fmla="*/ 1086348 h 2962327"/>
                <a:gd name="connsiteX226" fmla="*/ 2632254 w 3028217"/>
                <a:gd name="connsiteY226" fmla="*/ 1108255 h 2962327"/>
                <a:gd name="connsiteX227" fmla="*/ 2609394 w 3028217"/>
                <a:gd name="connsiteY227" fmla="*/ 1145403 h 2962327"/>
                <a:gd name="connsiteX228" fmla="*/ 2584629 w 3028217"/>
                <a:gd name="connsiteY228" fmla="*/ 1132068 h 2962327"/>
                <a:gd name="connsiteX229" fmla="*/ 2566055 w 3028217"/>
                <a:gd name="connsiteY229" fmla="*/ 1095397 h 2962327"/>
                <a:gd name="connsiteX230" fmla="*/ 2558490 w 3028217"/>
                <a:gd name="connsiteY230" fmla="*/ 1083461 h 2962327"/>
                <a:gd name="connsiteX231" fmla="*/ 2545576 w 3028217"/>
                <a:gd name="connsiteY231" fmla="*/ 1071108 h 2962327"/>
                <a:gd name="connsiteX232" fmla="*/ 2536051 w 3028217"/>
                <a:gd name="connsiteY232" fmla="*/ 1061583 h 2962327"/>
                <a:gd name="connsiteX233" fmla="*/ 2429371 w 3028217"/>
                <a:gd name="connsiteY233" fmla="*/ 952046 h 2962327"/>
                <a:gd name="connsiteX234" fmla="*/ 2417941 w 3028217"/>
                <a:gd name="connsiteY234" fmla="*/ 944426 h 2962327"/>
                <a:gd name="connsiteX235" fmla="*/ 2407463 w 3028217"/>
                <a:gd name="connsiteY235" fmla="*/ 947283 h 2962327"/>
                <a:gd name="connsiteX236" fmla="*/ 2469376 w 3028217"/>
                <a:gd name="connsiteY236" fmla="*/ 1014911 h 2962327"/>
                <a:gd name="connsiteX237" fmla="*/ 2509381 w 3028217"/>
                <a:gd name="connsiteY237" fmla="*/ 1044438 h 2962327"/>
                <a:gd name="connsiteX238" fmla="*/ 2504618 w 3028217"/>
                <a:gd name="connsiteY238" fmla="*/ 1057773 h 2962327"/>
                <a:gd name="connsiteX239" fmla="*/ 2488426 w 3028217"/>
                <a:gd name="connsiteY239" fmla="*/ 1077776 h 2962327"/>
                <a:gd name="connsiteX240" fmla="*/ 2476996 w 3028217"/>
                <a:gd name="connsiteY240" fmla="*/ 1084443 h 2962327"/>
                <a:gd name="connsiteX241" fmla="*/ 2356028 w 3028217"/>
                <a:gd name="connsiteY241" fmla="*/ 985383 h 2962327"/>
                <a:gd name="connsiteX242" fmla="*/ 2317928 w 3028217"/>
                <a:gd name="connsiteY242" fmla="*/ 978716 h 2962327"/>
                <a:gd name="connsiteX243" fmla="*/ 2295068 w 3028217"/>
                <a:gd name="connsiteY243" fmla="*/ 993003 h 2962327"/>
                <a:gd name="connsiteX244" fmla="*/ 2196008 w 3028217"/>
                <a:gd name="connsiteY244" fmla="*/ 1057773 h 2962327"/>
                <a:gd name="connsiteX245" fmla="*/ 2181721 w 3028217"/>
                <a:gd name="connsiteY245" fmla="*/ 1087301 h 2962327"/>
                <a:gd name="connsiteX246" fmla="*/ 2105521 w 3028217"/>
                <a:gd name="connsiteY246" fmla="*/ 1157786 h 2962327"/>
                <a:gd name="connsiteX247" fmla="*/ 2053133 w 3028217"/>
                <a:gd name="connsiteY247" fmla="*/ 1155881 h 2962327"/>
                <a:gd name="connsiteX248" fmla="*/ 2036941 w 3028217"/>
                <a:gd name="connsiteY248" fmla="*/ 1136831 h 2962327"/>
                <a:gd name="connsiteX249" fmla="*/ 2008366 w 3028217"/>
                <a:gd name="connsiteY249" fmla="*/ 1131116 h 2962327"/>
                <a:gd name="connsiteX250" fmla="*/ 2001698 w 3028217"/>
                <a:gd name="connsiteY250" fmla="*/ 1074918 h 2962327"/>
                <a:gd name="connsiteX251" fmla="*/ 2008366 w 3028217"/>
                <a:gd name="connsiteY251" fmla="*/ 1001576 h 2962327"/>
                <a:gd name="connsiteX252" fmla="*/ 2035988 w 3028217"/>
                <a:gd name="connsiteY252" fmla="*/ 977763 h 2962327"/>
                <a:gd name="connsiteX253" fmla="*/ 2107426 w 3028217"/>
                <a:gd name="connsiteY253" fmla="*/ 983478 h 2962327"/>
                <a:gd name="connsiteX254" fmla="*/ 2148383 w 3028217"/>
                <a:gd name="connsiteY254" fmla="*/ 975858 h 2962327"/>
                <a:gd name="connsiteX255" fmla="*/ 2150288 w 3028217"/>
                <a:gd name="connsiteY255" fmla="*/ 913946 h 2962327"/>
                <a:gd name="connsiteX256" fmla="*/ 2112188 w 3028217"/>
                <a:gd name="connsiteY256" fmla="*/ 876798 h 2962327"/>
                <a:gd name="connsiteX257" fmla="*/ 2096948 w 3028217"/>
                <a:gd name="connsiteY257" fmla="*/ 862511 h 2962327"/>
                <a:gd name="connsiteX258" fmla="*/ 2118856 w 3028217"/>
                <a:gd name="connsiteY258" fmla="*/ 849176 h 2962327"/>
                <a:gd name="connsiteX259" fmla="*/ 2206486 w 3028217"/>
                <a:gd name="connsiteY259" fmla="*/ 810123 h 2962327"/>
                <a:gd name="connsiteX260" fmla="*/ 2308403 w 3028217"/>
                <a:gd name="connsiteY260" fmla="*/ 731066 h 2962327"/>
                <a:gd name="connsiteX261" fmla="*/ 2321738 w 3028217"/>
                <a:gd name="connsiteY261" fmla="*/ 708206 h 2962327"/>
                <a:gd name="connsiteX262" fmla="*/ 2311261 w 3028217"/>
                <a:gd name="connsiteY262" fmla="*/ 679631 h 2962327"/>
                <a:gd name="connsiteX263" fmla="*/ 2320786 w 3028217"/>
                <a:gd name="connsiteY263" fmla="*/ 643436 h 2962327"/>
                <a:gd name="connsiteX264" fmla="*/ 2338883 w 3028217"/>
                <a:gd name="connsiteY264" fmla="*/ 638673 h 2962327"/>
                <a:gd name="connsiteX265" fmla="*/ 2343646 w 3028217"/>
                <a:gd name="connsiteY265" fmla="*/ 675821 h 2962327"/>
                <a:gd name="connsiteX266" fmla="*/ 2348408 w 3028217"/>
                <a:gd name="connsiteY266" fmla="*/ 699633 h 2962327"/>
                <a:gd name="connsiteX267" fmla="*/ 2376031 w 3028217"/>
                <a:gd name="connsiteY267" fmla="*/ 706301 h 2962327"/>
                <a:gd name="connsiteX268" fmla="*/ 2385556 w 3028217"/>
                <a:gd name="connsiteY268" fmla="*/ 704396 h 2962327"/>
                <a:gd name="connsiteX269" fmla="*/ 2454136 w 3028217"/>
                <a:gd name="connsiteY269" fmla="*/ 698681 h 2962327"/>
                <a:gd name="connsiteX270" fmla="*/ 2476996 w 3028217"/>
                <a:gd name="connsiteY270" fmla="*/ 692013 h 2962327"/>
                <a:gd name="connsiteX271" fmla="*/ 2517953 w 3028217"/>
                <a:gd name="connsiteY271" fmla="*/ 648198 h 2962327"/>
                <a:gd name="connsiteX272" fmla="*/ 2563673 w 3028217"/>
                <a:gd name="connsiteY272" fmla="*/ 626291 h 2962327"/>
                <a:gd name="connsiteX273" fmla="*/ 2554148 w 3028217"/>
                <a:gd name="connsiteY273" fmla="*/ 585333 h 2962327"/>
                <a:gd name="connsiteX274" fmla="*/ 2572928 w 3028217"/>
                <a:gd name="connsiteY274" fmla="*/ 573708 h 2962327"/>
                <a:gd name="connsiteX275" fmla="*/ 2586098 w 3028217"/>
                <a:gd name="connsiteY275" fmla="*/ 571735 h 2962327"/>
                <a:gd name="connsiteX276" fmla="*/ 2586726 w 3028217"/>
                <a:gd name="connsiteY276" fmla="*/ 571671 h 2962327"/>
                <a:gd name="connsiteX277" fmla="*/ 2624633 w 3028217"/>
                <a:gd name="connsiteY277" fmla="*/ 568188 h 2962327"/>
                <a:gd name="connsiteX278" fmla="*/ 2630348 w 3028217"/>
                <a:gd name="connsiteY278" fmla="*/ 563426 h 2962327"/>
                <a:gd name="connsiteX279" fmla="*/ 2633206 w 3028217"/>
                <a:gd name="connsiteY279" fmla="*/ 563426 h 2962327"/>
                <a:gd name="connsiteX280" fmla="*/ 2626538 w 3028217"/>
                <a:gd name="connsiteY280" fmla="*/ 563426 h 2962327"/>
                <a:gd name="connsiteX281" fmla="*/ 2593082 w 3028217"/>
                <a:gd name="connsiteY281" fmla="*/ 570689 h 2962327"/>
                <a:gd name="connsiteX282" fmla="*/ 2586098 w 3028217"/>
                <a:gd name="connsiteY282" fmla="*/ 571735 h 2962327"/>
                <a:gd name="connsiteX283" fmla="*/ 2574151 w 3028217"/>
                <a:gd name="connsiteY283" fmla="*/ 572951 h 2962327"/>
                <a:gd name="connsiteX284" fmla="*/ 2572928 w 3028217"/>
                <a:gd name="connsiteY284" fmla="*/ 573708 h 2962327"/>
                <a:gd name="connsiteX285" fmla="*/ 2558911 w 3028217"/>
                <a:gd name="connsiteY285" fmla="*/ 575808 h 2962327"/>
                <a:gd name="connsiteX286" fmla="*/ 2506523 w 3028217"/>
                <a:gd name="connsiteY286" fmla="*/ 541518 h 2962327"/>
                <a:gd name="connsiteX287" fmla="*/ 2512238 w 3028217"/>
                <a:gd name="connsiteY287" fmla="*/ 480558 h 2962327"/>
                <a:gd name="connsiteX288" fmla="*/ 2533193 w 3028217"/>
                <a:gd name="connsiteY288" fmla="*/ 458651 h 2962327"/>
                <a:gd name="connsiteX289" fmla="*/ 2534146 w 3028217"/>
                <a:gd name="connsiteY289" fmla="*/ 440553 h 2962327"/>
                <a:gd name="connsiteX290" fmla="*/ 2513191 w 3028217"/>
                <a:gd name="connsiteY290" fmla="*/ 445316 h 2962327"/>
                <a:gd name="connsiteX291" fmla="*/ 2464613 w 3028217"/>
                <a:gd name="connsiteY291" fmla="*/ 509133 h 2962327"/>
                <a:gd name="connsiteX292" fmla="*/ 2467471 w 3028217"/>
                <a:gd name="connsiteY292" fmla="*/ 551996 h 2962327"/>
                <a:gd name="connsiteX293" fmla="*/ 2468423 w 3028217"/>
                <a:gd name="connsiteY293" fmla="*/ 597716 h 2962327"/>
                <a:gd name="connsiteX294" fmla="*/ 2453183 w 3028217"/>
                <a:gd name="connsiteY294" fmla="*/ 638673 h 2962327"/>
                <a:gd name="connsiteX295" fmla="*/ 2423656 w 3028217"/>
                <a:gd name="connsiteY295" fmla="*/ 676773 h 2962327"/>
                <a:gd name="connsiteX296" fmla="*/ 2389366 w 3028217"/>
                <a:gd name="connsiteY296" fmla="*/ 683441 h 2962327"/>
                <a:gd name="connsiteX297" fmla="*/ 2383651 w 3028217"/>
                <a:gd name="connsiteY297" fmla="*/ 659628 h 2962327"/>
                <a:gd name="connsiteX298" fmla="*/ 2367458 w 3028217"/>
                <a:gd name="connsiteY298" fmla="*/ 627243 h 2962327"/>
                <a:gd name="connsiteX299" fmla="*/ 2308403 w 3028217"/>
                <a:gd name="connsiteY299" fmla="*/ 612003 h 2962327"/>
                <a:gd name="connsiteX300" fmla="*/ 2270303 w 3028217"/>
                <a:gd name="connsiteY300" fmla="*/ 571046 h 2962327"/>
                <a:gd name="connsiteX301" fmla="*/ 2260778 w 3028217"/>
                <a:gd name="connsiteY301" fmla="*/ 543423 h 2962327"/>
                <a:gd name="connsiteX302" fmla="*/ 2259826 w 3028217"/>
                <a:gd name="connsiteY302" fmla="*/ 522468 h 2962327"/>
                <a:gd name="connsiteX303" fmla="*/ 2390318 w 3028217"/>
                <a:gd name="connsiteY303" fmla="*/ 385308 h 2962327"/>
                <a:gd name="connsiteX304" fmla="*/ 2416988 w 3028217"/>
                <a:gd name="connsiteY304" fmla="*/ 357686 h 2962327"/>
                <a:gd name="connsiteX305" fmla="*/ 2417941 w 3028217"/>
                <a:gd name="connsiteY305" fmla="*/ 351971 h 2962327"/>
                <a:gd name="connsiteX306" fmla="*/ 2424608 w 3028217"/>
                <a:gd name="connsiteY306" fmla="*/ 353876 h 2962327"/>
                <a:gd name="connsiteX307" fmla="*/ 2452245 w 3028217"/>
                <a:gd name="connsiteY307" fmla="*/ 336582 h 2962327"/>
                <a:gd name="connsiteX308" fmla="*/ 2471113 w 3028217"/>
                <a:gd name="connsiteY308" fmla="*/ 336025 h 2962327"/>
                <a:gd name="connsiteX309" fmla="*/ 761544 w 3028217"/>
                <a:gd name="connsiteY309" fmla="*/ 194808 h 2962327"/>
                <a:gd name="connsiteX310" fmla="*/ 773926 w 3028217"/>
                <a:gd name="connsiteY310" fmla="*/ 216716 h 2962327"/>
                <a:gd name="connsiteX311" fmla="*/ 773926 w 3028217"/>
                <a:gd name="connsiteY311" fmla="*/ 278628 h 2962327"/>
                <a:gd name="connsiteX312" fmla="*/ 687249 w 3028217"/>
                <a:gd name="connsiteY312" fmla="*/ 293868 h 2962327"/>
                <a:gd name="connsiteX313" fmla="*/ 671056 w 3028217"/>
                <a:gd name="connsiteY313" fmla="*/ 292916 h 2962327"/>
                <a:gd name="connsiteX314" fmla="*/ 640576 w 3028217"/>
                <a:gd name="connsiteY314" fmla="*/ 298631 h 2962327"/>
                <a:gd name="connsiteX315" fmla="*/ 603429 w 3028217"/>
                <a:gd name="connsiteY315" fmla="*/ 291011 h 2962327"/>
                <a:gd name="connsiteX316" fmla="*/ 715824 w 3028217"/>
                <a:gd name="connsiteY316" fmla="*/ 211953 h 2962327"/>
                <a:gd name="connsiteX317" fmla="*/ 727254 w 3028217"/>
                <a:gd name="connsiteY317" fmla="*/ 215763 h 2962327"/>
                <a:gd name="connsiteX318" fmla="*/ 761544 w 3028217"/>
                <a:gd name="connsiteY318" fmla="*/ 194808 h 2962327"/>
                <a:gd name="connsiteX319" fmla="*/ 873343 w 3028217"/>
                <a:gd name="connsiteY319" fmla="*/ 184331 h 2962327"/>
                <a:gd name="connsiteX320" fmla="*/ 891083 w 3028217"/>
                <a:gd name="connsiteY320" fmla="*/ 191951 h 2962327"/>
                <a:gd name="connsiteX321" fmla="*/ 888226 w 3028217"/>
                <a:gd name="connsiteY321" fmla="*/ 217668 h 2962327"/>
                <a:gd name="connsiteX322" fmla="*/ 879241 w 3028217"/>
                <a:gd name="connsiteY322" fmla="*/ 234820 h 2962327"/>
                <a:gd name="connsiteX323" fmla="*/ 895370 w 3028217"/>
                <a:gd name="connsiteY323" fmla="*/ 235036 h 2962327"/>
                <a:gd name="connsiteX324" fmla="*/ 899656 w 3028217"/>
                <a:gd name="connsiteY324" fmla="*/ 266246 h 2962327"/>
                <a:gd name="connsiteX325" fmla="*/ 892988 w 3028217"/>
                <a:gd name="connsiteY325" fmla="*/ 303393 h 2962327"/>
                <a:gd name="connsiteX326" fmla="*/ 905371 w 3028217"/>
                <a:gd name="connsiteY326" fmla="*/ 303393 h 2962327"/>
                <a:gd name="connsiteX327" fmla="*/ 915848 w 3028217"/>
                <a:gd name="connsiteY327" fmla="*/ 337683 h 2962327"/>
                <a:gd name="connsiteX328" fmla="*/ 946328 w 3028217"/>
                <a:gd name="connsiteY328" fmla="*/ 324348 h 2962327"/>
                <a:gd name="connsiteX329" fmla="*/ 973409 w 3028217"/>
                <a:gd name="connsiteY329" fmla="*/ 303804 h 2962327"/>
                <a:gd name="connsiteX330" fmla="*/ 975260 w 3028217"/>
                <a:gd name="connsiteY330" fmla="*/ 292796 h 2962327"/>
                <a:gd name="connsiteX331" fmla="*/ 965378 w 3028217"/>
                <a:gd name="connsiteY331" fmla="*/ 281485 h 2962327"/>
                <a:gd name="connsiteX332" fmla="*/ 962521 w 3028217"/>
                <a:gd name="connsiteY332" fmla="*/ 233860 h 2962327"/>
                <a:gd name="connsiteX333" fmla="*/ 1013956 w 3028217"/>
                <a:gd name="connsiteY333" fmla="*/ 203380 h 2962327"/>
                <a:gd name="connsiteX334" fmla="*/ 1028243 w 3028217"/>
                <a:gd name="connsiteY334" fmla="*/ 200165 h 2962327"/>
                <a:gd name="connsiteX335" fmla="*/ 1042531 w 3028217"/>
                <a:gd name="connsiteY335" fmla="*/ 206238 h 2962327"/>
                <a:gd name="connsiteX336" fmla="*/ 1016813 w 3028217"/>
                <a:gd name="connsiteY336" fmla="*/ 234813 h 2962327"/>
                <a:gd name="connsiteX337" fmla="*/ 1075868 w 3028217"/>
                <a:gd name="connsiteY337" fmla="*/ 204333 h 2962327"/>
                <a:gd name="connsiteX338" fmla="*/ 1095871 w 3028217"/>
                <a:gd name="connsiteY338" fmla="*/ 204333 h 2962327"/>
                <a:gd name="connsiteX339" fmla="*/ 1099681 w 3028217"/>
                <a:gd name="connsiteY339" fmla="*/ 232908 h 2962327"/>
                <a:gd name="connsiteX340" fmla="*/ 1133971 w 3028217"/>
                <a:gd name="connsiteY340" fmla="*/ 231003 h 2962327"/>
                <a:gd name="connsiteX341" fmla="*/ 1151116 w 3028217"/>
                <a:gd name="connsiteY341" fmla="*/ 238623 h 2962327"/>
                <a:gd name="connsiteX342" fmla="*/ 1205408 w 3028217"/>
                <a:gd name="connsiteY342" fmla="*/ 287200 h 2962327"/>
                <a:gd name="connsiteX343" fmla="*/ 1198741 w 3028217"/>
                <a:gd name="connsiteY343" fmla="*/ 334825 h 2962327"/>
                <a:gd name="connsiteX344" fmla="*/ 1248271 w 3028217"/>
                <a:gd name="connsiteY344" fmla="*/ 377688 h 2962327"/>
                <a:gd name="connsiteX345" fmla="*/ 1246366 w 3028217"/>
                <a:gd name="connsiteY345" fmla="*/ 402453 h 2962327"/>
                <a:gd name="connsiteX346" fmla="*/ 1187311 w 3028217"/>
                <a:gd name="connsiteY346" fmla="*/ 402453 h 2962327"/>
                <a:gd name="connsiteX347" fmla="*/ 1171118 w 3028217"/>
                <a:gd name="connsiteY347" fmla="*/ 396738 h 2962327"/>
                <a:gd name="connsiteX348" fmla="*/ 1171118 w 3028217"/>
                <a:gd name="connsiteY348" fmla="*/ 431028 h 2962327"/>
                <a:gd name="connsiteX349" fmla="*/ 1151116 w 3028217"/>
                <a:gd name="connsiteY349" fmla="*/ 479605 h 2962327"/>
                <a:gd name="connsiteX350" fmla="*/ 1136828 w 3028217"/>
                <a:gd name="connsiteY350" fmla="*/ 476748 h 2962327"/>
                <a:gd name="connsiteX351" fmla="*/ 1136828 w 3028217"/>
                <a:gd name="connsiteY351" fmla="*/ 487225 h 2962327"/>
                <a:gd name="connsiteX352" fmla="*/ 1118731 w 3028217"/>
                <a:gd name="connsiteY352" fmla="*/ 497703 h 2962327"/>
                <a:gd name="connsiteX353" fmla="*/ 1066343 w 3028217"/>
                <a:gd name="connsiteY353" fmla="*/ 455793 h 2962327"/>
                <a:gd name="connsiteX354" fmla="*/ 1016813 w 3028217"/>
                <a:gd name="connsiteY354" fmla="*/ 433885 h 2962327"/>
                <a:gd name="connsiteX355" fmla="*/ 996811 w 3028217"/>
                <a:gd name="connsiteY355" fmla="*/ 428170 h 2962327"/>
                <a:gd name="connsiteX356" fmla="*/ 1013003 w 3028217"/>
                <a:gd name="connsiteY356" fmla="*/ 411978 h 2962327"/>
                <a:gd name="connsiteX357" fmla="*/ 1109206 w 3028217"/>
                <a:gd name="connsiteY357" fmla="*/ 369115 h 2962327"/>
                <a:gd name="connsiteX358" fmla="*/ 1089203 w 3028217"/>
                <a:gd name="connsiteY358" fmla="*/ 307203 h 2962327"/>
                <a:gd name="connsiteX359" fmla="*/ 1077773 w 3028217"/>
                <a:gd name="connsiteY359" fmla="*/ 291010 h 2962327"/>
                <a:gd name="connsiteX360" fmla="*/ 1016813 w 3028217"/>
                <a:gd name="connsiteY360" fmla="*/ 292915 h 2962327"/>
                <a:gd name="connsiteX361" fmla="*/ 1007169 w 3028217"/>
                <a:gd name="connsiteY361" fmla="*/ 296011 h 2962327"/>
                <a:gd name="connsiteX362" fmla="*/ 1007866 w 3028217"/>
                <a:gd name="connsiteY362" fmla="*/ 302667 h 2962327"/>
                <a:gd name="connsiteX363" fmla="*/ 1009193 w 3028217"/>
                <a:gd name="connsiteY363" fmla="*/ 303393 h 2962327"/>
                <a:gd name="connsiteX364" fmla="*/ 962521 w 3028217"/>
                <a:gd name="connsiteY364" fmla="*/ 370068 h 2962327"/>
                <a:gd name="connsiteX365" fmla="*/ 905371 w 3028217"/>
                <a:gd name="connsiteY365" fmla="*/ 371973 h 2962327"/>
                <a:gd name="connsiteX366" fmla="*/ 868223 w 3028217"/>
                <a:gd name="connsiteY366" fmla="*/ 410073 h 2962327"/>
                <a:gd name="connsiteX367" fmla="*/ 836791 w 3028217"/>
                <a:gd name="connsiteY367" fmla="*/ 426266 h 2962327"/>
                <a:gd name="connsiteX368" fmla="*/ 816788 w 3028217"/>
                <a:gd name="connsiteY368" fmla="*/ 424361 h 2962327"/>
                <a:gd name="connsiteX369" fmla="*/ 677723 w 3028217"/>
                <a:gd name="connsiteY369" fmla="*/ 507228 h 2962327"/>
                <a:gd name="connsiteX370" fmla="*/ 668198 w 3028217"/>
                <a:gd name="connsiteY370" fmla="*/ 553901 h 2962327"/>
                <a:gd name="connsiteX371" fmla="*/ 662483 w 3028217"/>
                <a:gd name="connsiteY371" fmla="*/ 586286 h 2962327"/>
                <a:gd name="connsiteX372" fmla="*/ 716776 w 3028217"/>
                <a:gd name="connsiteY372" fmla="*/ 612956 h 2962327"/>
                <a:gd name="connsiteX373" fmla="*/ 771068 w 3028217"/>
                <a:gd name="connsiteY373" fmla="*/ 645341 h 2962327"/>
                <a:gd name="connsiteX374" fmla="*/ 782498 w 3028217"/>
                <a:gd name="connsiteY374" fmla="*/ 667248 h 2962327"/>
                <a:gd name="connsiteX375" fmla="*/ 772973 w 3028217"/>
                <a:gd name="connsiteY375" fmla="*/ 726303 h 2962327"/>
                <a:gd name="connsiteX376" fmla="*/ 805358 w 3028217"/>
                <a:gd name="connsiteY376" fmla="*/ 736781 h 2962327"/>
                <a:gd name="connsiteX377" fmla="*/ 828218 w 3028217"/>
                <a:gd name="connsiteY377" fmla="*/ 689156 h 2962327"/>
                <a:gd name="connsiteX378" fmla="*/ 858698 w 3028217"/>
                <a:gd name="connsiteY378" fmla="*/ 652961 h 2962327"/>
                <a:gd name="connsiteX379" fmla="*/ 901561 w 3028217"/>
                <a:gd name="connsiteY379" fmla="*/ 573903 h 2962327"/>
                <a:gd name="connsiteX380" fmla="*/ 904418 w 3028217"/>
                <a:gd name="connsiteY380" fmla="*/ 561521 h 2962327"/>
                <a:gd name="connsiteX381" fmla="*/ 953948 w 3028217"/>
                <a:gd name="connsiteY381" fmla="*/ 491988 h 2962327"/>
                <a:gd name="connsiteX382" fmla="*/ 968236 w 3028217"/>
                <a:gd name="connsiteY382" fmla="*/ 478653 h 2962327"/>
                <a:gd name="connsiteX383" fmla="*/ 1049198 w 3028217"/>
                <a:gd name="connsiteY383" fmla="*/ 512943 h 2962327"/>
                <a:gd name="connsiteX384" fmla="*/ 1063486 w 3028217"/>
                <a:gd name="connsiteY384" fmla="*/ 539613 h 2962327"/>
                <a:gd name="connsiteX385" fmla="*/ 1067296 w 3028217"/>
                <a:gd name="connsiteY385" fmla="*/ 583428 h 2962327"/>
                <a:gd name="connsiteX386" fmla="*/ 1112063 w 3028217"/>
                <a:gd name="connsiteY386" fmla="*/ 568188 h 2962327"/>
                <a:gd name="connsiteX387" fmla="*/ 1146353 w 3028217"/>
                <a:gd name="connsiteY387" fmla="*/ 580571 h 2962327"/>
                <a:gd name="connsiteX388" fmla="*/ 1151116 w 3028217"/>
                <a:gd name="connsiteY388" fmla="*/ 616766 h 2962327"/>
                <a:gd name="connsiteX389" fmla="*/ 1193026 w 3028217"/>
                <a:gd name="connsiteY389" fmla="*/ 684393 h 2962327"/>
                <a:gd name="connsiteX390" fmla="*/ 1182905 w 3028217"/>
                <a:gd name="connsiteY390" fmla="*/ 697847 h 2962327"/>
                <a:gd name="connsiteX391" fmla="*/ 1179024 w 3028217"/>
                <a:gd name="connsiteY391" fmla="*/ 699159 h 2962327"/>
                <a:gd name="connsiteX392" fmla="*/ 1177845 w 3028217"/>
                <a:gd name="connsiteY392" fmla="*/ 699023 h 2962327"/>
                <a:gd name="connsiteX393" fmla="*/ 1166356 w 3028217"/>
                <a:gd name="connsiteY393" fmla="*/ 703443 h 2962327"/>
                <a:gd name="connsiteX394" fmla="*/ 1179024 w 3028217"/>
                <a:gd name="connsiteY394" fmla="*/ 699159 h 2962327"/>
                <a:gd name="connsiteX395" fmla="*/ 1188263 w 3028217"/>
                <a:gd name="connsiteY395" fmla="*/ 700229 h 2962327"/>
                <a:gd name="connsiteX396" fmla="*/ 1207313 w 3028217"/>
                <a:gd name="connsiteY396" fmla="*/ 712016 h 2962327"/>
                <a:gd name="connsiteX397" fmla="*/ 1205051 w 3028217"/>
                <a:gd name="connsiteY397" fmla="*/ 754402 h 2962327"/>
                <a:gd name="connsiteX398" fmla="*/ 1180854 w 3028217"/>
                <a:gd name="connsiteY398" fmla="*/ 787924 h 2962327"/>
                <a:gd name="connsiteX399" fmla="*/ 1187073 w 3028217"/>
                <a:gd name="connsiteY399" fmla="*/ 807504 h 2962327"/>
                <a:gd name="connsiteX400" fmla="*/ 1206361 w 3028217"/>
                <a:gd name="connsiteY400" fmla="*/ 814886 h 2962327"/>
                <a:gd name="connsiteX401" fmla="*/ 1213981 w 3028217"/>
                <a:gd name="connsiteY401" fmla="*/ 828221 h 2962327"/>
                <a:gd name="connsiteX402" fmla="*/ 1172071 w 3028217"/>
                <a:gd name="connsiteY402" fmla="*/ 862511 h 2962327"/>
                <a:gd name="connsiteX403" fmla="*/ 1115874 w 3028217"/>
                <a:gd name="connsiteY403" fmla="*/ 854891 h 2962327"/>
                <a:gd name="connsiteX404" fmla="*/ 1148259 w 3028217"/>
                <a:gd name="connsiteY404" fmla="*/ 807266 h 2962327"/>
                <a:gd name="connsiteX405" fmla="*/ 1173024 w 3028217"/>
                <a:gd name="connsiteY405" fmla="*/ 780596 h 2962327"/>
                <a:gd name="connsiteX406" fmla="*/ 1173125 w 3028217"/>
                <a:gd name="connsiteY406" fmla="*/ 780684 h 2962327"/>
                <a:gd name="connsiteX407" fmla="*/ 1174333 w 3028217"/>
                <a:gd name="connsiteY407" fmla="*/ 770475 h 2962327"/>
                <a:gd name="connsiteX408" fmla="*/ 1163498 w 3028217"/>
                <a:gd name="connsiteY408" fmla="*/ 767261 h 2962327"/>
                <a:gd name="connsiteX409" fmla="*/ 1124446 w 3028217"/>
                <a:gd name="connsiteY409" fmla="*/ 787263 h 2962327"/>
                <a:gd name="connsiteX410" fmla="*/ 1043483 w 3028217"/>
                <a:gd name="connsiteY410" fmla="*/ 789168 h 2962327"/>
                <a:gd name="connsiteX411" fmla="*/ 993953 w 3028217"/>
                <a:gd name="connsiteY411" fmla="*/ 794883 h 2962327"/>
                <a:gd name="connsiteX412" fmla="*/ 959663 w 3028217"/>
                <a:gd name="connsiteY412" fmla="*/ 814886 h 2962327"/>
                <a:gd name="connsiteX413" fmla="*/ 929183 w 3028217"/>
                <a:gd name="connsiteY413" fmla="*/ 839651 h 2962327"/>
                <a:gd name="connsiteX414" fmla="*/ 925100 w 3028217"/>
                <a:gd name="connsiteY414" fmla="*/ 843462 h 2962327"/>
                <a:gd name="connsiteX415" fmla="*/ 915848 w 3028217"/>
                <a:gd name="connsiteY415" fmla="*/ 851081 h 2962327"/>
                <a:gd name="connsiteX416" fmla="*/ 912991 w 3028217"/>
                <a:gd name="connsiteY416" fmla="*/ 851081 h 2962327"/>
                <a:gd name="connsiteX417" fmla="*/ 914896 w 3028217"/>
                <a:gd name="connsiteY417" fmla="*/ 852986 h 2962327"/>
                <a:gd name="connsiteX418" fmla="*/ 925100 w 3028217"/>
                <a:gd name="connsiteY418" fmla="*/ 843462 h 2962327"/>
                <a:gd name="connsiteX419" fmla="*/ 932041 w 3028217"/>
                <a:gd name="connsiteY419" fmla="*/ 837746 h 2962327"/>
                <a:gd name="connsiteX420" fmla="*/ 972998 w 3028217"/>
                <a:gd name="connsiteY420" fmla="*/ 820601 h 2962327"/>
                <a:gd name="connsiteX421" fmla="*/ 992048 w 3028217"/>
                <a:gd name="connsiteY421" fmla="*/ 814886 h 2962327"/>
                <a:gd name="connsiteX422" fmla="*/ 1023481 w 3028217"/>
                <a:gd name="connsiteY422" fmla="*/ 819648 h 2962327"/>
                <a:gd name="connsiteX423" fmla="*/ 1005383 w 3028217"/>
                <a:gd name="connsiteY423" fmla="*/ 842508 h 2962327"/>
                <a:gd name="connsiteX424" fmla="*/ 1006336 w 3028217"/>
                <a:gd name="connsiteY424" fmla="*/ 854891 h 2962327"/>
                <a:gd name="connsiteX425" fmla="*/ 1005383 w 3028217"/>
                <a:gd name="connsiteY425" fmla="*/ 889181 h 2962327"/>
                <a:gd name="connsiteX426" fmla="*/ 984428 w 3028217"/>
                <a:gd name="connsiteY426" fmla="*/ 910136 h 2962327"/>
                <a:gd name="connsiteX427" fmla="*/ 952043 w 3028217"/>
                <a:gd name="connsiteY427" fmla="*/ 916803 h 2962327"/>
                <a:gd name="connsiteX428" fmla="*/ 899656 w 3028217"/>
                <a:gd name="connsiteY428" fmla="*/ 938711 h 2962327"/>
                <a:gd name="connsiteX429" fmla="*/ 855841 w 3028217"/>
                <a:gd name="connsiteY429" fmla="*/ 985383 h 2962327"/>
                <a:gd name="connsiteX430" fmla="*/ 831076 w 3028217"/>
                <a:gd name="connsiteY430" fmla="*/ 1003481 h 2962327"/>
                <a:gd name="connsiteX431" fmla="*/ 738683 w 3028217"/>
                <a:gd name="connsiteY431" fmla="*/ 1081586 h 2962327"/>
                <a:gd name="connsiteX432" fmla="*/ 711061 w 3028217"/>
                <a:gd name="connsiteY432" fmla="*/ 1115876 h 2962327"/>
                <a:gd name="connsiteX433" fmla="*/ 666293 w 3028217"/>
                <a:gd name="connsiteY433" fmla="*/ 1175883 h 2962327"/>
                <a:gd name="connsiteX434" fmla="*/ 585331 w 3028217"/>
                <a:gd name="connsiteY434" fmla="*/ 1230176 h 2962327"/>
                <a:gd name="connsiteX435" fmla="*/ 559613 w 3028217"/>
                <a:gd name="connsiteY435" fmla="*/ 1297803 h 2962327"/>
                <a:gd name="connsiteX436" fmla="*/ 557708 w 3028217"/>
                <a:gd name="connsiteY436" fmla="*/ 1386386 h 2962327"/>
                <a:gd name="connsiteX437" fmla="*/ 542468 w 3028217"/>
                <a:gd name="connsiteY437" fmla="*/ 1407341 h 2962327"/>
                <a:gd name="connsiteX438" fmla="*/ 528181 w 3028217"/>
                <a:gd name="connsiteY438" fmla="*/ 1387338 h 2962327"/>
                <a:gd name="connsiteX439" fmla="*/ 519608 w 3028217"/>
                <a:gd name="connsiteY439" fmla="*/ 1320663 h 2962327"/>
                <a:gd name="connsiteX440" fmla="*/ 488176 w 3028217"/>
                <a:gd name="connsiteY440" fmla="*/ 1283516 h 2962327"/>
                <a:gd name="connsiteX441" fmla="*/ 429121 w 3028217"/>
                <a:gd name="connsiteY441" fmla="*/ 1267323 h 2962327"/>
                <a:gd name="connsiteX442" fmla="*/ 409118 w 3028217"/>
                <a:gd name="connsiteY442" fmla="*/ 1268276 h 2962327"/>
                <a:gd name="connsiteX443" fmla="*/ 336728 w 3028217"/>
                <a:gd name="connsiteY443" fmla="*/ 1284468 h 2962327"/>
                <a:gd name="connsiteX444" fmla="*/ 215761 w 3028217"/>
                <a:gd name="connsiteY444" fmla="*/ 1373051 h 2962327"/>
                <a:gd name="connsiteX445" fmla="*/ 189091 w 3028217"/>
                <a:gd name="connsiteY445" fmla="*/ 1441631 h 2962327"/>
                <a:gd name="connsiteX446" fmla="*/ 196711 w 3028217"/>
                <a:gd name="connsiteY446" fmla="*/ 1544501 h 2962327"/>
                <a:gd name="connsiteX447" fmla="*/ 244336 w 3028217"/>
                <a:gd name="connsiteY447" fmla="*/ 1573076 h 2962327"/>
                <a:gd name="connsiteX448" fmla="*/ 320536 w 3028217"/>
                <a:gd name="connsiteY448" fmla="*/ 1514973 h 2962327"/>
                <a:gd name="connsiteX449" fmla="*/ 387211 w 3028217"/>
                <a:gd name="connsiteY449" fmla="*/ 1494971 h 2962327"/>
                <a:gd name="connsiteX450" fmla="*/ 389116 w 3028217"/>
                <a:gd name="connsiteY450" fmla="*/ 1515926 h 2962327"/>
                <a:gd name="connsiteX451" fmla="*/ 340538 w 3028217"/>
                <a:gd name="connsiteY451" fmla="*/ 1624511 h 2962327"/>
                <a:gd name="connsiteX452" fmla="*/ 354826 w 3028217"/>
                <a:gd name="connsiteY452" fmla="*/ 1644513 h 2962327"/>
                <a:gd name="connsiteX453" fmla="*/ 410071 w 3028217"/>
                <a:gd name="connsiteY453" fmla="*/ 1645466 h 2962327"/>
                <a:gd name="connsiteX454" fmla="*/ 439598 w 3028217"/>
                <a:gd name="connsiteY454" fmla="*/ 1687376 h 2962327"/>
                <a:gd name="connsiteX455" fmla="*/ 426263 w 3028217"/>
                <a:gd name="connsiteY455" fmla="*/ 1743573 h 2962327"/>
                <a:gd name="connsiteX456" fmla="*/ 450076 w 3028217"/>
                <a:gd name="connsiteY456" fmla="*/ 1813106 h 2962327"/>
                <a:gd name="connsiteX457" fmla="*/ 499606 w 3028217"/>
                <a:gd name="connsiteY457" fmla="*/ 1812153 h 2962327"/>
                <a:gd name="connsiteX458" fmla="*/ 536753 w 3028217"/>
                <a:gd name="connsiteY458" fmla="*/ 1818821 h 2962327"/>
                <a:gd name="connsiteX459" fmla="*/ 577711 w 3028217"/>
                <a:gd name="connsiteY459" fmla="*/ 1813106 h 2962327"/>
                <a:gd name="connsiteX460" fmla="*/ 661531 w 3028217"/>
                <a:gd name="connsiteY460" fmla="*/ 1754051 h 2962327"/>
                <a:gd name="connsiteX461" fmla="*/ 672008 w 3028217"/>
                <a:gd name="connsiteY461" fmla="*/ 1763576 h 2962327"/>
                <a:gd name="connsiteX462" fmla="*/ 695821 w 3028217"/>
                <a:gd name="connsiteY462" fmla="*/ 1768338 h 2962327"/>
                <a:gd name="connsiteX463" fmla="*/ 741541 w 3028217"/>
                <a:gd name="connsiteY463" fmla="*/ 1772148 h 2962327"/>
                <a:gd name="connsiteX464" fmla="*/ 832028 w 3028217"/>
                <a:gd name="connsiteY464" fmla="*/ 1788341 h 2962327"/>
                <a:gd name="connsiteX465" fmla="*/ 865366 w 3028217"/>
                <a:gd name="connsiteY465" fmla="*/ 1796913 h 2962327"/>
                <a:gd name="connsiteX466" fmla="*/ 910133 w 3028217"/>
                <a:gd name="connsiteY466" fmla="*/ 1838823 h 2962327"/>
                <a:gd name="connsiteX467" fmla="*/ 1047293 w 3028217"/>
                <a:gd name="connsiteY467" fmla="*/ 1918833 h 2962327"/>
                <a:gd name="connsiteX468" fmla="*/ 1116826 w 3028217"/>
                <a:gd name="connsiteY468" fmla="*/ 2036943 h 2962327"/>
                <a:gd name="connsiteX469" fmla="*/ 1106348 w 3028217"/>
                <a:gd name="connsiteY469" fmla="*/ 2056946 h 2962327"/>
                <a:gd name="connsiteX470" fmla="*/ 1104443 w 3028217"/>
                <a:gd name="connsiteY470" fmla="*/ 2099808 h 2962327"/>
                <a:gd name="connsiteX471" fmla="*/ 1124446 w 3028217"/>
                <a:gd name="connsiteY471" fmla="*/ 2102666 h 2962327"/>
                <a:gd name="connsiteX472" fmla="*/ 1193026 w 3028217"/>
                <a:gd name="connsiteY472" fmla="*/ 2077901 h 2962327"/>
                <a:gd name="connsiteX473" fmla="*/ 1280656 w 3028217"/>
                <a:gd name="connsiteY473" fmla="*/ 2123621 h 2962327"/>
                <a:gd name="connsiteX474" fmla="*/ 1387336 w 3028217"/>
                <a:gd name="connsiteY474" fmla="*/ 2172198 h 2962327"/>
                <a:gd name="connsiteX475" fmla="*/ 1434008 w 3028217"/>
                <a:gd name="connsiteY475" fmla="*/ 2199821 h 2962327"/>
                <a:gd name="connsiteX476" fmla="*/ 1430198 w 3028217"/>
                <a:gd name="connsiteY476" fmla="*/ 2282688 h 2962327"/>
                <a:gd name="connsiteX477" fmla="*/ 1370191 w 3028217"/>
                <a:gd name="connsiteY477" fmla="*/ 2373176 h 2962327"/>
                <a:gd name="connsiteX478" fmla="*/ 1358761 w 3028217"/>
                <a:gd name="connsiteY478" fmla="*/ 2423658 h 2962327"/>
                <a:gd name="connsiteX479" fmla="*/ 1327328 w 3028217"/>
                <a:gd name="connsiteY479" fmla="*/ 2600823 h 2962327"/>
                <a:gd name="connsiteX480" fmla="*/ 1293991 w 3028217"/>
                <a:gd name="connsiteY480" fmla="*/ 2626541 h 2962327"/>
                <a:gd name="connsiteX481" fmla="*/ 1218743 w 3028217"/>
                <a:gd name="connsiteY481" fmla="*/ 2661783 h 2962327"/>
                <a:gd name="connsiteX482" fmla="*/ 1193026 w 3028217"/>
                <a:gd name="connsiteY482" fmla="*/ 2710361 h 2962327"/>
                <a:gd name="connsiteX483" fmla="*/ 1164451 w 3028217"/>
                <a:gd name="connsiteY483" fmla="*/ 2832281 h 2962327"/>
                <a:gd name="connsiteX484" fmla="*/ 1122541 w 3028217"/>
                <a:gd name="connsiteY484" fmla="*/ 2910386 h 2962327"/>
                <a:gd name="connsiteX485" fmla="*/ 1095871 w 3028217"/>
                <a:gd name="connsiteY485" fmla="*/ 2929436 h 2962327"/>
                <a:gd name="connsiteX486" fmla="*/ 1061581 w 3028217"/>
                <a:gd name="connsiteY486" fmla="*/ 2922768 h 2962327"/>
                <a:gd name="connsiteX487" fmla="*/ 1047293 w 3028217"/>
                <a:gd name="connsiteY487" fmla="*/ 2929436 h 2962327"/>
                <a:gd name="connsiteX488" fmla="*/ 1061581 w 3028217"/>
                <a:gd name="connsiteY488" fmla="*/ 2956106 h 2962327"/>
                <a:gd name="connsiteX489" fmla="*/ 1040626 w 3028217"/>
                <a:gd name="connsiteY489" fmla="*/ 2959916 h 2962327"/>
                <a:gd name="connsiteX490" fmla="*/ 783451 w 3028217"/>
                <a:gd name="connsiteY490" fmla="*/ 2850378 h 2962327"/>
                <a:gd name="connsiteX491" fmla="*/ 752971 w 3028217"/>
                <a:gd name="connsiteY491" fmla="*/ 2805611 h 2962327"/>
                <a:gd name="connsiteX492" fmla="*/ 737731 w 3028217"/>
                <a:gd name="connsiteY492" fmla="*/ 2765606 h 2962327"/>
                <a:gd name="connsiteX493" fmla="*/ 721538 w 3028217"/>
                <a:gd name="connsiteY493" fmla="*/ 2564628 h 2962327"/>
                <a:gd name="connsiteX494" fmla="*/ 670103 w 3028217"/>
                <a:gd name="connsiteY494" fmla="*/ 2492238 h 2962327"/>
                <a:gd name="connsiteX495" fmla="*/ 539611 w 3028217"/>
                <a:gd name="connsiteY495" fmla="*/ 2337933 h 2962327"/>
                <a:gd name="connsiteX496" fmla="*/ 473888 w 3028217"/>
                <a:gd name="connsiteY496" fmla="*/ 2221728 h 2962327"/>
                <a:gd name="connsiteX497" fmla="*/ 468173 w 3028217"/>
                <a:gd name="connsiteY497" fmla="*/ 2148386 h 2962327"/>
                <a:gd name="connsiteX498" fmla="*/ 471983 w 3028217"/>
                <a:gd name="connsiteY498" fmla="*/ 2122668 h 2962327"/>
                <a:gd name="connsiteX499" fmla="*/ 493891 w 3028217"/>
                <a:gd name="connsiteY499" fmla="*/ 2021703 h 2962327"/>
                <a:gd name="connsiteX500" fmla="*/ 538658 w 3028217"/>
                <a:gd name="connsiteY500" fmla="*/ 1907403 h 2962327"/>
                <a:gd name="connsiteX501" fmla="*/ 524371 w 3028217"/>
                <a:gd name="connsiteY501" fmla="*/ 1854063 h 2962327"/>
                <a:gd name="connsiteX502" fmla="*/ 499606 w 3028217"/>
                <a:gd name="connsiteY502" fmla="*/ 1853111 h 2962327"/>
                <a:gd name="connsiteX503" fmla="*/ 459601 w 3028217"/>
                <a:gd name="connsiteY503" fmla="*/ 1860731 h 2962327"/>
                <a:gd name="connsiteX504" fmla="*/ 408166 w 3028217"/>
                <a:gd name="connsiteY504" fmla="*/ 1827393 h 2962327"/>
                <a:gd name="connsiteX505" fmla="*/ 354826 w 3028217"/>
                <a:gd name="connsiteY505" fmla="*/ 1742621 h 2962327"/>
                <a:gd name="connsiteX506" fmla="*/ 322441 w 3028217"/>
                <a:gd name="connsiteY506" fmla="*/ 1715951 h 2962327"/>
                <a:gd name="connsiteX507" fmla="*/ 234811 w 3028217"/>
                <a:gd name="connsiteY507" fmla="*/ 1658801 h 2962327"/>
                <a:gd name="connsiteX508" fmla="*/ 206236 w 3028217"/>
                <a:gd name="connsiteY508" fmla="*/ 1644513 h 2962327"/>
                <a:gd name="connsiteX509" fmla="*/ 116701 w 3028217"/>
                <a:gd name="connsiteY509" fmla="*/ 1622606 h 2962327"/>
                <a:gd name="connsiteX510" fmla="*/ 28118 w 3028217"/>
                <a:gd name="connsiteY510" fmla="*/ 1557836 h 2962327"/>
                <a:gd name="connsiteX511" fmla="*/ 12878 w 3028217"/>
                <a:gd name="connsiteY511" fmla="*/ 1499733 h 2962327"/>
                <a:gd name="connsiteX512" fmla="*/ 10021 w 3028217"/>
                <a:gd name="connsiteY512" fmla="*/ 1446393 h 2962327"/>
                <a:gd name="connsiteX513" fmla="*/ 5258 w 3028217"/>
                <a:gd name="connsiteY513" fmla="*/ 1410198 h 2962327"/>
                <a:gd name="connsiteX514" fmla="*/ 45263 w 3028217"/>
                <a:gd name="connsiteY514" fmla="*/ 1105398 h 2962327"/>
                <a:gd name="connsiteX515" fmla="*/ 304343 w 3028217"/>
                <a:gd name="connsiteY515" fmla="*/ 581523 h 2962327"/>
                <a:gd name="connsiteX516" fmla="*/ 548183 w 3028217"/>
                <a:gd name="connsiteY516" fmla="*/ 329111 h 2962327"/>
                <a:gd name="connsiteX517" fmla="*/ 617716 w 3028217"/>
                <a:gd name="connsiteY517" fmla="*/ 317681 h 2962327"/>
                <a:gd name="connsiteX518" fmla="*/ 631051 w 3028217"/>
                <a:gd name="connsiteY518" fmla="*/ 309108 h 2962327"/>
                <a:gd name="connsiteX519" fmla="*/ 692011 w 3028217"/>
                <a:gd name="connsiteY519" fmla="*/ 299583 h 2962327"/>
                <a:gd name="connsiteX520" fmla="*/ 756781 w 3028217"/>
                <a:gd name="connsiteY520" fmla="*/ 316728 h 2962327"/>
                <a:gd name="connsiteX521" fmla="*/ 780593 w 3028217"/>
                <a:gd name="connsiteY521" fmla="*/ 315776 h 2962327"/>
                <a:gd name="connsiteX522" fmla="*/ 797738 w 3028217"/>
                <a:gd name="connsiteY522" fmla="*/ 314823 h 2962327"/>
                <a:gd name="connsiteX523" fmla="*/ 831076 w 3028217"/>
                <a:gd name="connsiteY523" fmla="*/ 316728 h 2962327"/>
                <a:gd name="connsiteX524" fmla="*/ 841553 w 3028217"/>
                <a:gd name="connsiteY524" fmla="*/ 277676 h 2962327"/>
                <a:gd name="connsiteX525" fmla="*/ 852031 w 3028217"/>
                <a:gd name="connsiteY525" fmla="*/ 259578 h 2962327"/>
                <a:gd name="connsiteX526" fmla="*/ 867152 w 3028217"/>
                <a:gd name="connsiteY526" fmla="*/ 248624 h 2962327"/>
                <a:gd name="connsiteX527" fmla="*/ 876026 w 3028217"/>
                <a:gd name="connsiteY527" fmla="*/ 238011 h 2962327"/>
                <a:gd name="connsiteX528" fmla="*/ 858921 w 3028217"/>
                <a:gd name="connsiteY528" fmla="*/ 241392 h 2962327"/>
                <a:gd name="connsiteX529" fmla="*/ 821551 w 3028217"/>
                <a:gd name="connsiteY529" fmla="*/ 210048 h 2962327"/>
                <a:gd name="connsiteX530" fmla="*/ 857746 w 3028217"/>
                <a:gd name="connsiteY530" fmla="*/ 190998 h 2962327"/>
                <a:gd name="connsiteX531" fmla="*/ 873343 w 3028217"/>
                <a:gd name="connsiteY531" fmla="*/ 184331 h 2962327"/>
                <a:gd name="connsiteX532" fmla="*/ 798215 w 3028217"/>
                <a:gd name="connsiteY532" fmla="*/ 181949 h 2962327"/>
                <a:gd name="connsiteX533" fmla="*/ 805359 w 3028217"/>
                <a:gd name="connsiteY533" fmla="*/ 187188 h 2962327"/>
                <a:gd name="connsiteX534" fmla="*/ 795834 w 3028217"/>
                <a:gd name="connsiteY534" fmla="*/ 196713 h 2962327"/>
                <a:gd name="connsiteX535" fmla="*/ 788214 w 3028217"/>
                <a:gd name="connsiteY535" fmla="*/ 182426 h 2962327"/>
                <a:gd name="connsiteX536" fmla="*/ 798215 w 3028217"/>
                <a:gd name="connsiteY536" fmla="*/ 181949 h 2962327"/>
                <a:gd name="connsiteX537" fmla="*/ 938708 w 3028217"/>
                <a:gd name="connsiteY537" fmla="*/ 121466 h 2962327"/>
                <a:gd name="connsiteX538" fmla="*/ 952043 w 3028217"/>
                <a:gd name="connsiteY538" fmla="*/ 141468 h 2962327"/>
                <a:gd name="connsiteX539" fmla="*/ 951037 w 3028217"/>
                <a:gd name="connsiteY539" fmla="*/ 142501 h 2962327"/>
                <a:gd name="connsiteX540" fmla="*/ 953949 w 3028217"/>
                <a:gd name="connsiteY540" fmla="*/ 140516 h 2962327"/>
                <a:gd name="connsiteX541" fmla="*/ 952996 w 3028217"/>
                <a:gd name="connsiteY541" fmla="*/ 148136 h 2962327"/>
                <a:gd name="connsiteX542" fmla="*/ 952996 w 3028217"/>
                <a:gd name="connsiteY542" fmla="*/ 169091 h 2962327"/>
                <a:gd name="connsiteX543" fmla="*/ 944424 w 3028217"/>
                <a:gd name="connsiteY543" fmla="*/ 159804 h 2962327"/>
                <a:gd name="connsiteX544" fmla="*/ 933131 w 3028217"/>
                <a:gd name="connsiteY544" fmla="*/ 154863 h 2962327"/>
                <a:gd name="connsiteX545" fmla="*/ 931088 w 3028217"/>
                <a:gd name="connsiteY545" fmla="*/ 155756 h 2962327"/>
                <a:gd name="connsiteX546" fmla="*/ 930136 w 3028217"/>
                <a:gd name="connsiteY546" fmla="*/ 155756 h 2962327"/>
                <a:gd name="connsiteX547" fmla="*/ 918706 w 3028217"/>
                <a:gd name="connsiteY547" fmla="*/ 144326 h 2962327"/>
                <a:gd name="connsiteX548" fmla="*/ 931088 w 3028217"/>
                <a:gd name="connsiteY548" fmla="*/ 122418 h 2962327"/>
                <a:gd name="connsiteX549" fmla="*/ 938708 w 3028217"/>
                <a:gd name="connsiteY549" fmla="*/ 121466 h 2962327"/>
                <a:gd name="connsiteX550" fmla="*/ 925373 w 3028217"/>
                <a:gd name="connsiteY550" fmla="*/ 107178 h 2962327"/>
                <a:gd name="connsiteX551" fmla="*/ 938708 w 3028217"/>
                <a:gd name="connsiteY551" fmla="*/ 121465 h 2962327"/>
                <a:gd name="connsiteX552" fmla="*/ 935851 w 3028217"/>
                <a:gd name="connsiteY552" fmla="*/ 121465 h 2962327"/>
                <a:gd name="connsiteX553" fmla="*/ 932993 w 3028217"/>
                <a:gd name="connsiteY553" fmla="*/ 121465 h 2962327"/>
                <a:gd name="connsiteX554" fmla="*/ 901561 w 3028217"/>
                <a:gd name="connsiteY554" fmla="*/ 123370 h 2962327"/>
                <a:gd name="connsiteX555" fmla="*/ 925373 w 3028217"/>
                <a:gd name="connsiteY555" fmla="*/ 107178 h 2962327"/>
                <a:gd name="connsiteX556" fmla="*/ 1021576 w 3028217"/>
                <a:gd name="connsiteY556" fmla="*/ 71936 h 2962327"/>
                <a:gd name="connsiteX557" fmla="*/ 1031101 w 3028217"/>
                <a:gd name="connsiteY557" fmla="*/ 97653 h 2962327"/>
                <a:gd name="connsiteX558" fmla="*/ 1000621 w 3028217"/>
                <a:gd name="connsiteY558" fmla="*/ 92891 h 2962327"/>
                <a:gd name="connsiteX559" fmla="*/ 1007288 w 3028217"/>
                <a:gd name="connsiteY559" fmla="*/ 79556 h 2962327"/>
                <a:gd name="connsiteX560" fmla="*/ 1021576 w 3028217"/>
                <a:gd name="connsiteY560" fmla="*/ 71936 h 2962327"/>
                <a:gd name="connsiteX561" fmla="*/ 1113849 w 3028217"/>
                <a:gd name="connsiteY561" fmla="*/ 40265 h 2962327"/>
                <a:gd name="connsiteX562" fmla="*/ 1159689 w 3028217"/>
                <a:gd name="connsiteY562" fmla="*/ 51933 h 2962327"/>
                <a:gd name="connsiteX563" fmla="*/ 1151116 w 3028217"/>
                <a:gd name="connsiteY563" fmla="*/ 84318 h 2962327"/>
                <a:gd name="connsiteX564" fmla="*/ 1111111 w 3028217"/>
                <a:gd name="connsiteY564" fmla="*/ 92891 h 2962327"/>
                <a:gd name="connsiteX565" fmla="*/ 1070153 w 3028217"/>
                <a:gd name="connsiteY565" fmla="*/ 58601 h 2962327"/>
                <a:gd name="connsiteX566" fmla="*/ 1113849 w 3028217"/>
                <a:gd name="connsiteY566" fmla="*/ 40265 h 2962327"/>
                <a:gd name="connsiteX567" fmla="*/ 1400760 w 3028217"/>
                <a:gd name="connsiteY567" fmla="*/ 96 h 2962327"/>
                <a:gd name="connsiteX568" fmla="*/ 1476871 w 3028217"/>
                <a:gd name="connsiteY568" fmla="*/ 5260 h 2962327"/>
                <a:gd name="connsiteX569" fmla="*/ 1611174 w 3028217"/>
                <a:gd name="connsiteY569" fmla="*/ 9070 h 2962327"/>
                <a:gd name="connsiteX570" fmla="*/ 1619746 w 3028217"/>
                <a:gd name="connsiteY570" fmla="*/ 17643 h 2962327"/>
                <a:gd name="connsiteX571" fmla="*/ 1646416 w 3028217"/>
                <a:gd name="connsiteY571" fmla="*/ 28120 h 2962327"/>
                <a:gd name="connsiteX572" fmla="*/ 1667371 w 3028217"/>
                <a:gd name="connsiteY572" fmla="*/ 31930 h 2962327"/>
                <a:gd name="connsiteX573" fmla="*/ 1742261 w 3028217"/>
                <a:gd name="connsiteY573" fmla="*/ 11690 h 2962327"/>
                <a:gd name="connsiteX574" fmla="*/ 1820723 w 3028217"/>
                <a:gd name="connsiteY574" fmla="*/ 30025 h 2962327"/>
                <a:gd name="connsiteX575" fmla="*/ 1901686 w 3028217"/>
                <a:gd name="connsiteY575" fmla="*/ 45265 h 2962327"/>
                <a:gd name="connsiteX576" fmla="*/ 1894066 w 3028217"/>
                <a:gd name="connsiteY576" fmla="*/ 69078 h 2962327"/>
                <a:gd name="connsiteX577" fmla="*/ 1955978 w 3028217"/>
                <a:gd name="connsiteY577" fmla="*/ 55743 h 2962327"/>
                <a:gd name="connsiteX578" fmla="*/ 1954073 w 3028217"/>
                <a:gd name="connsiteY578" fmla="*/ 71935 h 2962327"/>
                <a:gd name="connsiteX579" fmla="*/ 1935976 w 3028217"/>
                <a:gd name="connsiteY579" fmla="*/ 103368 h 2962327"/>
                <a:gd name="connsiteX580" fmla="*/ 1949311 w 3028217"/>
                <a:gd name="connsiteY580" fmla="*/ 161470 h 2962327"/>
                <a:gd name="connsiteX581" fmla="*/ 1894066 w 3028217"/>
                <a:gd name="connsiteY581" fmla="*/ 171948 h 2962327"/>
                <a:gd name="connsiteX582" fmla="*/ 1913116 w 3028217"/>
                <a:gd name="connsiteY582" fmla="*/ 183378 h 2962327"/>
                <a:gd name="connsiteX583" fmla="*/ 1907401 w 3028217"/>
                <a:gd name="connsiteY583" fmla="*/ 196713 h 2962327"/>
                <a:gd name="connsiteX584" fmla="*/ 1873111 w 3028217"/>
                <a:gd name="connsiteY584" fmla="*/ 245290 h 2962327"/>
                <a:gd name="connsiteX585" fmla="*/ 1866443 w 3028217"/>
                <a:gd name="connsiteY585" fmla="*/ 267198 h 2962327"/>
                <a:gd name="connsiteX586" fmla="*/ 1851203 w 3028217"/>
                <a:gd name="connsiteY586" fmla="*/ 270055 h 2962327"/>
                <a:gd name="connsiteX587" fmla="*/ 1866443 w 3028217"/>
                <a:gd name="connsiteY587" fmla="*/ 313870 h 2962327"/>
                <a:gd name="connsiteX588" fmla="*/ 1843583 w 3028217"/>
                <a:gd name="connsiteY588" fmla="*/ 319585 h 2962327"/>
                <a:gd name="connsiteX589" fmla="*/ 1819771 w 3028217"/>
                <a:gd name="connsiteY589" fmla="*/ 300535 h 2962327"/>
                <a:gd name="connsiteX590" fmla="*/ 1788338 w 3028217"/>
                <a:gd name="connsiteY590" fmla="*/ 313870 h 2962327"/>
                <a:gd name="connsiteX591" fmla="*/ 1800721 w 3028217"/>
                <a:gd name="connsiteY591" fmla="*/ 315775 h 2962327"/>
                <a:gd name="connsiteX592" fmla="*/ 1823581 w 3028217"/>
                <a:gd name="connsiteY592" fmla="*/ 314823 h 2962327"/>
                <a:gd name="connsiteX593" fmla="*/ 1833106 w 3028217"/>
                <a:gd name="connsiteY593" fmla="*/ 317680 h 2962327"/>
                <a:gd name="connsiteX594" fmla="*/ 1838821 w 3028217"/>
                <a:gd name="connsiteY594" fmla="*/ 334825 h 2962327"/>
                <a:gd name="connsiteX595" fmla="*/ 1715948 w 3028217"/>
                <a:gd name="connsiteY595" fmla="*/ 370068 h 2962327"/>
                <a:gd name="connsiteX596" fmla="*/ 1691183 w 3028217"/>
                <a:gd name="connsiteY596" fmla="*/ 379593 h 2962327"/>
                <a:gd name="connsiteX597" fmla="*/ 1586408 w 3028217"/>
                <a:gd name="connsiteY597" fmla="*/ 430075 h 2962327"/>
                <a:gd name="connsiteX598" fmla="*/ 1542593 w 3028217"/>
                <a:gd name="connsiteY598" fmla="*/ 468175 h 2962327"/>
                <a:gd name="connsiteX599" fmla="*/ 1480681 w 3028217"/>
                <a:gd name="connsiteY599" fmla="*/ 555805 h 2962327"/>
                <a:gd name="connsiteX600" fmla="*/ 1462583 w 3028217"/>
                <a:gd name="connsiteY600" fmla="*/ 562473 h 2962327"/>
                <a:gd name="connsiteX601" fmla="*/ 1385431 w 3028217"/>
                <a:gd name="connsiteY601" fmla="*/ 462460 h 2962327"/>
                <a:gd name="connsiteX602" fmla="*/ 1379716 w 3028217"/>
                <a:gd name="connsiteY602" fmla="*/ 398643 h 2962327"/>
                <a:gd name="connsiteX603" fmla="*/ 1441628 w 3028217"/>
                <a:gd name="connsiteY603" fmla="*/ 335778 h 2962327"/>
                <a:gd name="connsiteX604" fmla="*/ 1449248 w 3028217"/>
                <a:gd name="connsiteY604" fmla="*/ 321490 h 2962327"/>
                <a:gd name="connsiteX605" fmla="*/ 1461631 w 3028217"/>
                <a:gd name="connsiteY605" fmla="*/ 300535 h 2962327"/>
                <a:gd name="connsiteX606" fmla="*/ 1412101 w 3028217"/>
                <a:gd name="connsiteY606" fmla="*/ 280533 h 2962327"/>
                <a:gd name="connsiteX607" fmla="*/ 1434961 w 3028217"/>
                <a:gd name="connsiteY607" fmla="*/ 215763 h 2962327"/>
                <a:gd name="connsiteX608" fmla="*/ 1371143 w 3028217"/>
                <a:gd name="connsiteY608" fmla="*/ 160518 h 2962327"/>
                <a:gd name="connsiteX609" fmla="*/ 1331138 w 3028217"/>
                <a:gd name="connsiteY609" fmla="*/ 162423 h 2962327"/>
                <a:gd name="connsiteX610" fmla="*/ 1303516 w 3028217"/>
                <a:gd name="connsiteY610" fmla="*/ 150040 h 2962327"/>
                <a:gd name="connsiteX611" fmla="*/ 1313993 w 3028217"/>
                <a:gd name="connsiteY611" fmla="*/ 130038 h 2962327"/>
                <a:gd name="connsiteX612" fmla="*/ 1313041 w 3028217"/>
                <a:gd name="connsiteY612" fmla="*/ 121465 h 2962327"/>
                <a:gd name="connsiteX613" fmla="*/ 1323518 w 3028217"/>
                <a:gd name="connsiteY613" fmla="*/ 96700 h 2962327"/>
                <a:gd name="connsiteX614" fmla="*/ 1387336 w 3028217"/>
                <a:gd name="connsiteY614" fmla="*/ 88128 h 2962327"/>
                <a:gd name="connsiteX615" fmla="*/ 1394003 w 3028217"/>
                <a:gd name="connsiteY615" fmla="*/ 68125 h 2962327"/>
                <a:gd name="connsiteX616" fmla="*/ 1445438 w 3028217"/>
                <a:gd name="connsiteY616" fmla="*/ 41455 h 2962327"/>
                <a:gd name="connsiteX617" fmla="*/ 1471104 w 3028217"/>
                <a:gd name="connsiteY617" fmla="*/ 35589 h 2962327"/>
                <a:gd name="connsiteX618" fmla="*/ 1469608 w 3028217"/>
                <a:gd name="connsiteY618" fmla="*/ 35026 h 2962327"/>
                <a:gd name="connsiteX619" fmla="*/ 1456869 w 3028217"/>
                <a:gd name="connsiteY619" fmla="*/ 34788 h 2962327"/>
                <a:gd name="connsiteX620" fmla="*/ 1365429 w 3028217"/>
                <a:gd name="connsiteY620" fmla="*/ 60505 h 2962327"/>
                <a:gd name="connsiteX621" fmla="*/ 1208266 w 3028217"/>
                <a:gd name="connsiteY621" fmla="*/ 122418 h 2962327"/>
                <a:gd name="connsiteX622" fmla="*/ 1175881 w 3028217"/>
                <a:gd name="connsiteY622" fmla="*/ 122418 h 2962327"/>
                <a:gd name="connsiteX623" fmla="*/ 1187311 w 3028217"/>
                <a:gd name="connsiteY623" fmla="*/ 142420 h 2962327"/>
                <a:gd name="connsiteX624" fmla="*/ 1180644 w 3028217"/>
                <a:gd name="connsiteY624" fmla="*/ 149088 h 2962327"/>
                <a:gd name="connsiteX625" fmla="*/ 1158647 w 3028217"/>
                <a:gd name="connsiteY625" fmla="*/ 153642 h 2962327"/>
                <a:gd name="connsiteX626" fmla="*/ 1143520 w 3028217"/>
                <a:gd name="connsiteY626" fmla="*/ 152466 h 2962327"/>
                <a:gd name="connsiteX627" fmla="*/ 1148259 w 3028217"/>
                <a:gd name="connsiteY627" fmla="*/ 153731 h 2962327"/>
                <a:gd name="connsiteX628" fmla="*/ 1152069 w 3028217"/>
                <a:gd name="connsiteY628" fmla="*/ 175758 h 2962327"/>
                <a:gd name="connsiteX629" fmla="*/ 1029196 w 3028217"/>
                <a:gd name="connsiteY629" fmla="*/ 182425 h 2962327"/>
                <a:gd name="connsiteX630" fmla="*/ 1006336 w 3028217"/>
                <a:gd name="connsiteY630" fmla="*/ 148135 h 2962327"/>
                <a:gd name="connsiteX631" fmla="*/ 995859 w 3028217"/>
                <a:gd name="connsiteY631" fmla="*/ 134800 h 2962327"/>
                <a:gd name="connsiteX632" fmla="*/ 987286 w 3028217"/>
                <a:gd name="connsiteY632" fmla="*/ 114798 h 2962327"/>
                <a:gd name="connsiteX633" fmla="*/ 1049199 w 3028217"/>
                <a:gd name="connsiteY633" fmla="*/ 134800 h 2962327"/>
                <a:gd name="connsiteX634" fmla="*/ 1064439 w 3028217"/>
                <a:gd name="connsiteY634" fmla="*/ 149088 h 2962327"/>
                <a:gd name="connsiteX635" fmla="*/ 1095871 w 3028217"/>
                <a:gd name="connsiteY635" fmla="*/ 149326 h 2962327"/>
                <a:gd name="connsiteX636" fmla="*/ 1106484 w 3028217"/>
                <a:gd name="connsiteY636" fmla="*/ 148924 h 2962327"/>
                <a:gd name="connsiteX637" fmla="*/ 1093014 w 3028217"/>
                <a:gd name="connsiteY637" fmla="*/ 149088 h 2962327"/>
                <a:gd name="connsiteX638" fmla="*/ 1062534 w 3028217"/>
                <a:gd name="connsiteY638" fmla="*/ 131943 h 2962327"/>
                <a:gd name="connsiteX639" fmla="*/ 1133971 w 3028217"/>
                <a:gd name="connsiteY639" fmla="*/ 110988 h 2962327"/>
                <a:gd name="connsiteX640" fmla="*/ 1158736 w 3028217"/>
                <a:gd name="connsiteY640" fmla="*/ 88128 h 2962327"/>
                <a:gd name="connsiteX641" fmla="*/ 1173024 w 3028217"/>
                <a:gd name="connsiteY641" fmla="*/ 73840 h 2962327"/>
                <a:gd name="connsiteX642" fmla="*/ 1214934 w 3028217"/>
                <a:gd name="connsiteY642" fmla="*/ 54790 h 2962327"/>
                <a:gd name="connsiteX643" fmla="*/ 1275894 w 3028217"/>
                <a:gd name="connsiteY643" fmla="*/ 44313 h 2962327"/>
                <a:gd name="connsiteX644" fmla="*/ 1211124 w 3028217"/>
                <a:gd name="connsiteY644" fmla="*/ 51933 h 2962327"/>
                <a:gd name="connsiteX645" fmla="*/ 1174929 w 3028217"/>
                <a:gd name="connsiteY645" fmla="*/ 39550 h 2962327"/>
                <a:gd name="connsiteX646" fmla="*/ 1174929 w 3028217"/>
                <a:gd name="connsiteY646" fmla="*/ 26215 h 2962327"/>
                <a:gd name="connsiteX647" fmla="*/ 1400760 w 3028217"/>
                <a:gd name="connsiteY647" fmla="*/ 96 h 29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</a:cxnLst>
              <a:rect l="l" t="t" r="r" b="b"/>
              <a:pathLst>
                <a:path w="3028217" h="2962327">
                  <a:moveTo>
                    <a:pt x="2863236" y="2049564"/>
                  </a:moveTo>
                  <a:cubicBezTo>
                    <a:pt x="2854902" y="2049564"/>
                    <a:pt x="2847996" y="2053612"/>
                    <a:pt x="2844662" y="2065518"/>
                  </a:cubicBezTo>
                  <a:cubicBezTo>
                    <a:pt x="2840852" y="2080758"/>
                    <a:pt x="2821802" y="2104571"/>
                    <a:pt x="2847519" y="2116953"/>
                  </a:cubicBezTo>
                  <a:cubicBezTo>
                    <a:pt x="2878000" y="2131241"/>
                    <a:pt x="2877047" y="2098856"/>
                    <a:pt x="2887525" y="2084568"/>
                  </a:cubicBezTo>
                  <a:cubicBezTo>
                    <a:pt x="2888477" y="2083616"/>
                    <a:pt x="2889430" y="2080758"/>
                    <a:pt x="2890382" y="2078853"/>
                  </a:cubicBezTo>
                  <a:cubicBezTo>
                    <a:pt x="2895144" y="2071233"/>
                    <a:pt x="2896097" y="2064566"/>
                    <a:pt x="2890382" y="2057898"/>
                  </a:cubicBezTo>
                  <a:cubicBezTo>
                    <a:pt x="2881334" y="2053612"/>
                    <a:pt x="2871571" y="2049564"/>
                    <a:pt x="2863236" y="2049564"/>
                  </a:cubicBezTo>
                  <a:close/>
                  <a:moveTo>
                    <a:pt x="2453184" y="1703568"/>
                  </a:moveTo>
                  <a:cubicBezTo>
                    <a:pt x="2446516" y="1700711"/>
                    <a:pt x="2442706" y="1708331"/>
                    <a:pt x="2444611" y="1714046"/>
                  </a:cubicBezTo>
                  <a:cubicBezTo>
                    <a:pt x="2448421" y="1725476"/>
                    <a:pt x="2452231" y="1738811"/>
                    <a:pt x="2467471" y="1740716"/>
                  </a:cubicBezTo>
                  <a:cubicBezTo>
                    <a:pt x="2475091" y="1741668"/>
                    <a:pt x="2480806" y="1736906"/>
                    <a:pt x="2482711" y="1728333"/>
                  </a:cubicBezTo>
                  <a:cubicBezTo>
                    <a:pt x="2473186" y="1720713"/>
                    <a:pt x="2463661" y="1710236"/>
                    <a:pt x="2453184" y="1703568"/>
                  </a:cubicBezTo>
                  <a:close/>
                  <a:moveTo>
                    <a:pt x="802501" y="1583553"/>
                  </a:moveTo>
                  <a:cubicBezTo>
                    <a:pt x="805359" y="1585458"/>
                    <a:pt x="811074" y="1586410"/>
                    <a:pt x="812026" y="1589268"/>
                  </a:cubicBezTo>
                  <a:cubicBezTo>
                    <a:pt x="814884" y="1596888"/>
                    <a:pt x="807264" y="1597840"/>
                    <a:pt x="802501" y="1599745"/>
                  </a:cubicBezTo>
                  <a:cubicBezTo>
                    <a:pt x="797739" y="1601650"/>
                    <a:pt x="792976" y="1598793"/>
                    <a:pt x="792024" y="1594030"/>
                  </a:cubicBezTo>
                  <a:cubicBezTo>
                    <a:pt x="788214" y="1586410"/>
                    <a:pt x="794881" y="1585458"/>
                    <a:pt x="802501" y="1583553"/>
                  </a:cubicBezTo>
                  <a:close/>
                  <a:moveTo>
                    <a:pt x="573901" y="1577838"/>
                  </a:moveTo>
                  <a:cubicBezTo>
                    <a:pt x="581521" y="1579743"/>
                    <a:pt x="588189" y="1582600"/>
                    <a:pt x="592951" y="1589268"/>
                  </a:cubicBezTo>
                  <a:cubicBezTo>
                    <a:pt x="592951" y="1594982"/>
                    <a:pt x="589141" y="1596888"/>
                    <a:pt x="584379" y="1596888"/>
                  </a:cubicBezTo>
                  <a:cubicBezTo>
                    <a:pt x="575806" y="1597840"/>
                    <a:pt x="568186" y="1595935"/>
                    <a:pt x="565329" y="1587363"/>
                  </a:cubicBezTo>
                  <a:cubicBezTo>
                    <a:pt x="562471" y="1580695"/>
                    <a:pt x="568186" y="1576885"/>
                    <a:pt x="573901" y="1577838"/>
                  </a:cubicBezTo>
                  <a:close/>
                  <a:moveTo>
                    <a:pt x="698678" y="1550216"/>
                  </a:moveTo>
                  <a:cubicBezTo>
                    <a:pt x="729158" y="1545453"/>
                    <a:pt x="746303" y="1560693"/>
                    <a:pt x="763448" y="1592126"/>
                  </a:cubicBezTo>
                  <a:cubicBezTo>
                    <a:pt x="731063" y="1576886"/>
                    <a:pt x="706298" y="1611176"/>
                    <a:pt x="678676" y="1592126"/>
                  </a:cubicBezTo>
                  <a:cubicBezTo>
                    <a:pt x="675818" y="1573076"/>
                    <a:pt x="667246" y="1551168"/>
                    <a:pt x="698678" y="1550216"/>
                  </a:cubicBezTo>
                  <a:close/>
                  <a:moveTo>
                    <a:pt x="492939" y="1460681"/>
                  </a:moveTo>
                  <a:cubicBezTo>
                    <a:pt x="518656" y="1456871"/>
                    <a:pt x="541516" y="1464491"/>
                    <a:pt x="562471" y="1479731"/>
                  </a:cubicBezTo>
                  <a:cubicBezTo>
                    <a:pt x="590094" y="1499733"/>
                    <a:pt x="618669" y="1515926"/>
                    <a:pt x="646291" y="1537833"/>
                  </a:cubicBezTo>
                  <a:cubicBezTo>
                    <a:pt x="620574" y="1545453"/>
                    <a:pt x="593904" y="1560693"/>
                    <a:pt x="577711" y="1525451"/>
                  </a:cubicBezTo>
                  <a:cubicBezTo>
                    <a:pt x="567234" y="1503543"/>
                    <a:pt x="541516" y="1503543"/>
                    <a:pt x="527229" y="1487351"/>
                  </a:cubicBezTo>
                  <a:lnTo>
                    <a:pt x="525032" y="1486533"/>
                  </a:lnTo>
                  <a:lnTo>
                    <a:pt x="527229" y="1488303"/>
                  </a:lnTo>
                  <a:cubicBezTo>
                    <a:pt x="502464" y="1486398"/>
                    <a:pt x="475794" y="1465443"/>
                    <a:pt x="451029" y="1494971"/>
                  </a:cubicBezTo>
                  <a:cubicBezTo>
                    <a:pt x="453886" y="1467348"/>
                    <a:pt x="471984" y="1461633"/>
                    <a:pt x="492939" y="1460681"/>
                  </a:cubicBezTo>
                  <a:close/>
                  <a:moveTo>
                    <a:pt x="592475" y="1413889"/>
                  </a:moveTo>
                  <a:cubicBezTo>
                    <a:pt x="594380" y="1414008"/>
                    <a:pt x="596285" y="1414485"/>
                    <a:pt x="596761" y="1414961"/>
                  </a:cubicBezTo>
                  <a:cubicBezTo>
                    <a:pt x="605334" y="1423533"/>
                    <a:pt x="603428" y="1433058"/>
                    <a:pt x="595809" y="1447346"/>
                  </a:cubicBezTo>
                  <a:cubicBezTo>
                    <a:pt x="589141" y="1434011"/>
                    <a:pt x="579616" y="1426391"/>
                    <a:pt x="588189" y="1414961"/>
                  </a:cubicBezTo>
                  <a:cubicBezTo>
                    <a:pt x="588665" y="1414009"/>
                    <a:pt x="590570" y="1413770"/>
                    <a:pt x="592475" y="1413889"/>
                  </a:cubicBezTo>
                  <a:close/>
                  <a:moveTo>
                    <a:pt x="2633206" y="1174931"/>
                  </a:moveTo>
                  <a:cubicBezTo>
                    <a:pt x="2646541" y="1176836"/>
                    <a:pt x="2659876" y="1178741"/>
                    <a:pt x="2673211" y="1180646"/>
                  </a:cubicBezTo>
                  <a:cubicBezTo>
                    <a:pt x="2657018" y="1197791"/>
                    <a:pt x="2645588" y="1186361"/>
                    <a:pt x="2633206" y="1174931"/>
                  </a:cubicBezTo>
                  <a:close/>
                  <a:moveTo>
                    <a:pt x="2477948" y="1095873"/>
                  </a:moveTo>
                  <a:cubicBezTo>
                    <a:pt x="2477948" y="1101588"/>
                    <a:pt x="2478901" y="1106350"/>
                    <a:pt x="2484616" y="1110160"/>
                  </a:cubicBezTo>
                  <a:cubicBezTo>
                    <a:pt x="2478901" y="1119685"/>
                    <a:pt x="2464613" y="1121590"/>
                    <a:pt x="2464613" y="1135878"/>
                  </a:cubicBezTo>
                  <a:cubicBezTo>
                    <a:pt x="2464613" y="1153023"/>
                    <a:pt x="2454136" y="1151118"/>
                    <a:pt x="2444611" y="1144450"/>
                  </a:cubicBezTo>
                  <a:cubicBezTo>
                    <a:pt x="2434133" y="1136830"/>
                    <a:pt x="2413178" y="1133020"/>
                    <a:pt x="2415083" y="1119685"/>
                  </a:cubicBezTo>
                  <a:cubicBezTo>
                    <a:pt x="2417941" y="1101588"/>
                    <a:pt x="2436038" y="1116828"/>
                    <a:pt x="2446516" y="1114923"/>
                  </a:cubicBezTo>
                  <a:cubicBezTo>
                    <a:pt x="2458898" y="1112065"/>
                    <a:pt x="2470329" y="1106350"/>
                    <a:pt x="2477948" y="1095873"/>
                  </a:cubicBezTo>
                  <a:close/>
                  <a:moveTo>
                    <a:pt x="2344599" y="1039676"/>
                  </a:moveTo>
                  <a:cubicBezTo>
                    <a:pt x="2358886" y="1039676"/>
                    <a:pt x="2352219" y="1056821"/>
                    <a:pt x="2355076" y="1066346"/>
                  </a:cubicBezTo>
                  <a:cubicBezTo>
                    <a:pt x="2354124" y="1077776"/>
                    <a:pt x="2356981" y="1093016"/>
                    <a:pt x="2341741" y="1092063"/>
                  </a:cubicBezTo>
                  <a:cubicBezTo>
                    <a:pt x="2328406" y="1091111"/>
                    <a:pt x="2329359" y="1075871"/>
                    <a:pt x="2328406" y="1065393"/>
                  </a:cubicBezTo>
                  <a:cubicBezTo>
                    <a:pt x="2327454" y="1053011"/>
                    <a:pt x="2331264" y="1039676"/>
                    <a:pt x="2344599" y="1039676"/>
                  </a:cubicBezTo>
                  <a:close/>
                  <a:moveTo>
                    <a:pt x="699631" y="966334"/>
                  </a:moveTo>
                  <a:cubicBezTo>
                    <a:pt x="671056" y="960619"/>
                    <a:pt x="648196" y="971096"/>
                    <a:pt x="616764" y="992051"/>
                  </a:cubicBezTo>
                  <a:cubicBezTo>
                    <a:pt x="652959" y="990146"/>
                    <a:pt x="677724" y="983478"/>
                    <a:pt x="699631" y="966334"/>
                  </a:cubicBezTo>
                  <a:close/>
                  <a:moveTo>
                    <a:pt x="2786559" y="938711"/>
                  </a:moveTo>
                  <a:cubicBezTo>
                    <a:pt x="2796084" y="944426"/>
                    <a:pt x="2804656" y="939663"/>
                    <a:pt x="2814181" y="938711"/>
                  </a:cubicBezTo>
                  <a:cubicBezTo>
                    <a:pt x="2814181" y="940616"/>
                    <a:pt x="2814181" y="943473"/>
                    <a:pt x="2814181" y="945378"/>
                  </a:cubicBezTo>
                  <a:cubicBezTo>
                    <a:pt x="2803704" y="949188"/>
                    <a:pt x="2791321" y="959666"/>
                    <a:pt x="2786559" y="938711"/>
                  </a:cubicBezTo>
                  <a:close/>
                  <a:moveTo>
                    <a:pt x="737731" y="935019"/>
                  </a:moveTo>
                  <a:cubicBezTo>
                    <a:pt x="726540" y="936091"/>
                    <a:pt x="714872" y="940139"/>
                    <a:pt x="702489" y="951093"/>
                  </a:cubicBezTo>
                  <a:cubicBezTo>
                    <a:pt x="731064" y="951093"/>
                    <a:pt x="753924" y="958713"/>
                    <a:pt x="770116" y="936805"/>
                  </a:cubicBezTo>
                  <a:cubicBezTo>
                    <a:pt x="759639" y="935853"/>
                    <a:pt x="748923" y="933948"/>
                    <a:pt x="737731" y="935019"/>
                  </a:cubicBezTo>
                  <a:close/>
                  <a:moveTo>
                    <a:pt x="619383" y="880251"/>
                  </a:moveTo>
                  <a:cubicBezTo>
                    <a:pt x="616526" y="879417"/>
                    <a:pt x="612477" y="880608"/>
                    <a:pt x="608191" y="882513"/>
                  </a:cubicBezTo>
                  <a:cubicBezTo>
                    <a:pt x="589141" y="887276"/>
                    <a:pt x="539611" y="951093"/>
                    <a:pt x="541516" y="968238"/>
                  </a:cubicBezTo>
                  <a:cubicBezTo>
                    <a:pt x="543421" y="979668"/>
                    <a:pt x="550089" y="980621"/>
                    <a:pt x="558661" y="975858"/>
                  </a:cubicBezTo>
                  <a:cubicBezTo>
                    <a:pt x="569139" y="970143"/>
                    <a:pt x="576759" y="960618"/>
                    <a:pt x="578664" y="949188"/>
                  </a:cubicBezTo>
                  <a:cubicBezTo>
                    <a:pt x="582474" y="920613"/>
                    <a:pt x="601524" y="904421"/>
                    <a:pt x="623431" y="890133"/>
                  </a:cubicBezTo>
                  <a:cubicBezTo>
                    <a:pt x="623907" y="883942"/>
                    <a:pt x="622241" y="881084"/>
                    <a:pt x="619383" y="880251"/>
                  </a:cubicBezTo>
                  <a:close/>
                  <a:moveTo>
                    <a:pt x="659626" y="872036"/>
                  </a:moveTo>
                  <a:cubicBezTo>
                    <a:pt x="653911" y="870131"/>
                    <a:pt x="645339" y="876798"/>
                    <a:pt x="647244" y="879656"/>
                  </a:cubicBezTo>
                  <a:cubicBezTo>
                    <a:pt x="657721" y="901563"/>
                    <a:pt x="632956" y="928233"/>
                    <a:pt x="657721" y="950141"/>
                  </a:cubicBezTo>
                  <a:cubicBezTo>
                    <a:pt x="667246" y="936806"/>
                    <a:pt x="676771" y="926328"/>
                    <a:pt x="683439" y="913946"/>
                  </a:cubicBezTo>
                  <a:cubicBezTo>
                    <a:pt x="691059" y="897753"/>
                    <a:pt x="704394" y="924423"/>
                    <a:pt x="711061" y="910136"/>
                  </a:cubicBezTo>
                  <a:cubicBezTo>
                    <a:pt x="713919" y="903468"/>
                    <a:pt x="713919" y="896801"/>
                    <a:pt x="709156" y="891086"/>
                  </a:cubicBezTo>
                  <a:cubicBezTo>
                    <a:pt x="696774" y="875846"/>
                    <a:pt x="676771" y="876798"/>
                    <a:pt x="659626" y="872036"/>
                  </a:cubicBezTo>
                  <a:close/>
                  <a:moveTo>
                    <a:pt x="620410" y="803828"/>
                  </a:moveTo>
                  <a:cubicBezTo>
                    <a:pt x="614918" y="803575"/>
                    <a:pt x="609144" y="804646"/>
                    <a:pt x="603429" y="807266"/>
                  </a:cubicBezTo>
                  <a:cubicBezTo>
                    <a:pt x="579616" y="817743"/>
                    <a:pt x="555804" y="830126"/>
                    <a:pt x="532944" y="841556"/>
                  </a:cubicBezTo>
                  <a:cubicBezTo>
                    <a:pt x="530086" y="850128"/>
                    <a:pt x="536754" y="852033"/>
                    <a:pt x="541516" y="855843"/>
                  </a:cubicBezTo>
                  <a:cubicBezTo>
                    <a:pt x="561519" y="852986"/>
                    <a:pt x="579616" y="838698"/>
                    <a:pt x="602476" y="859653"/>
                  </a:cubicBezTo>
                  <a:cubicBezTo>
                    <a:pt x="617716" y="874893"/>
                    <a:pt x="654864" y="853938"/>
                    <a:pt x="652959" y="835841"/>
                  </a:cubicBezTo>
                  <a:cubicBezTo>
                    <a:pt x="650815" y="817267"/>
                    <a:pt x="636885" y="804587"/>
                    <a:pt x="620410" y="803828"/>
                  </a:cubicBezTo>
                  <a:close/>
                  <a:moveTo>
                    <a:pt x="2051228" y="690108"/>
                  </a:moveTo>
                  <a:cubicBezTo>
                    <a:pt x="2066468" y="695823"/>
                    <a:pt x="2079803" y="697728"/>
                    <a:pt x="2074088" y="722493"/>
                  </a:cubicBezTo>
                  <a:cubicBezTo>
                    <a:pt x="2066468" y="753925"/>
                    <a:pt x="2053133" y="773928"/>
                    <a:pt x="2021701" y="782500"/>
                  </a:cubicBezTo>
                  <a:cubicBezTo>
                    <a:pt x="2009318" y="785358"/>
                    <a:pt x="1997888" y="785358"/>
                    <a:pt x="2000746" y="772023"/>
                  </a:cubicBezTo>
                  <a:cubicBezTo>
                    <a:pt x="2006461" y="745353"/>
                    <a:pt x="2008366" y="714873"/>
                    <a:pt x="2036941" y="698680"/>
                  </a:cubicBezTo>
                  <a:cubicBezTo>
                    <a:pt x="2040751" y="694870"/>
                    <a:pt x="2045513" y="692965"/>
                    <a:pt x="2051228" y="690108"/>
                  </a:cubicBezTo>
                  <a:close/>
                  <a:moveTo>
                    <a:pt x="2111236" y="608669"/>
                  </a:moveTo>
                  <a:cubicBezTo>
                    <a:pt x="2115046" y="609621"/>
                    <a:pt x="2116951" y="613431"/>
                    <a:pt x="2113141" y="623433"/>
                  </a:cubicBezTo>
                  <a:cubicBezTo>
                    <a:pt x="2113141" y="624385"/>
                    <a:pt x="2112189" y="625338"/>
                    <a:pt x="2111236" y="626290"/>
                  </a:cubicBezTo>
                  <a:cubicBezTo>
                    <a:pt x="2147431" y="643435"/>
                    <a:pt x="2126476" y="692013"/>
                    <a:pt x="2159814" y="711063"/>
                  </a:cubicBezTo>
                  <a:cubicBezTo>
                    <a:pt x="2178864" y="721540"/>
                    <a:pt x="2174101" y="752020"/>
                    <a:pt x="2199819" y="758688"/>
                  </a:cubicBezTo>
                  <a:cubicBezTo>
                    <a:pt x="2206486" y="760593"/>
                    <a:pt x="2189341" y="798693"/>
                    <a:pt x="2176959" y="800598"/>
                  </a:cubicBezTo>
                  <a:cubicBezTo>
                    <a:pt x="2149336" y="805360"/>
                    <a:pt x="2120761" y="810123"/>
                    <a:pt x="2092186" y="814885"/>
                  </a:cubicBezTo>
                  <a:cubicBezTo>
                    <a:pt x="2089329" y="799645"/>
                    <a:pt x="2128381" y="789168"/>
                    <a:pt x="2092186" y="777738"/>
                  </a:cubicBezTo>
                  <a:cubicBezTo>
                    <a:pt x="2098854" y="765355"/>
                    <a:pt x="2098854" y="749163"/>
                    <a:pt x="2111236" y="740590"/>
                  </a:cubicBezTo>
                  <a:cubicBezTo>
                    <a:pt x="2127429" y="729160"/>
                    <a:pt x="2118856" y="712015"/>
                    <a:pt x="2110284" y="710110"/>
                  </a:cubicBezTo>
                  <a:cubicBezTo>
                    <a:pt x="2086471" y="705348"/>
                    <a:pt x="2087424" y="682488"/>
                    <a:pt x="2076946" y="669153"/>
                  </a:cubicBezTo>
                  <a:cubicBezTo>
                    <a:pt x="2062659" y="651055"/>
                    <a:pt x="2076946" y="617718"/>
                    <a:pt x="2097901" y="611050"/>
                  </a:cubicBezTo>
                  <a:cubicBezTo>
                    <a:pt x="2101711" y="609621"/>
                    <a:pt x="2107426" y="607716"/>
                    <a:pt x="2111236" y="608669"/>
                  </a:cubicBezTo>
                  <a:close/>
                  <a:moveTo>
                    <a:pt x="927279" y="479605"/>
                  </a:moveTo>
                  <a:cubicBezTo>
                    <a:pt x="932041" y="477700"/>
                    <a:pt x="935851" y="480558"/>
                    <a:pt x="933946" y="486273"/>
                  </a:cubicBezTo>
                  <a:cubicBezTo>
                    <a:pt x="932041" y="490083"/>
                    <a:pt x="929184" y="492941"/>
                    <a:pt x="929184" y="493893"/>
                  </a:cubicBezTo>
                  <a:cubicBezTo>
                    <a:pt x="919659" y="493893"/>
                    <a:pt x="917754" y="491035"/>
                    <a:pt x="919659" y="488178"/>
                  </a:cubicBezTo>
                  <a:cubicBezTo>
                    <a:pt x="921564" y="484368"/>
                    <a:pt x="924421" y="480558"/>
                    <a:pt x="927279" y="479605"/>
                  </a:cubicBezTo>
                  <a:close/>
                  <a:moveTo>
                    <a:pt x="1938089" y="417931"/>
                  </a:moveTo>
                  <a:cubicBezTo>
                    <a:pt x="1948537" y="420431"/>
                    <a:pt x="1955503" y="431504"/>
                    <a:pt x="1959789" y="441505"/>
                  </a:cubicBezTo>
                  <a:cubicBezTo>
                    <a:pt x="1967409" y="457698"/>
                    <a:pt x="1952169" y="461508"/>
                    <a:pt x="1940739" y="466270"/>
                  </a:cubicBezTo>
                  <a:cubicBezTo>
                    <a:pt x="1909306" y="478653"/>
                    <a:pt x="1880731" y="501513"/>
                    <a:pt x="1842631" y="480558"/>
                  </a:cubicBezTo>
                  <a:cubicBezTo>
                    <a:pt x="1829296" y="472938"/>
                    <a:pt x="1832154" y="467223"/>
                    <a:pt x="1832154" y="458650"/>
                  </a:cubicBezTo>
                  <a:cubicBezTo>
                    <a:pt x="1828344" y="450078"/>
                    <a:pt x="1835964" y="442458"/>
                    <a:pt x="1833106" y="431980"/>
                  </a:cubicBezTo>
                  <a:cubicBezTo>
                    <a:pt x="1828344" y="420550"/>
                    <a:pt x="1835011" y="416740"/>
                    <a:pt x="1845489" y="423408"/>
                  </a:cubicBezTo>
                  <a:cubicBezTo>
                    <a:pt x="1847394" y="430075"/>
                    <a:pt x="1849299" y="439600"/>
                    <a:pt x="1857871" y="432933"/>
                  </a:cubicBezTo>
                  <a:cubicBezTo>
                    <a:pt x="1878826" y="418645"/>
                    <a:pt x="1903591" y="426265"/>
                    <a:pt x="1926451" y="418645"/>
                  </a:cubicBezTo>
                  <a:cubicBezTo>
                    <a:pt x="1930737" y="417216"/>
                    <a:pt x="1934607" y="417097"/>
                    <a:pt x="1938089" y="417931"/>
                  </a:cubicBezTo>
                  <a:close/>
                  <a:moveTo>
                    <a:pt x="904419" y="389118"/>
                  </a:moveTo>
                  <a:cubicBezTo>
                    <a:pt x="915849" y="404358"/>
                    <a:pt x="928231" y="418646"/>
                    <a:pt x="938709" y="433886"/>
                  </a:cubicBezTo>
                  <a:cubicBezTo>
                    <a:pt x="940614" y="436743"/>
                    <a:pt x="940614" y="441505"/>
                    <a:pt x="942519" y="446268"/>
                  </a:cubicBezTo>
                  <a:cubicBezTo>
                    <a:pt x="938709" y="447221"/>
                    <a:pt x="932041" y="450078"/>
                    <a:pt x="931089" y="449125"/>
                  </a:cubicBezTo>
                  <a:cubicBezTo>
                    <a:pt x="912991" y="426266"/>
                    <a:pt x="896799" y="440553"/>
                    <a:pt x="878701" y="449125"/>
                  </a:cubicBezTo>
                  <a:cubicBezTo>
                    <a:pt x="871081" y="452936"/>
                    <a:pt x="863461" y="446268"/>
                    <a:pt x="856794" y="443411"/>
                  </a:cubicBezTo>
                  <a:cubicBezTo>
                    <a:pt x="835839" y="424361"/>
                    <a:pt x="864414" y="422455"/>
                    <a:pt x="867271" y="412930"/>
                  </a:cubicBezTo>
                  <a:cubicBezTo>
                    <a:pt x="878701" y="402453"/>
                    <a:pt x="887274" y="388166"/>
                    <a:pt x="904419" y="389118"/>
                  </a:cubicBezTo>
                  <a:close/>
                  <a:moveTo>
                    <a:pt x="1062534" y="340541"/>
                  </a:moveTo>
                  <a:cubicBezTo>
                    <a:pt x="1073011" y="340541"/>
                    <a:pt x="1082536" y="340541"/>
                    <a:pt x="1083489" y="353876"/>
                  </a:cubicBezTo>
                  <a:cubicBezTo>
                    <a:pt x="1073964" y="356733"/>
                    <a:pt x="1066344" y="373878"/>
                    <a:pt x="1053961" y="360543"/>
                  </a:cubicBezTo>
                  <a:cubicBezTo>
                    <a:pt x="1045389" y="351018"/>
                    <a:pt x="1054914" y="345303"/>
                    <a:pt x="1062534" y="340541"/>
                  </a:cubicBezTo>
                  <a:close/>
                  <a:moveTo>
                    <a:pt x="2471113" y="336025"/>
                  </a:moveTo>
                  <a:cubicBezTo>
                    <a:pt x="2489315" y="339763"/>
                    <a:pt x="2505689" y="355066"/>
                    <a:pt x="2521763" y="370068"/>
                  </a:cubicBezTo>
                  <a:cubicBezTo>
                    <a:pt x="2652256" y="491988"/>
                    <a:pt x="2764651" y="627243"/>
                    <a:pt x="2848471" y="785358"/>
                  </a:cubicBezTo>
                  <a:cubicBezTo>
                    <a:pt x="2875141" y="835841"/>
                    <a:pt x="2898953" y="887276"/>
                    <a:pt x="2920861" y="940616"/>
                  </a:cubicBezTo>
                  <a:cubicBezTo>
                    <a:pt x="2925623" y="952046"/>
                    <a:pt x="2938006" y="963476"/>
                    <a:pt x="2926576" y="977763"/>
                  </a:cubicBezTo>
                  <a:cubicBezTo>
                    <a:pt x="2893238" y="978716"/>
                    <a:pt x="2872283" y="955856"/>
                    <a:pt x="2847518" y="938711"/>
                  </a:cubicBezTo>
                  <a:cubicBezTo>
                    <a:pt x="2844661" y="919661"/>
                    <a:pt x="2858948" y="906326"/>
                    <a:pt x="2864663" y="890133"/>
                  </a:cubicBezTo>
                  <a:cubicBezTo>
                    <a:pt x="2846566" y="892991"/>
                    <a:pt x="2829421" y="903468"/>
                    <a:pt x="2810371" y="908231"/>
                  </a:cubicBezTo>
                  <a:cubicBezTo>
                    <a:pt x="2792273" y="911088"/>
                    <a:pt x="2774176" y="912041"/>
                    <a:pt x="2757031" y="904421"/>
                  </a:cubicBezTo>
                  <a:cubicBezTo>
                    <a:pt x="2741791" y="897753"/>
                    <a:pt x="2733218" y="902516"/>
                    <a:pt x="2728456" y="916803"/>
                  </a:cubicBezTo>
                  <a:cubicBezTo>
                    <a:pt x="2724646" y="935853"/>
                    <a:pt x="2713216" y="952998"/>
                    <a:pt x="2707501" y="971096"/>
                  </a:cubicBezTo>
                  <a:cubicBezTo>
                    <a:pt x="2702738" y="984431"/>
                    <a:pt x="2699881" y="997766"/>
                    <a:pt x="2706548" y="1011101"/>
                  </a:cubicBezTo>
                  <a:cubicBezTo>
                    <a:pt x="2712263" y="1021578"/>
                    <a:pt x="2722741" y="1031103"/>
                    <a:pt x="2712263" y="1044438"/>
                  </a:cubicBezTo>
                  <a:cubicBezTo>
                    <a:pt x="2722979" y="1032294"/>
                    <a:pt x="2735302" y="1023900"/>
                    <a:pt x="2750438" y="1026892"/>
                  </a:cubicBezTo>
                  <a:lnTo>
                    <a:pt x="2757317" y="1029909"/>
                  </a:lnTo>
                  <a:lnTo>
                    <a:pt x="2760842" y="1028246"/>
                  </a:lnTo>
                  <a:cubicBezTo>
                    <a:pt x="2768462" y="1021578"/>
                    <a:pt x="2775130" y="1013006"/>
                    <a:pt x="2785607" y="1010148"/>
                  </a:cubicBezTo>
                  <a:cubicBezTo>
                    <a:pt x="2791798" y="1008243"/>
                    <a:pt x="2798228" y="1006814"/>
                    <a:pt x="2804538" y="1006457"/>
                  </a:cubicBezTo>
                  <a:cubicBezTo>
                    <a:pt x="2810848" y="1006100"/>
                    <a:pt x="2817040" y="1006814"/>
                    <a:pt x="2822755" y="1009196"/>
                  </a:cubicBezTo>
                  <a:cubicBezTo>
                    <a:pt x="2859902" y="1023483"/>
                    <a:pt x="2898955" y="1027293"/>
                    <a:pt x="2938959" y="1031103"/>
                  </a:cubicBezTo>
                  <a:cubicBezTo>
                    <a:pt x="2955152" y="1033008"/>
                    <a:pt x="2957057" y="1047296"/>
                    <a:pt x="2959915" y="1058726"/>
                  </a:cubicBezTo>
                  <a:cubicBezTo>
                    <a:pt x="2990394" y="1159691"/>
                    <a:pt x="3010397" y="1262561"/>
                    <a:pt x="3021827" y="1368288"/>
                  </a:cubicBezTo>
                  <a:cubicBezTo>
                    <a:pt x="3029447" y="1433058"/>
                    <a:pt x="3025637" y="1497828"/>
                    <a:pt x="3027542" y="1562598"/>
                  </a:cubicBezTo>
                  <a:cubicBezTo>
                    <a:pt x="3027542" y="1573076"/>
                    <a:pt x="3031352" y="1585458"/>
                    <a:pt x="3020874" y="1594983"/>
                  </a:cubicBezTo>
                  <a:cubicBezTo>
                    <a:pt x="2992299" y="1573076"/>
                    <a:pt x="2963724" y="1551168"/>
                    <a:pt x="2958009" y="1512116"/>
                  </a:cubicBezTo>
                  <a:cubicBezTo>
                    <a:pt x="2954199" y="1483541"/>
                    <a:pt x="2933244" y="1467348"/>
                    <a:pt x="2918005" y="1446393"/>
                  </a:cubicBezTo>
                  <a:cubicBezTo>
                    <a:pt x="2898955" y="1421628"/>
                    <a:pt x="2888477" y="1390196"/>
                    <a:pt x="2860855" y="1371146"/>
                  </a:cubicBezTo>
                  <a:cubicBezTo>
                    <a:pt x="2846567" y="1368288"/>
                    <a:pt x="2836089" y="1359716"/>
                    <a:pt x="2831327" y="1343523"/>
                  </a:cubicBezTo>
                  <a:cubicBezTo>
                    <a:pt x="2835137" y="1360668"/>
                    <a:pt x="2849424" y="1368288"/>
                    <a:pt x="2856092" y="1380671"/>
                  </a:cubicBezTo>
                  <a:cubicBezTo>
                    <a:pt x="2882762" y="1424486"/>
                    <a:pt x="2896097" y="1474968"/>
                    <a:pt x="2930387" y="1514021"/>
                  </a:cubicBezTo>
                  <a:cubicBezTo>
                    <a:pt x="2938007" y="1522593"/>
                    <a:pt x="2938959" y="1534976"/>
                    <a:pt x="2939912" y="1546406"/>
                  </a:cubicBezTo>
                  <a:cubicBezTo>
                    <a:pt x="2941817" y="1566408"/>
                    <a:pt x="2950390" y="1582601"/>
                    <a:pt x="2962772" y="1597841"/>
                  </a:cubicBezTo>
                  <a:cubicBezTo>
                    <a:pt x="2983727" y="1622606"/>
                    <a:pt x="2993252" y="1652133"/>
                    <a:pt x="2999919" y="1683566"/>
                  </a:cubicBezTo>
                  <a:cubicBezTo>
                    <a:pt x="3023732" y="1698806"/>
                    <a:pt x="3015159" y="1721666"/>
                    <a:pt x="3012302" y="1740716"/>
                  </a:cubicBezTo>
                  <a:cubicBezTo>
                    <a:pt x="2988490" y="1885496"/>
                    <a:pt x="2951342" y="2026466"/>
                    <a:pt x="2886572" y="2158864"/>
                  </a:cubicBezTo>
                  <a:cubicBezTo>
                    <a:pt x="2872284" y="2188391"/>
                    <a:pt x="2858949" y="2218871"/>
                    <a:pt x="2841805" y="2246493"/>
                  </a:cubicBezTo>
                  <a:cubicBezTo>
                    <a:pt x="2837042" y="2255066"/>
                    <a:pt x="2835137" y="2266496"/>
                    <a:pt x="2821802" y="2266496"/>
                  </a:cubicBezTo>
                  <a:cubicBezTo>
                    <a:pt x="2812277" y="2260781"/>
                    <a:pt x="2812277" y="2249351"/>
                    <a:pt x="2808467" y="2240778"/>
                  </a:cubicBezTo>
                  <a:cubicBezTo>
                    <a:pt x="2794180" y="2222681"/>
                    <a:pt x="2796084" y="2198868"/>
                    <a:pt x="2785607" y="2172198"/>
                  </a:cubicBezTo>
                  <a:cubicBezTo>
                    <a:pt x="2795132" y="2196011"/>
                    <a:pt x="2791322" y="2217918"/>
                    <a:pt x="2805609" y="2234111"/>
                  </a:cubicBezTo>
                  <a:cubicBezTo>
                    <a:pt x="2812277" y="2246493"/>
                    <a:pt x="2811324" y="2261733"/>
                    <a:pt x="2821802" y="2273164"/>
                  </a:cubicBezTo>
                  <a:cubicBezTo>
                    <a:pt x="2795132" y="2339839"/>
                    <a:pt x="2750364" y="2394131"/>
                    <a:pt x="2708455" y="2451281"/>
                  </a:cubicBezTo>
                  <a:cubicBezTo>
                    <a:pt x="2661782" y="2514146"/>
                    <a:pt x="2606537" y="2568439"/>
                    <a:pt x="2551292" y="2622731"/>
                  </a:cubicBezTo>
                  <a:cubicBezTo>
                    <a:pt x="2527480" y="2646543"/>
                    <a:pt x="2502714" y="2666546"/>
                    <a:pt x="2476997" y="2687501"/>
                  </a:cubicBezTo>
                  <a:cubicBezTo>
                    <a:pt x="2465567" y="2677976"/>
                    <a:pt x="2476997" y="2661783"/>
                    <a:pt x="2463662" y="2655116"/>
                  </a:cubicBezTo>
                  <a:cubicBezTo>
                    <a:pt x="2469377" y="2608443"/>
                    <a:pt x="2446517" y="2570343"/>
                    <a:pt x="2425562" y="2533196"/>
                  </a:cubicBezTo>
                  <a:cubicBezTo>
                    <a:pt x="2392224" y="2475093"/>
                    <a:pt x="2414132" y="2424611"/>
                    <a:pt x="2439849" y="2375081"/>
                  </a:cubicBezTo>
                  <a:cubicBezTo>
                    <a:pt x="2453184" y="2349364"/>
                    <a:pt x="2458899" y="2330314"/>
                    <a:pt x="2449374" y="2301739"/>
                  </a:cubicBezTo>
                  <a:cubicBezTo>
                    <a:pt x="2439849" y="2272211"/>
                    <a:pt x="2442707" y="2240778"/>
                    <a:pt x="2430324" y="2210298"/>
                  </a:cubicBezTo>
                  <a:cubicBezTo>
                    <a:pt x="2420799" y="2187439"/>
                    <a:pt x="2416989" y="2160768"/>
                    <a:pt x="2396987" y="2144576"/>
                  </a:cubicBezTo>
                  <a:cubicBezTo>
                    <a:pt x="2352219" y="2107428"/>
                    <a:pt x="2357934" y="2060756"/>
                    <a:pt x="2370317" y="2012178"/>
                  </a:cubicBezTo>
                  <a:cubicBezTo>
                    <a:pt x="2372222" y="2005511"/>
                    <a:pt x="2374127" y="1998843"/>
                    <a:pt x="2374127" y="1992176"/>
                  </a:cubicBezTo>
                  <a:cubicBezTo>
                    <a:pt x="2376984" y="1954076"/>
                    <a:pt x="2356982" y="1935978"/>
                    <a:pt x="2319834" y="1944551"/>
                  </a:cubicBezTo>
                  <a:cubicBezTo>
                    <a:pt x="2303642" y="1948361"/>
                    <a:pt x="2292212" y="1948361"/>
                    <a:pt x="2282687" y="1931216"/>
                  </a:cubicBezTo>
                  <a:cubicBezTo>
                    <a:pt x="2263637" y="1897878"/>
                    <a:pt x="2235062" y="1889306"/>
                    <a:pt x="2200772" y="1905498"/>
                  </a:cubicBezTo>
                  <a:cubicBezTo>
                    <a:pt x="2186484" y="1912166"/>
                    <a:pt x="2171244" y="1918833"/>
                    <a:pt x="2157909" y="1926453"/>
                  </a:cubicBezTo>
                  <a:cubicBezTo>
                    <a:pt x="2140764" y="1935978"/>
                    <a:pt x="2124572" y="1938836"/>
                    <a:pt x="2106474" y="1931216"/>
                  </a:cubicBezTo>
                  <a:cubicBezTo>
                    <a:pt x="2083614" y="1921691"/>
                    <a:pt x="2059802" y="1925501"/>
                    <a:pt x="2040752" y="1937883"/>
                  </a:cubicBezTo>
                  <a:cubicBezTo>
                    <a:pt x="2012177" y="1956933"/>
                    <a:pt x="1991222" y="1941693"/>
                    <a:pt x="1974077" y="1924548"/>
                  </a:cubicBezTo>
                  <a:cubicBezTo>
                    <a:pt x="1956932" y="1907403"/>
                    <a:pt x="1938834" y="1892163"/>
                    <a:pt x="1919784" y="1877876"/>
                  </a:cubicBezTo>
                  <a:cubicBezTo>
                    <a:pt x="1909307" y="1870256"/>
                    <a:pt x="1899782" y="1861683"/>
                    <a:pt x="1896924" y="1849301"/>
                  </a:cubicBezTo>
                  <a:cubicBezTo>
                    <a:pt x="1889304" y="1812153"/>
                    <a:pt x="1862634" y="1789293"/>
                    <a:pt x="1839774" y="1762623"/>
                  </a:cubicBezTo>
                  <a:cubicBezTo>
                    <a:pt x="1827392" y="1748336"/>
                    <a:pt x="1815962" y="1694043"/>
                    <a:pt x="1822629" y="1676898"/>
                  </a:cubicBezTo>
                  <a:cubicBezTo>
                    <a:pt x="1840727" y="1632131"/>
                    <a:pt x="1846442" y="1585458"/>
                    <a:pt x="1829297" y="1537833"/>
                  </a:cubicBezTo>
                  <a:cubicBezTo>
                    <a:pt x="1826439" y="1530213"/>
                    <a:pt x="1823582" y="1522593"/>
                    <a:pt x="1828344" y="1514973"/>
                  </a:cubicBezTo>
                  <a:cubicBezTo>
                    <a:pt x="1854062" y="1466396"/>
                    <a:pt x="1875017" y="1416866"/>
                    <a:pt x="1909307" y="1373051"/>
                  </a:cubicBezTo>
                  <a:cubicBezTo>
                    <a:pt x="1915022" y="1366383"/>
                    <a:pt x="1923594" y="1365431"/>
                    <a:pt x="1929309" y="1361621"/>
                  </a:cubicBezTo>
                  <a:cubicBezTo>
                    <a:pt x="1954074" y="1345428"/>
                    <a:pt x="1976934" y="1330188"/>
                    <a:pt x="1977887" y="1293041"/>
                  </a:cubicBezTo>
                  <a:cubicBezTo>
                    <a:pt x="1978839" y="1267323"/>
                    <a:pt x="1992174" y="1239701"/>
                    <a:pt x="2019797" y="1227318"/>
                  </a:cubicBezTo>
                  <a:cubicBezTo>
                    <a:pt x="2040752" y="1217793"/>
                    <a:pt x="2050277" y="1201601"/>
                    <a:pt x="2051229" y="1178741"/>
                  </a:cubicBezTo>
                  <a:cubicBezTo>
                    <a:pt x="2058849" y="1162548"/>
                    <a:pt x="2071232" y="1167311"/>
                    <a:pt x="2083614" y="1172073"/>
                  </a:cubicBezTo>
                  <a:cubicBezTo>
                    <a:pt x="2111237" y="1181598"/>
                    <a:pt x="2136002" y="1178741"/>
                    <a:pt x="2161719" y="1162548"/>
                  </a:cubicBezTo>
                  <a:cubicBezTo>
                    <a:pt x="2193152" y="1142546"/>
                    <a:pt x="2229347" y="1134926"/>
                    <a:pt x="2266494" y="1136831"/>
                  </a:cubicBezTo>
                  <a:cubicBezTo>
                    <a:pt x="2288402" y="1137783"/>
                    <a:pt x="2310309" y="1137783"/>
                    <a:pt x="2331264" y="1133021"/>
                  </a:cubicBezTo>
                  <a:cubicBezTo>
                    <a:pt x="2370317" y="1123496"/>
                    <a:pt x="2397939" y="1138736"/>
                    <a:pt x="2387462" y="1197791"/>
                  </a:cubicBezTo>
                  <a:cubicBezTo>
                    <a:pt x="2384604" y="1213983"/>
                    <a:pt x="2384604" y="1228271"/>
                    <a:pt x="2400797" y="1229223"/>
                  </a:cubicBezTo>
                  <a:cubicBezTo>
                    <a:pt x="2447469" y="1231128"/>
                    <a:pt x="2477949" y="1266371"/>
                    <a:pt x="2517002" y="1283516"/>
                  </a:cubicBezTo>
                  <a:cubicBezTo>
                    <a:pt x="2538909" y="1293041"/>
                    <a:pt x="2550339" y="1296851"/>
                    <a:pt x="2556055" y="1266371"/>
                  </a:cubicBezTo>
                  <a:cubicBezTo>
                    <a:pt x="2561769" y="1236843"/>
                    <a:pt x="2589392" y="1227318"/>
                    <a:pt x="2617967" y="1241606"/>
                  </a:cubicBezTo>
                  <a:cubicBezTo>
                    <a:pt x="2644637" y="1254941"/>
                    <a:pt x="2673212" y="1262561"/>
                    <a:pt x="2701787" y="1271133"/>
                  </a:cubicBezTo>
                  <a:cubicBezTo>
                    <a:pt x="2743697" y="1283516"/>
                    <a:pt x="2782749" y="1259703"/>
                    <a:pt x="2823707" y="1270181"/>
                  </a:cubicBezTo>
                  <a:cubicBezTo>
                    <a:pt x="2833232" y="1272086"/>
                    <a:pt x="2840852" y="1262561"/>
                    <a:pt x="2842757" y="1253988"/>
                  </a:cubicBezTo>
                  <a:cubicBezTo>
                    <a:pt x="2847519" y="1233033"/>
                    <a:pt x="2856092" y="1212078"/>
                    <a:pt x="2857997" y="1191123"/>
                  </a:cubicBezTo>
                  <a:cubicBezTo>
                    <a:pt x="2861807" y="1157786"/>
                    <a:pt x="2857044" y="1154928"/>
                    <a:pt x="2824659" y="1163501"/>
                  </a:cubicBezTo>
                  <a:cubicBezTo>
                    <a:pt x="2807514" y="1168263"/>
                    <a:pt x="2793227" y="1167311"/>
                    <a:pt x="2781797" y="1153023"/>
                  </a:cubicBezTo>
                  <a:lnTo>
                    <a:pt x="2778142" y="1149005"/>
                  </a:lnTo>
                  <a:lnTo>
                    <a:pt x="2758579" y="1157637"/>
                  </a:lnTo>
                  <a:cubicBezTo>
                    <a:pt x="2730182" y="1164691"/>
                    <a:pt x="2706072" y="1153261"/>
                    <a:pt x="2684641" y="1122543"/>
                  </a:cubicBezTo>
                  <a:cubicBezTo>
                    <a:pt x="2676068" y="1110161"/>
                    <a:pt x="2672258" y="1095873"/>
                    <a:pt x="2664638" y="1083491"/>
                  </a:cubicBezTo>
                  <a:cubicBezTo>
                    <a:pt x="2658923" y="1073966"/>
                    <a:pt x="2664638" y="1054916"/>
                    <a:pt x="2646541" y="1054916"/>
                  </a:cubicBezTo>
                  <a:cubicBezTo>
                    <a:pt x="2631301" y="1055868"/>
                    <a:pt x="2616061" y="1061583"/>
                    <a:pt x="2610346" y="1080633"/>
                  </a:cubicBezTo>
                  <a:lnTo>
                    <a:pt x="2609202" y="1082346"/>
                  </a:lnTo>
                  <a:lnTo>
                    <a:pt x="2613204" y="1086348"/>
                  </a:lnTo>
                  <a:cubicBezTo>
                    <a:pt x="2619871" y="1093968"/>
                    <a:pt x="2626539" y="1101588"/>
                    <a:pt x="2632254" y="1108255"/>
                  </a:cubicBezTo>
                  <a:cubicBezTo>
                    <a:pt x="2619871" y="1117780"/>
                    <a:pt x="2617014" y="1133020"/>
                    <a:pt x="2609394" y="1145403"/>
                  </a:cubicBezTo>
                  <a:cubicBezTo>
                    <a:pt x="2602726" y="1154928"/>
                    <a:pt x="2586534" y="1142545"/>
                    <a:pt x="2584629" y="1132068"/>
                  </a:cubicBezTo>
                  <a:cubicBezTo>
                    <a:pt x="2581771" y="1117780"/>
                    <a:pt x="2574151" y="1106350"/>
                    <a:pt x="2566055" y="1095397"/>
                  </a:cubicBezTo>
                  <a:lnTo>
                    <a:pt x="2558490" y="1083461"/>
                  </a:lnTo>
                  <a:lnTo>
                    <a:pt x="2545576" y="1071108"/>
                  </a:lnTo>
                  <a:cubicBezTo>
                    <a:pt x="2541766" y="1068251"/>
                    <a:pt x="2537003" y="1065393"/>
                    <a:pt x="2536051" y="1061583"/>
                  </a:cubicBezTo>
                  <a:cubicBezTo>
                    <a:pt x="2522716" y="1003481"/>
                    <a:pt x="2462708" y="991098"/>
                    <a:pt x="2429371" y="952046"/>
                  </a:cubicBezTo>
                  <a:cubicBezTo>
                    <a:pt x="2426513" y="949188"/>
                    <a:pt x="2421751" y="947283"/>
                    <a:pt x="2417941" y="944426"/>
                  </a:cubicBezTo>
                  <a:cubicBezTo>
                    <a:pt x="2416036" y="943473"/>
                    <a:pt x="2413178" y="943473"/>
                    <a:pt x="2407463" y="947283"/>
                  </a:cubicBezTo>
                  <a:cubicBezTo>
                    <a:pt x="2425561" y="973001"/>
                    <a:pt x="2440801" y="998718"/>
                    <a:pt x="2469376" y="1014911"/>
                  </a:cubicBezTo>
                  <a:cubicBezTo>
                    <a:pt x="2483663" y="1023483"/>
                    <a:pt x="2500808" y="1028246"/>
                    <a:pt x="2509381" y="1044438"/>
                  </a:cubicBezTo>
                  <a:cubicBezTo>
                    <a:pt x="2510333" y="1049201"/>
                    <a:pt x="2508428" y="1053963"/>
                    <a:pt x="2504618" y="1057773"/>
                  </a:cubicBezTo>
                  <a:cubicBezTo>
                    <a:pt x="2500808" y="1066346"/>
                    <a:pt x="2479853" y="1059678"/>
                    <a:pt x="2488426" y="1077776"/>
                  </a:cubicBezTo>
                  <a:cubicBezTo>
                    <a:pt x="2485568" y="1082538"/>
                    <a:pt x="2481758" y="1084443"/>
                    <a:pt x="2476996" y="1084443"/>
                  </a:cubicBezTo>
                  <a:cubicBezTo>
                    <a:pt x="2437943" y="1050153"/>
                    <a:pt x="2385556" y="1032056"/>
                    <a:pt x="2356028" y="985383"/>
                  </a:cubicBezTo>
                  <a:cubicBezTo>
                    <a:pt x="2346503" y="970143"/>
                    <a:pt x="2333168" y="968238"/>
                    <a:pt x="2317928" y="978716"/>
                  </a:cubicBezTo>
                  <a:cubicBezTo>
                    <a:pt x="2310308" y="984431"/>
                    <a:pt x="2301736" y="994908"/>
                    <a:pt x="2295068" y="993003"/>
                  </a:cubicBezTo>
                  <a:cubicBezTo>
                    <a:pt x="2237918" y="978716"/>
                    <a:pt x="2232203" y="1040628"/>
                    <a:pt x="2196008" y="1057773"/>
                  </a:cubicBezTo>
                  <a:cubicBezTo>
                    <a:pt x="2185531" y="1062536"/>
                    <a:pt x="2183626" y="1075871"/>
                    <a:pt x="2181721" y="1087301"/>
                  </a:cubicBezTo>
                  <a:cubicBezTo>
                    <a:pt x="2172196" y="1130163"/>
                    <a:pt x="2149336" y="1152071"/>
                    <a:pt x="2105521" y="1157786"/>
                  </a:cubicBezTo>
                  <a:cubicBezTo>
                    <a:pt x="2088376" y="1159691"/>
                    <a:pt x="2069326" y="1179693"/>
                    <a:pt x="2053133" y="1155881"/>
                  </a:cubicBezTo>
                  <a:cubicBezTo>
                    <a:pt x="2052181" y="1145403"/>
                    <a:pt x="2048371" y="1137783"/>
                    <a:pt x="2036941" y="1136831"/>
                  </a:cubicBezTo>
                  <a:cubicBezTo>
                    <a:pt x="2026463" y="1135878"/>
                    <a:pt x="2010271" y="1148261"/>
                    <a:pt x="2008366" y="1131116"/>
                  </a:cubicBezTo>
                  <a:cubicBezTo>
                    <a:pt x="2005508" y="1113018"/>
                    <a:pt x="1993126" y="1094921"/>
                    <a:pt x="2001698" y="1074918"/>
                  </a:cubicBezTo>
                  <a:cubicBezTo>
                    <a:pt x="2011223" y="1051106"/>
                    <a:pt x="2015986" y="1027293"/>
                    <a:pt x="2008366" y="1001576"/>
                  </a:cubicBezTo>
                  <a:cubicBezTo>
                    <a:pt x="2002651" y="979668"/>
                    <a:pt x="2021701" y="978716"/>
                    <a:pt x="2035988" y="977763"/>
                  </a:cubicBezTo>
                  <a:cubicBezTo>
                    <a:pt x="2059801" y="974906"/>
                    <a:pt x="2083613" y="981573"/>
                    <a:pt x="2107426" y="983478"/>
                  </a:cubicBezTo>
                  <a:cubicBezTo>
                    <a:pt x="2120761" y="984431"/>
                    <a:pt x="2139811" y="992051"/>
                    <a:pt x="2148383" y="975858"/>
                  </a:cubicBezTo>
                  <a:cubicBezTo>
                    <a:pt x="2157908" y="956808"/>
                    <a:pt x="2162671" y="934901"/>
                    <a:pt x="2150288" y="913946"/>
                  </a:cubicBezTo>
                  <a:cubicBezTo>
                    <a:pt x="2140763" y="897753"/>
                    <a:pt x="2131238" y="882513"/>
                    <a:pt x="2112188" y="876798"/>
                  </a:cubicBezTo>
                  <a:cubicBezTo>
                    <a:pt x="2105521" y="874893"/>
                    <a:pt x="2094091" y="873941"/>
                    <a:pt x="2096948" y="862511"/>
                  </a:cubicBezTo>
                  <a:cubicBezTo>
                    <a:pt x="2098853" y="852033"/>
                    <a:pt x="2109331" y="852033"/>
                    <a:pt x="2118856" y="849176"/>
                  </a:cubicBezTo>
                  <a:cubicBezTo>
                    <a:pt x="2149336" y="838698"/>
                    <a:pt x="2177911" y="830126"/>
                    <a:pt x="2206486" y="810123"/>
                  </a:cubicBezTo>
                  <a:cubicBezTo>
                    <a:pt x="2241728" y="785358"/>
                    <a:pt x="2258873" y="735828"/>
                    <a:pt x="2308403" y="731066"/>
                  </a:cubicBezTo>
                  <a:cubicBezTo>
                    <a:pt x="2322691" y="729161"/>
                    <a:pt x="2323643" y="718683"/>
                    <a:pt x="2321738" y="708206"/>
                  </a:cubicBezTo>
                  <a:cubicBezTo>
                    <a:pt x="2319833" y="698681"/>
                    <a:pt x="2314118" y="689156"/>
                    <a:pt x="2311261" y="679631"/>
                  </a:cubicBezTo>
                  <a:cubicBezTo>
                    <a:pt x="2307451" y="666296"/>
                    <a:pt x="2305546" y="652008"/>
                    <a:pt x="2320786" y="643436"/>
                  </a:cubicBezTo>
                  <a:cubicBezTo>
                    <a:pt x="2326501" y="640578"/>
                    <a:pt x="2334121" y="632958"/>
                    <a:pt x="2338883" y="638673"/>
                  </a:cubicBezTo>
                  <a:cubicBezTo>
                    <a:pt x="2346503" y="649151"/>
                    <a:pt x="2353171" y="662486"/>
                    <a:pt x="2343646" y="675821"/>
                  </a:cubicBezTo>
                  <a:cubicBezTo>
                    <a:pt x="2337931" y="685346"/>
                    <a:pt x="2342693" y="692966"/>
                    <a:pt x="2348408" y="699633"/>
                  </a:cubicBezTo>
                  <a:cubicBezTo>
                    <a:pt x="2356028" y="708206"/>
                    <a:pt x="2364601" y="711063"/>
                    <a:pt x="2376031" y="706301"/>
                  </a:cubicBezTo>
                  <a:cubicBezTo>
                    <a:pt x="2378888" y="705348"/>
                    <a:pt x="2381746" y="704396"/>
                    <a:pt x="2385556" y="704396"/>
                  </a:cubicBezTo>
                  <a:cubicBezTo>
                    <a:pt x="2409368" y="712968"/>
                    <a:pt x="2432228" y="712016"/>
                    <a:pt x="2454136" y="698681"/>
                  </a:cubicBezTo>
                  <a:cubicBezTo>
                    <a:pt x="2460803" y="694871"/>
                    <a:pt x="2469376" y="692966"/>
                    <a:pt x="2476996" y="692013"/>
                  </a:cubicBezTo>
                  <a:cubicBezTo>
                    <a:pt x="2517001" y="689156"/>
                    <a:pt x="2517001" y="689156"/>
                    <a:pt x="2517953" y="648198"/>
                  </a:cubicBezTo>
                  <a:cubicBezTo>
                    <a:pt x="2525573" y="626291"/>
                    <a:pt x="2540813" y="618671"/>
                    <a:pt x="2563673" y="626291"/>
                  </a:cubicBezTo>
                  <a:cubicBezTo>
                    <a:pt x="2558911" y="610098"/>
                    <a:pt x="2545576" y="599621"/>
                    <a:pt x="2554148" y="585333"/>
                  </a:cubicBezTo>
                  <a:lnTo>
                    <a:pt x="2572928" y="573708"/>
                  </a:lnTo>
                  <a:lnTo>
                    <a:pt x="2586098" y="571735"/>
                  </a:lnTo>
                  <a:lnTo>
                    <a:pt x="2586726" y="571671"/>
                  </a:lnTo>
                  <a:cubicBezTo>
                    <a:pt x="2599630" y="572653"/>
                    <a:pt x="2613203" y="578189"/>
                    <a:pt x="2624633" y="568188"/>
                  </a:cubicBezTo>
                  <a:cubicBezTo>
                    <a:pt x="2626538" y="566283"/>
                    <a:pt x="2628443" y="565331"/>
                    <a:pt x="2630348" y="563426"/>
                  </a:cubicBezTo>
                  <a:cubicBezTo>
                    <a:pt x="2634158" y="561521"/>
                    <a:pt x="2634158" y="568188"/>
                    <a:pt x="2633206" y="563426"/>
                  </a:cubicBezTo>
                  <a:cubicBezTo>
                    <a:pt x="2632253" y="557711"/>
                    <a:pt x="2629396" y="564378"/>
                    <a:pt x="2626538" y="563426"/>
                  </a:cubicBezTo>
                  <a:cubicBezTo>
                    <a:pt x="2615584" y="567236"/>
                    <a:pt x="2604392" y="569141"/>
                    <a:pt x="2593082" y="570689"/>
                  </a:cubicBezTo>
                  <a:lnTo>
                    <a:pt x="2586098" y="571735"/>
                  </a:lnTo>
                  <a:lnTo>
                    <a:pt x="2574151" y="572951"/>
                  </a:lnTo>
                  <a:lnTo>
                    <a:pt x="2572928" y="573708"/>
                  </a:lnTo>
                  <a:lnTo>
                    <a:pt x="2558911" y="575808"/>
                  </a:lnTo>
                  <a:cubicBezTo>
                    <a:pt x="2533193" y="580571"/>
                    <a:pt x="2516048" y="563426"/>
                    <a:pt x="2506523" y="541518"/>
                  </a:cubicBezTo>
                  <a:cubicBezTo>
                    <a:pt x="2496998" y="519611"/>
                    <a:pt x="2487473" y="498656"/>
                    <a:pt x="2512238" y="480558"/>
                  </a:cubicBezTo>
                  <a:cubicBezTo>
                    <a:pt x="2520811" y="474843"/>
                    <a:pt x="2527478" y="467223"/>
                    <a:pt x="2533193" y="458651"/>
                  </a:cubicBezTo>
                  <a:cubicBezTo>
                    <a:pt x="2537003" y="452936"/>
                    <a:pt x="2541766" y="446268"/>
                    <a:pt x="2534146" y="440553"/>
                  </a:cubicBezTo>
                  <a:cubicBezTo>
                    <a:pt x="2526526" y="434838"/>
                    <a:pt x="2515096" y="437696"/>
                    <a:pt x="2513191" y="445316"/>
                  </a:cubicBezTo>
                  <a:cubicBezTo>
                    <a:pt x="2506523" y="474843"/>
                    <a:pt x="2482711" y="489131"/>
                    <a:pt x="2464613" y="509133"/>
                  </a:cubicBezTo>
                  <a:cubicBezTo>
                    <a:pt x="2452231" y="523421"/>
                    <a:pt x="2455088" y="538661"/>
                    <a:pt x="2467471" y="551996"/>
                  </a:cubicBezTo>
                  <a:cubicBezTo>
                    <a:pt x="2481758" y="567236"/>
                    <a:pt x="2481758" y="582476"/>
                    <a:pt x="2468423" y="597716"/>
                  </a:cubicBezTo>
                  <a:cubicBezTo>
                    <a:pt x="2457946" y="610098"/>
                    <a:pt x="2455088" y="623433"/>
                    <a:pt x="2453183" y="638673"/>
                  </a:cubicBezTo>
                  <a:cubicBezTo>
                    <a:pt x="2451278" y="657723"/>
                    <a:pt x="2442706" y="671058"/>
                    <a:pt x="2423656" y="676773"/>
                  </a:cubicBezTo>
                  <a:cubicBezTo>
                    <a:pt x="2413178" y="682488"/>
                    <a:pt x="2402701" y="690108"/>
                    <a:pt x="2389366" y="683441"/>
                  </a:cubicBezTo>
                  <a:cubicBezTo>
                    <a:pt x="2381746" y="676773"/>
                    <a:pt x="2376983" y="670106"/>
                    <a:pt x="2383651" y="659628"/>
                  </a:cubicBezTo>
                  <a:cubicBezTo>
                    <a:pt x="2377936" y="649151"/>
                    <a:pt x="2372221" y="638673"/>
                    <a:pt x="2367458" y="627243"/>
                  </a:cubicBezTo>
                  <a:cubicBezTo>
                    <a:pt x="2348408" y="585333"/>
                    <a:pt x="2348408" y="584381"/>
                    <a:pt x="2308403" y="612003"/>
                  </a:cubicBezTo>
                  <a:cubicBezTo>
                    <a:pt x="2273161" y="616766"/>
                    <a:pt x="2265541" y="608193"/>
                    <a:pt x="2270303" y="571046"/>
                  </a:cubicBezTo>
                  <a:cubicBezTo>
                    <a:pt x="2271256" y="560568"/>
                    <a:pt x="2287448" y="545328"/>
                    <a:pt x="2260778" y="543423"/>
                  </a:cubicBezTo>
                  <a:cubicBezTo>
                    <a:pt x="2255063" y="542471"/>
                    <a:pt x="2255063" y="530088"/>
                    <a:pt x="2259826" y="522468"/>
                  </a:cubicBezTo>
                  <a:cubicBezTo>
                    <a:pt x="2313166" y="486273"/>
                    <a:pt x="2361743" y="445316"/>
                    <a:pt x="2390318" y="385308"/>
                  </a:cubicBezTo>
                  <a:cubicBezTo>
                    <a:pt x="2396986" y="372926"/>
                    <a:pt x="2403653" y="362448"/>
                    <a:pt x="2416988" y="357686"/>
                  </a:cubicBezTo>
                  <a:cubicBezTo>
                    <a:pt x="2416988" y="355781"/>
                    <a:pt x="2416988" y="353876"/>
                    <a:pt x="2417941" y="351971"/>
                  </a:cubicBezTo>
                  <a:cubicBezTo>
                    <a:pt x="2419846" y="352923"/>
                    <a:pt x="2423656" y="354828"/>
                    <a:pt x="2424608" y="353876"/>
                  </a:cubicBezTo>
                  <a:cubicBezTo>
                    <a:pt x="2434371" y="344351"/>
                    <a:pt x="2443539" y="338934"/>
                    <a:pt x="2452245" y="336582"/>
                  </a:cubicBezTo>
                  <a:cubicBezTo>
                    <a:pt x="2458775" y="334818"/>
                    <a:pt x="2465045" y="334779"/>
                    <a:pt x="2471113" y="336025"/>
                  </a:cubicBezTo>
                  <a:close/>
                  <a:moveTo>
                    <a:pt x="761544" y="194808"/>
                  </a:moveTo>
                  <a:cubicBezTo>
                    <a:pt x="773926" y="196713"/>
                    <a:pt x="774879" y="206238"/>
                    <a:pt x="773926" y="216716"/>
                  </a:cubicBezTo>
                  <a:cubicBezTo>
                    <a:pt x="755829" y="237671"/>
                    <a:pt x="760591" y="257673"/>
                    <a:pt x="773926" y="278628"/>
                  </a:cubicBezTo>
                  <a:cubicBezTo>
                    <a:pt x="748209" y="302441"/>
                    <a:pt x="720586" y="315776"/>
                    <a:pt x="687249" y="293868"/>
                  </a:cubicBezTo>
                  <a:cubicBezTo>
                    <a:pt x="682486" y="291011"/>
                    <a:pt x="675819" y="292916"/>
                    <a:pt x="671056" y="292916"/>
                  </a:cubicBezTo>
                  <a:cubicBezTo>
                    <a:pt x="660579" y="294821"/>
                    <a:pt x="650101" y="296726"/>
                    <a:pt x="640576" y="298631"/>
                  </a:cubicBezTo>
                  <a:cubicBezTo>
                    <a:pt x="627241" y="300536"/>
                    <a:pt x="613906" y="302441"/>
                    <a:pt x="603429" y="291011"/>
                  </a:cubicBezTo>
                  <a:cubicBezTo>
                    <a:pt x="636766" y="258626"/>
                    <a:pt x="678676" y="239576"/>
                    <a:pt x="715824" y="211953"/>
                  </a:cubicBezTo>
                  <a:cubicBezTo>
                    <a:pt x="719634" y="209096"/>
                    <a:pt x="724396" y="211953"/>
                    <a:pt x="727254" y="215763"/>
                  </a:cubicBezTo>
                  <a:cubicBezTo>
                    <a:pt x="746304" y="220526"/>
                    <a:pt x="741541" y="187188"/>
                    <a:pt x="761544" y="194808"/>
                  </a:cubicBezTo>
                  <a:close/>
                  <a:moveTo>
                    <a:pt x="873343" y="184331"/>
                  </a:moveTo>
                  <a:cubicBezTo>
                    <a:pt x="879653" y="185283"/>
                    <a:pt x="886320" y="188617"/>
                    <a:pt x="891083" y="191951"/>
                  </a:cubicBezTo>
                  <a:cubicBezTo>
                    <a:pt x="904418" y="200523"/>
                    <a:pt x="892988" y="209096"/>
                    <a:pt x="888226" y="217668"/>
                  </a:cubicBezTo>
                  <a:lnTo>
                    <a:pt x="879241" y="234820"/>
                  </a:lnTo>
                  <a:lnTo>
                    <a:pt x="895370" y="235036"/>
                  </a:lnTo>
                  <a:cubicBezTo>
                    <a:pt x="907514" y="238206"/>
                    <a:pt x="906800" y="249815"/>
                    <a:pt x="899656" y="266246"/>
                  </a:cubicBezTo>
                  <a:cubicBezTo>
                    <a:pt x="894893" y="277676"/>
                    <a:pt x="884416" y="289106"/>
                    <a:pt x="892988" y="303393"/>
                  </a:cubicBezTo>
                  <a:cubicBezTo>
                    <a:pt x="897751" y="310061"/>
                    <a:pt x="901561" y="309108"/>
                    <a:pt x="905371" y="303393"/>
                  </a:cubicBezTo>
                  <a:cubicBezTo>
                    <a:pt x="923468" y="307203"/>
                    <a:pt x="923468" y="307203"/>
                    <a:pt x="915848" y="337683"/>
                  </a:cubicBezTo>
                  <a:cubicBezTo>
                    <a:pt x="926326" y="330063"/>
                    <a:pt x="936803" y="329111"/>
                    <a:pt x="946328" y="324348"/>
                  </a:cubicBezTo>
                  <a:lnTo>
                    <a:pt x="973409" y="303804"/>
                  </a:lnTo>
                  <a:lnTo>
                    <a:pt x="975260" y="292796"/>
                  </a:lnTo>
                  <a:cubicBezTo>
                    <a:pt x="974903" y="288629"/>
                    <a:pt x="972522" y="284819"/>
                    <a:pt x="965378" y="281485"/>
                  </a:cubicBezTo>
                  <a:cubicBezTo>
                    <a:pt x="944423" y="270055"/>
                    <a:pt x="942518" y="249100"/>
                    <a:pt x="962521" y="233860"/>
                  </a:cubicBezTo>
                  <a:cubicBezTo>
                    <a:pt x="977761" y="221478"/>
                    <a:pt x="993953" y="208143"/>
                    <a:pt x="1013956" y="203380"/>
                  </a:cubicBezTo>
                  <a:cubicBezTo>
                    <a:pt x="1018718" y="201475"/>
                    <a:pt x="1023481" y="200046"/>
                    <a:pt x="1028243" y="200165"/>
                  </a:cubicBezTo>
                  <a:cubicBezTo>
                    <a:pt x="1033006" y="200284"/>
                    <a:pt x="1037768" y="201951"/>
                    <a:pt x="1042531" y="206238"/>
                  </a:cubicBezTo>
                  <a:cubicBezTo>
                    <a:pt x="1037768" y="220525"/>
                    <a:pt x="1018718" y="221478"/>
                    <a:pt x="1016813" y="234813"/>
                  </a:cubicBezTo>
                  <a:cubicBezTo>
                    <a:pt x="1029196" y="212905"/>
                    <a:pt x="1052056" y="208143"/>
                    <a:pt x="1075868" y="204333"/>
                  </a:cubicBezTo>
                  <a:cubicBezTo>
                    <a:pt x="1082536" y="204333"/>
                    <a:pt x="1089203" y="204333"/>
                    <a:pt x="1095871" y="204333"/>
                  </a:cubicBezTo>
                  <a:cubicBezTo>
                    <a:pt x="1106348" y="211953"/>
                    <a:pt x="1099681" y="223383"/>
                    <a:pt x="1099681" y="232908"/>
                  </a:cubicBezTo>
                  <a:cubicBezTo>
                    <a:pt x="1112063" y="235765"/>
                    <a:pt x="1123493" y="229098"/>
                    <a:pt x="1133971" y="231003"/>
                  </a:cubicBezTo>
                  <a:cubicBezTo>
                    <a:pt x="1140638" y="231003"/>
                    <a:pt x="1146353" y="233860"/>
                    <a:pt x="1151116" y="238623"/>
                  </a:cubicBezTo>
                  <a:cubicBezTo>
                    <a:pt x="1162546" y="262435"/>
                    <a:pt x="1192073" y="265293"/>
                    <a:pt x="1205408" y="287200"/>
                  </a:cubicBezTo>
                  <a:cubicBezTo>
                    <a:pt x="1219696" y="305298"/>
                    <a:pt x="1210171" y="320538"/>
                    <a:pt x="1198741" y="334825"/>
                  </a:cubicBezTo>
                  <a:cubicBezTo>
                    <a:pt x="1205408" y="359590"/>
                    <a:pt x="1234936" y="358638"/>
                    <a:pt x="1248271" y="377688"/>
                  </a:cubicBezTo>
                  <a:cubicBezTo>
                    <a:pt x="1257796" y="391023"/>
                    <a:pt x="1257796" y="393880"/>
                    <a:pt x="1246366" y="402453"/>
                  </a:cubicBezTo>
                  <a:cubicBezTo>
                    <a:pt x="1226363" y="415788"/>
                    <a:pt x="1207313" y="445315"/>
                    <a:pt x="1187311" y="402453"/>
                  </a:cubicBezTo>
                  <a:cubicBezTo>
                    <a:pt x="1184453" y="396738"/>
                    <a:pt x="1176833" y="390070"/>
                    <a:pt x="1171118" y="396738"/>
                  </a:cubicBezTo>
                  <a:cubicBezTo>
                    <a:pt x="1161593" y="407215"/>
                    <a:pt x="1163498" y="418645"/>
                    <a:pt x="1171118" y="431028"/>
                  </a:cubicBezTo>
                  <a:cubicBezTo>
                    <a:pt x="1186358" y="457698"/>
                    <a:pt x="1180643" y="471033"/>
                    <a:pt x="1151116" y="479605"/>
                  </a:cubicBezTo>
                  <a:cubicBezTo>
                    <a:pt x="1147306" y="475795"/>
                    <a:pt x="1141591" y="474843"/>
                    <a:pt x="1136828" y="476748"/>
                  </a:cubicBezTo>
                  <a:cubicBezTo>
                    <a:pt x="1132066" y="478653"/>
                    <a:pt x="1134923" y="483415"/>
                    <a:pt x="1136828" y="487225"/>
                  </a:cubicBezTo>
                  <a:cubicBezTo>
                    <a:pt x="1135876" y="500560"/>
                    <a:pt x="1128256" y="503418"/>
                    <a:pt x="1118731" y="497703"/>
                  </a:cubicBezTo>
                  <a:cubicBezTo>
                    <a:pt x="1098728" y="487225"/>
                    <a:pt x="1074916" y="482463"/>
                    <a:pt x="1066343" y="455793"/>
                  </a:cubicBezTo>
                  <a:cubicBezTo>
                    <a:pt x="1058723" y="432933"/>
                    <a:pt x="1039673" y="427218"/>
                    <a:pt x="1016813" y="433885"/>
                  </a:cubicBezTo>
                  <a:cubicBezTo>
                    <a:pt x="1008241" y="436743"/>
                    <a:pt x="999668" y="438648"/>
                    <a:pt x="996811" y="428170"/>
                  </a:cubicBezTo>
                  <a:cubicBezTo>
                    <a:pt x="993001" y="415788"/>
                    <a:pt x="1007288" y="411025"/>
                    <a:pt x="1013003" y="411978"/>
                  </a:cubicBezTo>
                  <a:cubicBezTo>
                    <a:pt x="1055866" y="420550"/>
                    <a:pt x="1078726" y="386260"/>
                    <a:pt x="1109206" y="369115"/>
                  </a:cubicBezTo>
                  <a:cubicBezTo>
                    <a:pt x="1117778" y="343398"/>
                    <a:pt x="1089203" y="330063"/>
                    <a:pt x="1089203" y="307203"/>
                  </a:cubicBezTo>
                  <a:cubicBezTo>
                    <a:pt x="1085393" y="301488"/>
                    <a:pt x="1081583" y="296725"/>
                    <a:pt x="1077773" y="291010"/>
                  </a:cubicBezTo>
                  <a:cubicBezTo>
                    <a:pt x="1057771" y="307203"/>
                    <a:pt x="1036816" y="290058"/>
                    <a:pt x="1016813" y="292915"/>
                  </a:cubicBezTo>
                  <a:cubicBezTo>
                    <a:pt x="1012050" y="293391"/>
                    <a:pt x="1008717" y="294106"/>
                    <a:pt x="1007169" y="296011"/>
                  </a:cubicBezTo>
                  <a:lnTo>
                    <a:pt x="1007866" y="302667"/>
                  </a:lnTo>
                  <a:lnTo>
                    <a:pt x="1009193" y="303393"/>
                  </a:lnTo>
                  <a:cubicBezTo>
                    <a:pt x="1013003" y="324348"/>
                    <a:pt x="986333" y="363401"/>
                    <a:pt x="962521" y="370068"/>
                  </a:cubicBezTo>
                  <a:cubicBezTo>
                    <a:pt x="943471" y="375783"/>
                    <a:pt x="924421" y="377688"/>
                    <a:pt x="905371" y="371973"/>
                  </a:cubicBezTo>
                  <a:cubicBezTo>
                    <a:pt x="896798" y="389118"/>
                    <a:pt x="879653" y="396738"/>
                    <a:pt x="868223" y="410073"/>
                  </a:cubicBezTo>
                  <a:cubicBezTo>
                    <a:pt x="859651" y="419598"/>
                    <a:pt x="849173" y="424361"/>
                    <a:pt x="836791" y="426266"/>
                  </a:cubicBezTo>
                  <a:cubicBezTo>
                    <a:pt x="830123" y="425313"/>
                    <a:pt x="820598" y="421503"/>
                    <a:pt x="816788" y="424361"/>
                  </a:cubicBezTo>
                  <a:cubicBezTo>
                    <a:pt x="772973" y="455793"/>
                    <a:pt x="714871" y="464366"/>
                    <a:pt x="677723" y="507228"/>
                  </a:cubicBezTo>
                  <a:cubicBezTo>
                    <a:pt x="667246" y="519611"/>
                    <a:pt x="646291" y="531993"/>
                    <a:pt x="668198" y="553901"/>
                  </a:cubicBezTo>
                  <a:cubicBezTo>
                    <a:pt x="672961" y="558663"/>
                    <a:pt x="665341" y="574856"/>
                    <a:pt x="662483" y="586286"/>
                  </a:cubicBezTo>
                  <a:cubicBezTo>
                    <a:pt x="685343" y="585333"/>
                    <a:pt x="702488" y="596763"/>
                    <a:pt x="716776" y="612956"/>
                  </a:cubicBezTo>
                  <a:cubicBezTo>
                    <a:pt x="731063" y="630101"/>
                    <a:pt x="747256" y="644388"/>
                    <a:pt x="771068" y="645341"/>
                  </a:cubicBezTo>
                  <a:cubicBezTo>
                    <a:pt x="789166" y="646293"/>
                    <a:pt x="788213" y="653913"/>
                    <a:pt x="782498" y="667248"/>
                  </a:cubicBezTo>
                  <a:cubicBezTo>
                    <a:pt x="774878" y="685346"/>
                    <a:pt x="766306" y="702491"/>
                    <a:pt x="772973" y="726303"/>
                  </a:cubicBezTo>
                  <a:cubicBezTo>
                    <a:pt x="779641" y="752973"/>
                    <a:pt x="789166" y="747258"/>
                    <a:pt x="805358" y="736781"/>
                  </a:cubicBezTo>
                  <a:cubicBezTo>
                    <a:pt x="823456" y="725351"/>
                    <a:pt x="826313" y="706301"/>
                    <a:pt x="828218" y="689156"/>
                  </a:cubicBezTo>
                  <a:cubicBezTo>
                    <a:pt x="831076" y="669153"/>
                    <a:pt x="841553" y="660581"/>
                    <a:pt x="858698" y="652961"/>
                  </a:cubicBezTo>
                  <a:cubicBezTo>
                    <a:pt x="901561" y="638673"/>
                    <a:pt x="911086" y="619623"/>
                    <a:pt x="901561" y="573903"/>
                  </a:cubicBezTo>
                  <a:cubicBezTo>
                    <a:pt x="900608" y="569141"/>
                    <a:pt x="899656" y="563426"/>
                    <a:pt x="904418" y="561521"/>
                  </a:cubicBezTo>
                  <a:cubicBezTo>
                    <a:pt x="937756" y="550091"/>
                    <a:pt x="937756" y="514848"/>
                    <a:pt x="953948" y="491988"/>
                  </a:cubicBezTo>
                  <a:cubicBezTo>
                    <a:pt x="957758" y="486273"/>
                    <a:pt x="961568" y="480558"/>
                    <a:pt x="968236" y="478653"/>
                  </a:cubicBezTo>
                  <a:cubicBezTo>
                    <a:pt x="991096" y="471986"/>
                    <a:pt x="1037768" y="491036"/>
                    <a:pt x="1049198" y="512943"/>
                  </a:cubicBezTo>
                  <a:cubicBezTo>
                    <a:pt x="1061581" y="517706"/>
                    <a:pt x="1074916" y="522468"/>
                    <a:pt x="1063486" y="539613"/>
                  </a:cubicBezTo>
                  <a:cubicBezTo>
                    <a:pt x="1048246" y="555806"/>
                    <a:pt x="1052056" y="572951"/>
                    <a:pt x="1067296" y="583428"/>
                  </a:cubicBezTo>
                  <a:cubicBezTo>
                    <a:pt x="1084441" y="593906"/>
                    <a:pt x="1099681" y="578666"/>
                    <a:pt x="1112063" y="568188"/>
                  </a:cubicBezTo>
                  <a:cubicBezTo>
                    <a:pt x="1139686" y="545328"/>
                    <a:pt x="1138733" y="544376"/>
                    <a:pt x="1146353" y="580571"/>
                  </a:cubicBezTo>
                  <a:cubicBezTo>
                    <a:pt x="1149211" y="592953"/>
                    <a:pt x="1154926" y="606288"/>
                    <a:pt x="1151116" y="616766"/>
                  </a:cubicBezTo>
                  <a:cubicBezTo>
                    <a:pt x="1138733" y="656771"/>
                    <a:pt x="1163498" y="672011"/>
                    <a:pt x="1193026" y="684393"/>
                  </a:cubicBezTo>
                  <a:cubicBezTo>
                    <a:pt x="1193026" y="693918"/>
                    <a:pt x="1188501" y="696537"/>
                    <a:pt x="1182905" y="697847"/>
                  </a:cubicBezTo>
                  <a:lnTo>
                    <a:pt x="1179024" y="699159"/>
                  </a:lnTo>
                  <a:lnTo>
                    <a:pt x="1177845" y="699023"/>
                  </a:lnTo>
                  <a:cubicBezTo>
                    <a:pt x="1174214" y="699455"/>
                    <a:pt x="1170404" y="700824"/>
                    <a:pt x="1166356" y="703443"/>
                  </a:cubicBezTo>
                  <a:lnTo>
                    <a:pt x="1179024" y="699159"/>
                  </a:lnTo>
                  <a:lnTo>
                    <a:pt x="1188263" y="700229"/>
                  </a:lnTo>
                  <a:cubicBezTo>
                    <a:pt x="1194931" y="702491"/>
                    <a:pt x="1201122" y="707253"/>
                    <a:pt x="1207313" y="712016"/>
                  </a:cubicBezTo>
                  <a:cubicBezTo>
                    <a:pt x="1210647" y="727732"/>
                    <a:pt x="1209694" y="741781"/>
                    <a:pt x="1205051" y="754402"/>
                  </a:cubicBezTo>
                  <a:lnTo>
                    <a:pt x="1180854" y="787924"/>
                  </a:lnTo>
                  <a:lnTo>
                    <a:pt x="1187073" y="807504"/>
                  </a:lnTo>
                  <a:cubicBezTo>
                    <a:pt x="1190883" y="812504"/>
                    <a:pt x="1196836" y="815362"/>
                    <a:pt x="1206361" y="814886"/>
                  </a:cubicBezTo>
                  <a:cubicBezTo>
                    <a:pt x="1214934" y="814886"/>
                    <a:pt x="1223506" y="816791"/>
                    <a:pt x="1213981" y="828221"/>
                  </a:cubicBezTo>
                  <a:cubicBezTo>
                    <a:pt x="1208266" y="850128"/>
                    <a:pt x="1205409" y="874893"/>
                    <a:pt x="1172071" y="862511"/>
                  </a:cubicBezTo>
                  <a:cubicBezTo>
                    <a:pt x="1153021" y="859653"/>
                    <a:pt x="1123494" y="872036"/>
                    <a:pt x="1115874" y="854891"/>
                  </a:cubicBezTo>
                  <a:cubicBezTo>
                    <a:pt x="1109206" y="839651"/>
                    <a:pt x="1133971" y="821553"/>
                    <a:pt x="1148259" y="807266"/>
                  </a:cubicBezTo>
                  <a:cubicBezTo>
                    <a:pt x="1157784" y="799646"/>
                    <a:pt x="1159689" y="785358"/>
                    <a:pt x="1173024" y="780596"/>
                  </a:cubicBezTo>
                  <a:lnTo>
                    <a:pt x="1173125" y="780684"/>
                  </a:lnTo>
                  <a:lnTo>
                    <a:pt x="1174333" y="770475"/>
                  </a:lnTo>
                  <a:cubicBezTo>
                    <a:pt x="1173023" y="767975"/>
                    <a:pt x="1169689" y="766784"/>
                    <a:pt x="1163498" y="767261"/>
                  </a:cubicBezTo>
                  <a:cubicBezTo>
                    <a:pt x="1147306" y="769166"/>
                    <a:pt x="1137781" y="780596"/>
                    <a:pt x="1124446" y="787263"/>
                  </a:cubicBezTo>
                  <a:cubicBezTo>
                    <a:pt x="1097776" y="793931"/>
                    <a:pt x="1070153" y="791073"/>
                    <a:pt x="1043483" y="789168"/>
                  </a:cubicBezTo>
                  <a:cubicBezTo>
                    <a:pt x="1026338" y="788216"/>
                    <a:pt x="1010146" y="786311"/>
                    <a:pt x="993953" y="794883"/>
                  </a:cubicBezTo>
                  <a:cubicBezTo>
                    <a:pt x="987286" y="810123"/>
                    <a:pt x="971093" y="808218"/>
                    <a:pt x="959663" y="814886"/>
                  </a:cubicBezTo>
                  <a:cubicBezTo>
                    <a:pt x="951091" y="825363"/>
                    <a:pt x="939661" y="831078"/>
                    <a:pt x="929183" y="839651"/>
                  </a:cubicBezTo>
                  <a:lnTo>
                    <a:pt x="925100" y="843462"/>
                  </a:lnTo>
                  <a:lnTo>
                    <a:pt x="915848" y="851081"/>
                  </a:lnTo>
                  <a:cubicBezTo>
                    <a:pt x="915848" y="851081"/>
                    <a:pt x="912991" y="851081"/>
                    <a:pt x="912991" y="851081"/>
                  </a:cubicBezTo>
                  <a:cubicBezTo>
                    <a:pt x="912991" y="851081"/>
                    <a:pt x="914896" y="852986"/>
                    <a:pt x="914896" y="852986"/>
                  </a:cubicBezTo>
                  <a:lnTo>
                    <a:pt x="925100" y="843462"/>
                  </a:lnTo>
                  <a:lnTo>
                    <a:pt x="932041" y="837746"/>
                  </a:lnTo>
                  <a:cubicBezTo>
                    <a:pt x="942518" y="824411"/>
                    <a:pt x="959663" y="826316"/>
                    <a:pt x="972998" y="820601"/>
                  </a:cubicBezTo>
                  <a:cubicBezTo>
                    <a:pt x="979666" y="818696"/>
                    <a:pt x="986333" y="814886"/>
                    <a:pt x="992048" y="814886"/>
                  </a:cubicBezTo>
                  <a:cubicBezTo>
                    <a:pt x="1003478" y="813933"/>
                    <a:pt x="1017766" y="809171"/>
                    <a:pt x="1023481" y="819648"/>
                  </a:cubicBezTo>
                  <a:cubicBezTo>
                    <a:pt x="1032053" y="834888"/>
                    <a:pt x="1013003" y="835841"/>
                    <a:pt x="1005383" y="842508"/>
                  </a:cubicBezTo>
                  <a:cubicBezTo>
                    <a:pt x="1003478" y="844413"/>
                    <a:pt x="1005383" y="851081"/>
                    <a:pt x="1006336" y="854891"/>
                  </a:cubicBezTo>
                  <a:cubicBezTo>
                    <a:pt x="997763" y="866321"/>
                    <a:pt x="1011098" y="877751"/>
                    <a:pt x="1005383" y="889181"/>
                  </a:cubicBezTo>
                  <a:cubicBezTo>
                    <a:pt x="1001573" y="899658"/>
                    <a:pt x="992048" y="903468"/>
                    <a:pt x="984428" y="910136"/>
                  </a:cubicBezTo>
                  <a:cubicBezTo>
                    <a:pt x="974903" y="918708"/>
                    <a:pt x="961568" y="909183"/>
                    <a:pt x="952043" y="916803"/>
                  </a:cubicBezTo>
                  <a:cubicBezTo>
                    <a:pt x="937756" y="931091"/>
                    <a:pt x="916801" y="932043"/>
                    <a:pt x="899656" y="938711"/>
                  </a:cubicBezTo>
                  <a:cubicBezTo>
                    <a:pt x="876796" y="947283"/>
                    <a:pt x="858698" y="959666"/>
                    <a:pt x="855841" y="985383"/>
                  </a:cubicBezTo>
                  <a:cubicBezTo>
                    <a:pt x="853936" y="1001576"/>
                    <a:pt x="839648" y="1003481"/>
                    <a:pt x="831076" y="1003481"/>
                  </a:cubicBezTo>
                  <a:cubicBezTo>
                    <a:pt x="779641" y="1006338"/>
                    <a:pt x="763448" y="1048248"/>
                    <a:pt x="738683" y="1081586"/>
                  </a:cubicBezTo>
                  <a:cubicBezTo>
                    <a:pt x="708203" y="1076823"/>
                    <a:pt x="712013" y="1097778"/>
                    <a:pt x="711061" y="1115876"/>
                  </a:cubicBezTo>
                  <a:cubicBezTo>
                    <a:pt x="707251" y="1144451"/>
                    <a:pt x="692011" y="1163501"/>
                    <a:pt x="666293" y="1175883"/>
                  </a:cubicBezTo>
                  <a:cubicBezTo>
                    <a:pt x="636766" y="1191123"/>
                    <a:pt x="610096" y="1209221"/>
                    <a:pt x="585331" y="1230176"/>
                  </a:cubicBezTo>
                  <a:cubicBezTo>
                    <a:pt x="565328" y="1247320"/>
                    <a:pt x="557708" y="1270181"/>
                    <a:pt x="559613" y="1297803"/>
                  </a:cubicBezTo>
                  <a:cubicBezTo>
                    <a:pt x="561518" y="1327331"/>
                    <a:pt x="564376" y="1356858"/>
                    <a:pt x="557708" y="1386386"/>
                  </a:cubicBezTo>
                  <a:cubicBezTo>
                    <a:pt x="555803" y="1394958"/>
                    <a:pt x="551993" y="1406388"/>
                    <a:pt x="542468" y="1407341"/>
                  </a:cubicBezTo>
                  <a:cubicBezTo>
                    <a:pt x="530086" y="1409246"/>
                    <a:pt x="531038" y="1394958"/>
                    <a:pt x="528181" y="1387338"/>
                  </a:cubicBezTo>
                  <a:cubicBezTo>
                    <a:pt x="522466" y="1365431"/>
                    <a:pt x="516751" y="1344476"/>
                    <a:pt x="519608" y="1320663"/>
                  </a:cubicBezTo>
                  <a:cubicBezTo>
                    <a:pt x="521513" y="1300661"/>
                    <a:pt x="522466" y="1280658"/>
                    <a:pt x="488176" y="1283516"/>
                  </a:cubicBezTo>
                  <a:cubicBezTo>
                    <a:pt x="470078" y="1285421"/>
                    <a:pt x="452933" y="1262561"/>
                    <a:pt x="429121" y="1267323"/>
                  </a:cubicBezTo>
                  <a:cubicBezTo>
                    <a:pt x="422453" y="1268276"/>
                    <a:pt x="411023" y="1265418"/>
                    <a:pt x="409118" y="1268276"/>
                  </a:cubicBezTo>
                  <a:cubicBezTo>
                    <a:pt x="391973" y="1307328"/>
                    <a:pt x="364351" y="1288278"/>
                    <a:pt x="336728" y="1284468"/>
                  </a:cubicBezTo>
                  <a:cubicBezTo>
                    <a:pt x="279578" y="1275896"/>
                    <a:pt x="228143" y="1315901"/>
                    <a:pt x="215761" y="1373051"/>
                  </a:cubicBezTo>
                  <a:cubicBezTo>
                    <a:pt x="210998" y="1396863"/>
                    <a:pt x="193853" y="1415913"/>
                    <a:pt x="189091" y="1441631"/>
                  </a:cubicBezTo>
                  <a:cubicBezTo>
                    <a:pt x="182423" y="1476873"/>
                    <a:pt x="183376" y="1511163"/>
                    <a:pt x="196711" y="1544501"/>
                  </a:cubicBezTo>
                  <a:cubicBezTo>
                    <a:pt x="204331" y="1564503"/>
                    <a:pt x="219571" y="1574028"/>
                    <a:pt x="244336" y="1573076"/>
                  </a:cubicBezTo>
                  <a:cubicBezTo>
                    <a:pt x="284341" y="1571171"/>
                    <a:pt x="310058" y="1555931"/>
                    <a:pt x="320536" y="1514973"/>
                  </a:cubicBezTo>
                  <a:cubicBezTo>
                    <a:pt x="324346" y="1500686"/>
                    <a:pt x="374828" y="1487351"/>
                    <a:pt x="387211" y="1494971"/>
                  </a:cubicBezTo>
                  <a:cubicBezTo>
                    <a:pt x="396736" y="1500686"/>
                    <a:pt x="392926" y="1507353"/>
                    <a:pt x="389116" y="1515926"/>
                  </a:cubicBezTo>
                  <a:cubicBezTo>
                    <a:pt x="372923" y="1552121"/>
                    <a:pt x="358636" y="1589268"/>
                    <a:pt x="340538" y="1624511"/>
                  </a:cubicBezTo>
                  <a:cubicBezTo>
                    <a:pt x="329108" y="1646418"/>
                    <a:pt x="340538" y="1644513"/>
                    <a:pt x="354826" y="1644513"/>
                  </a:cubicBezTo>
                  <a:cubicBezTo>
                    <a:pt x="372923" y="1644513"/>
                    <a:pt x="391973" y="1642608"/>
                    <a:pt x="410071" y="1645466"/>
                  </a:cubicBezTo>
                  <a:cubicBezTo>
                    <a:pt x="432931" y="1649276"/>
                    <a:pt x="449123" y="1658801"/>
                    <a:pt x="439598" y="1687376"/>
                  </a:cubicBezTo>
                  <a:cubicBezTo>
                    <a:pt x="433883" y="1705473"/>
                    <a:pt x="432931" y="1725476"/>
                    <a:pt x="426263" y="1743573"/>
                  </a:cubicBezTo>
                  <a:cubicBezTo>
                    <a:pt x="414833" y="1774053"/>
                    <a:pt x="432931" y="1793103"/>
                    <a:pt x="450076" y="1813106"/>
                  </a:cubicBezTo>
                  <a:cubicBezTo>
                    <a:pt x="466268" y="1832156"/>
                    <a:pt x="483413" y="1819773"/>
                    <a:pt x="499606" y="1812153"/>
                  </a:cubicBezTo>
                  <a:cubicBezTo>
                    <a:pt x="512941" y="1806438"/>
                    <a:pt x="528181" y="1806438"/>
                    <a:pt x="536753" y="1818821"/>
                  </a:cubicBezTo>
                  <a:cubicBezTo>
                    <a:pt x="554851" y="1843586"/>
                    <a:pt x="571996" y="1829298"/>
                    <a:pt x="577711" y="1813106"/>
                  </a:cubicBezTo>
                  <a:cubicBezTo>
                    <a:pt x="591998" y="1771196"/>
                    <a:pt x="630098" y="1768338"/>
                    <a:pt x="661531" y="1754051"/>
                  </a:cubicBezTo>
                  <a:cubicBezTo>
                    <a:pt x="671056" y="1754051"/>
                    <a:pt x="673913" y="1755956"/>
                    <a:pt x="672008" y="1763576"/>
                  </a:cubicBezTo>
                  <a:cubicBezTo>
                    <a:pt x="676771" y="1783578"/>
                    <a:pt x="689153" y="1777863"/>
                    <a:pt x="695821" y="1768338"/>
                  </a:cubicBezTo>
                  <a:cubicBezTo>
                    <a:pt x="713918" y="1745478"/>
                    <a:pt x="729158" y="1761671"/>
                    <a:pt x="741541" y="1772148"/>
                  </a:cubicBezTo>
                  <a:cubicBezTo>
                    <a:pt x="769163" y="1795008"/>
                    <a:pt x="799643" y="1798818"/>
                    <a:pt x="832028" y="1788341"/>
                  </a:cubicBezTo>
                  <a:cubicBezTo>
                    <a:pt x="845363" y="1783578"/>
                    <a:pt x="854888" y="1779768"/>
                    <a:pt x="865366" y="1796913"/>
                  </a:cubicBezTo>
                  <a:cubicBezTo>
                    <a:pt x="875843" y="1814058"/>
                    <a:pt x="896798" y="1823583"/>
                    <a:pt x="910133" y="1838823"/>
                  </a:cubicBezTo>
                  <a:cubicBezTo>
                    <a:pt x="947281" y="1881686"/>
                    <a:pt x="990143" y="1906451"/>
                    <a:pt x="1047293" y="1918833"/>
                  </a:cubicBezTo>
                  <a:cubicBezTo>
                    <a:pt x="1093966" y="1928358"/>
                    <a:pt x="1124446" y="1995986"/>
                    <a:pt x="1116826" y="2036943"/>
                  </a:cubicBezTo>
                  <a:cubicBezTo>
                    <a:pt x="1113968" y="2044563"/>
                    <a:pt x="1111111" y="2051231"/>
                    <a:pt x="1106348" y="2056946"/>
                  </a:cubicBezTo>
                  <a:cubicBezTo>
                    <a:pt x="1092061" y="2071233"/>
                    <a:pt x="1112063" y="2086473"/>
                    <a:pt x="1104443" y="2099808"/>
                  </a:cubicBezTo>
                  <a:cubicBezTo>
                    <a:pt x="1110158" y="2107428"/>
                    <a:pt x="1117778" y="2102666"/>
                    <a:pt x="1124446" y="2102666"/>
                  </a:cubicBezTo>
                  <a:cubicBezTo>
                    <a:pt x="1147306" y="2095046"/>
                    <a:pt x="1161593" y="2062661"/>
                    <a:pt x="1193026" y="2077901"/>
                  </a:cubicBezTo>
                  <a:cubicBezTo>
                    <a:pt x="1225411" y="2087426"/>
                    <a:pt x="1244461" y="2125526"/>
                    <a:pt x="1280656" y="2123621"/>
                  </a:cubicBezTo>
                  <a:cubicBezTo>
                    <a:pt x="1325423" y="2121716"/>
                    <a:pt x="1360666" y="2136956"/>
                    <a:pt x="1387336" y="2172198"/>
                  </a:cubicBezTo>
                  <a:cubicBezTo>
                    <a:pt x="1398766" y="2187438"/>
                    <a:pt x="1427341" y="2172198"/>
                    <a:pt x="1434008" y="2199821"/>
                  </a:cubicBezTo>
                  <a:cubicBezTo>
                    <a:pt x="1440676" y="2228396"/>
                    <a:pt x="1444486" y="2256018"/>
                    <a:pt x="1430198" y="2282688"/>
                  </a:cubicBezTo>
                  <a:cubicBezTo>
                    <a:pt x="1413053" y="2315073"/>
                    <a:pt x="1388288" y="2341743"/>
                    <a:pt x="1370191" y="2373176"/>
                  </a:cubicBezTo>
                  <a:cubicBezTo>
                    <a:pt x="1359713" y="2391273"/>
                    <a:pt x="1356856" y="2406513"/>
                    <a:pt x="1358761" y="2423658"/>
                  </a:cubicBezTo>
                  <a:cubicBezTo>
                    <a:pt x="1366381" y="2486523"/>
                    <a:pt x="1352093" y="2544626"/>
                    <a:pt x="1327328" y="2600823"/>
                  </a:cubicBezTo>
                  <a:cubicBezTo>
                    <a:pt x="1321613" y="2612253"/>
                    <a:pt x="1313041" y="2629398"/>
                    <a:pt x="1293991" y="2626541"/>
                  </a:cubicBezTo>
                  <a:cubicBezTo>
                    <a:pt x="1261606" y="2622731"/>
                    <a:pt x="1241603" y="2647496"/>
                    <a:pt x="1218743" y="2661783"/>
                  </a:cubicBezTo>
                  <a:cubicBezTo>
                    <a:pt x="1203503" y="2671308"/>
                    <a:pt x="1187311" y="2690358"/>
                    <a:pt x="1193026" y="2710361"/>
                  </a:cubicBezTo>
                  <a:cubicBezTo>
                    <a:pt x="1205408" y="2757033"/>
                    <a:pt x="1178738" y="2793228"/>
                    <a:pt x="1164451" y="2832281"/>
                  </a:cubicBezTo>
                  <a:cubicBezTo>
                    <a:pt x="1154926" y="2859903"/>
                    <a:pt x="1136828" y="2884668"/>
                    <a:pt x="1122541" y="2910386"/>
                  </a:cubicBezTo>
                  <a:cubicBezTo>
                    <a:pt x="1116826" y="2920863"/>
                    <a:pt x="1109206" y="2929436"/>
                    <a:pt x="1095871" y="2929436"/>
                  </a:cubicBezTo>
                  <a:cubicBezTo>
                    <a:pt x="1085393" y="2920863"/>
                    <a:pt x="1072058" y="2930388"/>
                    <a:pt x="1061581" y="2922768"/>
                  </a:cubicBezTo>
                  <a:cubicBezTo>
                    <a:pt x="1053961" y="2919911"/>
                    <a:pt x="1044436" y="2911338"/>
                    <a:pt x="1047293" y="2929436"/>
                  </a:cubicBezTo>
                  <a:cubicBezTo>
                    <a:pt x="1052056" y="2938961"/>
                    <a:pt x="1062533" y="2944676"/>
                    <a:pt x="1061581" y="2956106"/>
                  </a:cubicBezTo>
                  <a:cubicBezTo>
                    <a:pt x="1055866" y="2964678"/>
                    <a:pt x="1048246" y="2962773"/>
                    <a:pt x="1040626" y="2959916"/>
                  </a:cubicBezTo>
                  <a:cubicBezTo>
                    <a:pt x="952043" y="2929436"/>
                    <a:pt x="865366" y="2895146"/>
                    <a:pt x="783451" y="2850378"/>
                  </a:cubicBezTo>
                  <a:cubicBezTo>
                    <a:pt x="762496" y="2838948"/>
                    <a:pt x="762496" y="2820851"/>
                    <a:pt x="752971" y="2805611"/>
                  </a:cubicBezTo>
                  <a:cubicBezTo>
                    <a:pt x="730111" y="2799896"/>
                    <a:pt x="738683" y="2779893"/>
                    <a:pt x="737731" y="2765606"/>
                  </a:cubicBezTo>
                  <a:cubicBezTo>
                    <a:pt x="736778" y="2697978"/>
                    <a:pt x="732968" y="2631303"/>
                    <a:pt x="721538" y="2564628"/>
                  </a:cubicBezTo>
                  <a:cubicBezTo>
                    <a:pt x="715823" y="2532243"/>
                    <a:pt x="700583" y="2503668"/>
                    <a:pt x="670103" y="2492238"/>
                  </a:cubicBezTo>
                  <a:cubicBezTo>
                    <a:pt x="596761" y="2464616"/>
                    <a:pt x="568186" y="2400798"/>
                    <a:pt x="539611" y="2337933"/>
                  </a:cubicBezTo>
                  <a:cubicBezTo>
                    <a:pt x="520561" y="2296976"/>
                    <a:pt x="502463" y="2256971"/>
                    <a:pt x="473888" y="2221728"/>
                  </a:cubicBezTo>
                  <a:cubicBezTo>
                    <a:pt x="456743" y="2200773"/>
                    <a:pt x="450076" y="2174103"/>
                    <a:pt x="468173" y="2148386"/>
                  </a:cubicBezTo>
                  <a:cubicBezTo>
                    <a:pt x="473888" y="2140766"/>
                    <a:pt x="477698" y="2133146"/>
                    <a:pt x="471983" y="2122668"/>
                  </a:cubicBezTo>
                  <a:cubicBezTo>
                    <a:pt x="452933" y="2083616"/>
                    <a:pt x="471983" y="2052183"/>
                    <a:pt x="493891" y="2021703"/>
                  </a:cubicBezTo>
                  <a:cubicBezTo>
                    <a:pt x="518656" y="1987413"/>
                    <a:pt x="546278" y="1955028"/>
                    <a:pt x="538658" y="1907403"/>
                  </a:cubicBezTo>
                  <a:cubicBezTo>
                    <a:pt x="535801" y="1889306"/>
                    <a:pt x="531991" y="1871208"/>
                    <a:pt x="524371" y="1854063"/>
                  </a:cubicBezTo>
                  <a:cubicBezTo>
                    <a:pt x="517703" y="1837871"/>
                    <a:pt x="507226" y="1834061"/>
                    <a:pt x="499606" y="1853111"/>
                  </a:cubicBezTo>
                  <a:cubicBezTo>
                    <a:pt x="489128" y="1876923"/>
                    <a:pt x="475793" y="1875018"/>
                    <a:pt x="459601" y="1860731"/>
                  </a:cubicBezTo>
                  <a:cubicBezTo>
                    <a:pt x="443408" y="1847396"/>
                    <a:pt x="425311" y="1838823"/>
                    <a:pt x="408166" y="1827393"/>
                  </a:cubicBezTo>
                  <a:cubicBezTo>
                    <a:pt x="375781" y="1806438"/>
                    <a:pt x="371971" y="1771196"/>
                    <a:pt x="354826" y="1742621"/>
                  </a:cubicBezTo>
                  <a:cubicBezTo>
                    <a:pt x="346253" y="1729286"/>
                    <a:pt x="337681" y="1720713"/>
                    <a:pt x="322441" y="1715951"/>
                  </a:cubicBezTo>
                  <a:cubicBezTo>
                    <a:pt x="289103" y="1705473"/>
                    <a:pt x="255766" y="1691186"/>
                    <a:pt x="234811" y="1658801"/>
                  </a:cubicBezTo>
                  <a:cubicBezTo>
                    <a:pt x="228143" y="1649276"/>
                    <a:pt x="218618" y="1639751"/>
                    <a:pt x="206236" y="1644513"/>
                  </a:cubicBezTo>
                  <a:cubicBezTo>
                    <a:pt x="170993" y="1656896"/>
                    <a:pt x="143371" y="1639751"/>
                    <a:pt x="116701" y="1622606"/>
                  </a:cubicBezTo>
                  <a:cubicBezTo>
                    <a:pt x="85268" y="1603556"/>
                    <a:pt x="54788" y="1583553"/>
                    <a:pt x="28118" y="1557836"/>
                  </a:cubicBezTo>
                  <a:cubicBezTo>
                    <a:pt x="11926" y="1541643"/>
                    <a:pt x="1448" y="1523546"/>
                    <a:pt x="12878" y="1499733"/>
                  </a:cubicBezTo>
                  <a:cubicBezTo>
                    <a:pt x="20498" y="1482588"/>
                    <a:pt x="16688" y="1463538"/>
                    <a:pt x="10021" y="1446393"/>
                  </a:cubicBezTo>
                  <a:cubicBezTo>
                    <a:pt x="6211" y="1434963"/>
                    <a:pt x="-1409" y="1423533"/>
                    <a:pt x="5258" y="1410198"/>
                  </a:cubicBezTo>
                  <a:cubicBezTo>
                    <a:pt x="-12839" y="1304471"/>
                    <a:pt x="19546" y="1205411"/>
                    <a:pt x="45263" y="1105398"/>
                  </a:cubicBezTo>
                  <a:cubicBezTo>
                    <a:pt x="94793" y="912993"/>
                    <a:pt x="185281" y="739638"/>
                    <a:pt x="304343" y="581523"/>
                  </a:cubicBezTo>
                  <a:cubicBezTo>
                    <a:pt x="374828" y="487226"/>
                    <a:pt x="458648" y="405311"/>
                    <a:pt x="548183" y="329111"/>
                  </a:cubicBezTo>
                  <a:cubicBezTo>
                    <a:pt x="568186" y="311966"/>
                    <a:pt x="591046" y="303393"/>
                    <a:pt x="617716" y="317681"/>
                  </a:cubicBezTo>
                  <a:cubicBezTo>
                    <a:pt x="628193" y="324348"/>
                    <a:pt x="628193" y="314823"/>
                    <a:pt x="631051" y="309108"/>
                  </a:cubicBezTo>
                  <a:cubicBezTo>
                    <a:pt x="652006" y="308156"/>
                    <a:pt x="669151" y="289106"/>
                    <a:pt x="692011" y="299583"/>
                  </a:cubicBezTo>
                  <a:cubicBezTo>
                    <a:pt x="712013" y="311966"/>
                    <a:pt x="732968" y="317681"/>
                    <a:pt x="756781" y="316728"/>
                  </a:cubicBezTo>
                  <a:cubicBezTo>
                    <a:pt x="764401" y="317681"/>
                    <a:pt x="772973" y="320538"/>
                    <a:pt x="780593" y="315776"/>
                  </a:cubicBezTo>
                  <a:cubicBezTo>
                    <a:pt x="786308" y="312918"/>
                    <a:pt x="792023" y="311966"/>
                    <a:pt x="797738" y="314823"/>
                  </a:cubicBezTo>
                  <a:cubicBezTo>
                    <a:pt x="808216" y="327206"/>
                    <a:pt x="819646" y="321491"/>
                    <a:pt x="831076" y="316728"/>
                  </a:cubicBezTo>
                  <a:cubicBezTo>
                    <a:pt x="837743" y="304346"/>
                    <a:pt x="858698" y="297678"/>
                    <a:pt x="841553" y="277676"/>
                  </a:cubicBezTo>
                  <a:cubicBezTo>
                    <a:pt x="834886" y="270056"/>
                    <a:pt x="846316" y="263388"/>
                    <a:pt x="852031" y="259578"/>
                  </a:cubicBezTo>
                  <a:cubicBezTo>
                    <a:pt x="857269" y="255768"/>
                    <a:pt x="862508" y="252434"/>
                    <a:pt x="867152" y="248624"/>
                  </a:cubicBezTo>
                  <a:lnTo>
                    <a:pt x="876026" y="238011"/>
                  </a:lnTo>
                  <a:lnTo>
                    <a:pt x="858921" y="241392"/>
                  </a:lnTo>
                  <a:cubicBezTo>
                    <a:pt x="840303" y="244874"/>
                    <a:pt x="823694" y="244338"/>
                    <a:pt x="821551" y="210048"/>
                  </a:cubicBezTo>
                  <a:cubicBezTo>
                    <a:pt x="833933" y="208143"/>
                    <a:pt x="848221" y="208143"/>
                    <a:pt x="857746" y="190998"/>
                  </a:cubicBezTo>
                  <a:cubicBezTo>
                    <a:pt x="861079" y="184807"/>
                    <a:pt x="867032" y="183378"/>
                    <a:pt x="873343" y="184331"/>
                  </a:cubicBezTo>
                  <a:close/>
                  <a:moveTo>
                    <a:pt x="798215" y="181949"/>
                  </a:moveTo>
                  <a:cubicBezTo>
                    <a:pt x="801310" y="182187"/>
                    <a:pt x="803930" y="183378"/>
                    <a:pt x="805359" y="187188"/>
                  </a:cubicBezTo>
                  <a:cubicBezTo>
                    <a:pt x="808216" y="194808"/>
                    <a:pt x="800596" y="194808"/>
                    <a:pt x="795834" y="196713"/>
                  </a:cubicBezTo>
                  <a:cubicBezTo>
                    <a:pt x="790119" y="193856"/>
                    <a:pt x="788214" y="189093"/>
                    <a:pt x="788214" y="182426"/>
                  </a:cubicBezTo>
                  <a:cubicBezTo>
                    <a:pt x="791547" y="182426"/>
                    <a:pt x="795119" y="181711"/>
                    <a:pt x="798215" y="181949"/>
                  </a:cubicBezTo>
                  <a:close/>
                  <a:moveTo>
                    <a:pt x="938708" y="121466"/>
                  </a:moveTo>
                  <a:cubicBezTo>
                    <a:pt x="943471" y="128133"/>
                    <a:pt x="953948" y="130038"/>
                    <a:pt x="952043" y="141468"/>
                  </a:cubicBezTo>
                  <a:lnTo>
                    <a:pt x="951037" y="142501"/>
                  </a:lnTo>
                  <a:lnTo>
                    <a:pt x="953949" y="140516"/>
                  </a:lnTo>
                  <a:cubicBezTo>
                    <a:pt x="952996" y="143373"/>
                    <a:pt x="952996" y="146231"/>
                    <a:pt x="952996" y="148136"/>
                  </a:cubicBezTo>
                  <a:cubicBezTo>
                    <a:pt x="952996" y="154803"/>
                    <a:pt x="952996" y="161471"/>
                    <a:pt x="952996" y="169091"/>
                  </a:cubicBezTo>
                  <a:cubicBezTo>
                    <a:pt x="949662" y="166709"/>
                    <a:pt x="947281" y="162899"/>
                    <a:pt x="944424" y="159804"/>
                  </a:cubicBezTo>
                  <a:lnTo>
                    <a:pt x="933131" y="154863"/>
                  </a:lnTo>
                  <a:lnTo>
                    <a:pt x="931088" y="155756"/>
                  </a:lnTo>
                  <a:cubicBezTo>
                    <a:pt x="931088" y="155756"/>
                    <a:pt x="930136" y="155756"/>
                    <a:pt x="930136" y="155756"/>
                  </a:cubicBezTo>
                  <a:cubicBezTo>
                    <a:pt x="925373" y="152898"/>
                    <a:pt x="906323" y="162423"/>
                    <a:pt x="918706" y="144326"/>
                  </a:cubicBezTo>
                  <a:cubicBezTo>
                    <a:pt x="923468" y="137658"/>
                    <a:pt x="931088" y="131943"/>
                    <a:pt x="931088" y="122418"/>
                  </a:cubicBezTo>
                  <a:cubicBezTo>
                    <a:pt x="934898" y="118608"/>
                    <a:pt x="936803" y="118608"/>
                    <a:pt x="938708" y="121466"/>
                  </a:cubicBezTo>
                  <a:close/>
                  <a:moveTo>
                    <a:pt x="925373" y="107178"/>
                  </a:moveTo>
                  <a:cubicBezTo>
                    <a:pt x="930136" y="111940"/>
                    <a:pt x="934898" y="116703"/>
                    <a:pt x="938708" y="121465"/>
                  </a:cubicBezTo>
                  <a:lnTo>
                    <a:pt x="935851" y="121465"/>
                  </a:lnTo>
                  <a:cubicBezTo>
                    <a:pt x="935851" y="121465"/>
                    <a:pt x="932993" y="121465"/>
                    <a:pt x="932993" y="121465"/>
                  </a:cubicBezTo>
                  <a:cubicBezTo>
                    <a:pt x="923468" y="125275"/>
                    <a:pt x="912991" y="131943"/>
                    <a:pt x="901561" y="123370"/>
                  </a:cubicBezTo>
                  <a:cubicBezTo>
                    <a:pt x="904418" y="109083"/>
                    <a:pt x="915848" y="109083"/>
                    <a:pt x="925373" y="107178"/>
                  </a:cubicBezTo>
                  <a:close/>
                  <a:moveTo>
                    <a:pt x="1021576" y="71936"/>
                  </a:moveTo>
                  <a:cubicBezTo>
                    <a:pt x="1037768" y="75746"/>
                    <a:pt x="1038721" y="87176"/>
                    <a:pt x="1031101" y="97653"/>
                  </a:cubicBezTo>
                  <a:cubicBezTo>
                    <a:pt x="1019671" y="115751"/>
                    <a:pt x="1011098" y="95748"/>
                    <a:pt x="1000621" y="92891"/>
                  </a:cubicBezTo>
                  <a:cubicBezTo>
                    <a:pt x="1002526" y="88128"/>
                    <a:pt x="1005383" y="83366"/>
                    <a:pt x="1007288" y="79556"/>
                  </a:cubicBezTo>
                  <a:cubicBezTo>
                    <a:pt x="1012051" y="76698"/>
                    <a:pt x="1016813" y="74793"/>
                    <a:pt x="1021576" y="71936"/>
                  </a:cubicBezTo>
                  <a:close/>
                  <a:moveTo>
                    <a:pt x="1113849" y="40265"/>
                  </a:moveTo>
                  <a:cubicBezTo>
                    <a:pt x="1128732" y="39074"/>
                    <a:pt x="1143972" y="42885"/>
                    <a:pt x="1159689" y="51933"/>
                  </a:cubicBezTo>
                  <a:cubicBezTo>
                    <a:pt x="1175881" y="68126"/>
                    <a:pt x="1166356" y="76698"/>
                    <a:pt x="1151116" y="84318"/>
                  </a:cubicBezTo>
                  <a:cubicBezTo>
                    <a:pt x="1137781" y="90986"/>
                    <a:pt x="1123494" y="86223"/>
                    <a:pt x="1111111" y="92891"/>
                  </a:cubicBezTo>
                  <a:cubicBezTo>
                    <a:pt x="1083489" y="98606"/>
                    <a:pt x="1067296" y="90033"/>
                    <a:pt x="1070153" y="58601"/>
                  </a:cubicBezTo>
                  <a:cubicBezTo>
                    <a:pt x="1084441" y="47647"/>
                    <a:pt x="1098967" y="41456"/>
                    <a:pt x="1113849" y="40265"/>
                  </a:cubicBezTo>
                  <a:close/>
                  <a:moveTo>
                    <a:pt x="1400760" y="96"/>
                  </a:moveTo>
                  <a:cubicBezTo>
                    <a:pt x="1426031" y="498"/>
                    <a:pt x="1451392" y="2164"/>
                    <a:pt x="1476871" y="5260"/>
                  </a:cubicBezTo>
                  <a:cubicBezTo>
                    <a:pt x="1521639" y="13833"/>
                    <a:pt x="1566406" y="14785"/>
                    <a:pt x="1611174" y="9070"/>
                  </a:cubicBezTo>
                  <a:cubicBezTo>
                    <a:pt x="1614984" y="7165"/>
                    <a:pt x="1619746" y="9070"/>
                    <a:pt x="1619746" y="17643"/>
                  </a:cubicBezTo>
                  <a:cubicBezTo>
                    <a:pt x="1631176" y="13833"/>
                    <a:pt x="1639748" y="20500"/>
                    <a:pt x="1646416" y="28120"/>
                  </a:cubicBezTo>
                  <a:cubicBezTo>
                    <a:pt x="1652131" y="36693"/>
                    <a:pt x="1659751" y="35740"/>
                    <a:pt x="1667371" y="31930"/>
                  </a:cubicBezTo>
                  <a:cubicBezTo>
                    <a:pt x="1693088" y="18119"/>
                    <a:pt x="1717377" y="11690"/>
                    <a:pt x="1742261" y="11690"/>
                  </a:cubicBezTo>
                  <a:cubicBezTo>
                    <a:pt x="1767145" y="11690"/>
                    <a:pt x="1792624" y="18119"/>
                    <a:pt x="1820723" y="30025"/>
                  </a:cubicBezTo>
                  <a:cubicBezTo>
                    <a:pt x="1845488" y="40503"/>
                    <a:pt x="1874063" y="40503"/>
                    <a:pt x="1901686" y="45265"/>
                  </a:cubicBezTo>
                  <a:cubicBezTo>
                    <a:pt x="1905496" y="54790"/>
                    <a:pt x="1888351" y="56695"/>
                    <a:pt x="1894066" y="69078"/>
                  </a:cubicBezTo>
                  <a:cubicBezTo>
                    <a:pt x="1913116" y="57648"/>
                    <a:pt x="1934071" y="52885"/>
                    <a:pt x="1955978" y="55743"/>
                  </a:cubicBezTo>
                  <a:cubicBezTo>
                    <a:pt x="1961693" y="62410"/>
                    <a:pt x="1959788" y="69078"/>
                    <a:pt x="1954073" y="71935"/>
                  </a:cubicBezTo>
                  <a:cubicBezTo>
                    <a:pt x="1939786" y="78603"/>
                    <a:pt x="1939786" y="91938"/>
                    <a:pt x="1935976" y="103368"/>
                  </a:cubicBezTo>
                  <a:cubicBezTo>
                    <a:pt x="1904543" y="124323"/>
                    <a:pt x="1914068" y="142420"/>
                    <a:pt x="1949311" y="161470"/>
                  </a:cubicBezTo>
                  <a:cubicBezTo>
                    <a:pt x="1923593" y="162423"/>
                    <a:pt x="1905496" y="153850"/>
                    <a:pt x="1894066" y="171948"/>
                  </a:cubicBezTo>
                  <a:cubicBezTo>
                    <a:pt x="1899781" y="177663"/>
                    <a:pt x="1909306" y="175758"/>
                    <a:pt x="1913116" y="183378"/>
                  </a:cubicBezTo>
                  <a:cubicBezTo>
                    <a:pt x="1917878" y="187188"/>
                    <a:pt x="1922641" y="195760"/>
                    <a:pt x="1907401" y="196713"/>
                  </a:cubicBezTo>
                  <a:cubicBezTo>
                    <a:pt x="1907401" y="221478"/>
                    <a:pt x="1903591" y="242433"/>
                    <a:pt x="1873111" y="245290"/>
                  </a:cubicBezTo>
                  <a:cubicBezTo>
                    <a:pt x="1842631" y="244338"/>
                    <a:pt x="1879778" y="263388"/>
                    <a:pt x="1866443" y="267198"/>
                  </a:cubicBezTo>
                  <a:cubicBezTo>
                    <a:pt x="1860728" y="271008"/>
                    <a:pt x="1855013" y="271960"/>
                    <a:pt x="1851203" y="270055"/>
                  </a:cubicBezTo>
                  <a:cubicBezTo>
                    <a:pt x="1860728" y="280533"/>
                    <a:pt x="1876921" y="291963"/>
                    <a:pt x="1866443" y="313870"/>
                  </a:cubicBezTo>
                  <a:cubicBezTo>
                    <a:pt x="1859776" y="319585"/>
                    <a:pt x="1852156" y="321490"/>
                    <a:pt x="1843583" y="319585"/>
                  </a:cubicBezTo>
                  <a:cubicBezTo>
                    <a:pt x="1833106" y="315775"/>
                    <a:pt x="1827391" y="307203"/>
                    <a:pt x="1819771" y="300535"/>
                  </a:cubicBezTo>
                  <a:cubicBezTo>
                    <a:pt x="1811198" y="310060"/>
                    <a:pt x="1800721" y="314823"/>
                    <a:pt x="1788338" y="313870"/>
                  </a:cubicBezTo>
                  <a:cubicBezTo>
                    <a:pt x="1791196" y="322443"/>
                    <a:pt x="1796911" y="313870"/>
                    <a:pt x="1800721" y="315775"/>
                  </a:cubicBezTo>
                  <a:cubicBezTo>
                    <a:pt x="1808341" y="314823"/>
                    <a:pt x="1815961" y="312918"/>
                    <a:pt x="1823581" y="314823"/>
                  </a:cubicBezTo>
                  <a:cubicBezTo>
                    <a:pt x="1826438" y="315775"/>
                    <a:pt x="1830248" y="316728"/>
                    <a:pt x="1833106" y="317680"/>
                  </a:cubicBezTo>
                  <a:cubicBezTo>
                    <a:pt x="1838821" y="322443"/>
                    <a:pt x="1842631" y="327205"/>
                    <a:pt x="1838821" y="334825"/>
                  </a:cubicBezTo>
                  <a:cubicBezTo>
                    <a:pt x="1800721" y="354828"/>
                    <a:pt x="1760716" y="371020"/>
                    <a:pt x="1715948" y="370068"/>
                  </a:cubicBezTo>
                  <a:cubicBezTo>
                    <a:pt x="1707376" y="370068"/>
                    <a:pt x="1695946" y="372925"/>
                    <a:pt x="1691183" y="379593"/>
                  </a:cubicBezTo>
                  <a:cubicBezTo>
                    <a:pt x="1662608" y="411025"/>
                    <a:pt x="1627366" y="425313"/>
                    <a:pt x="1586408" y="430075"/>
                  </a:cubicBezTo>
                  <a:cubicBezTo>
                    <a:pt x="1564501" y="432933"/>
                    <a:pt x="1554976" y="450078"/>
                    <a:pt x="1542593" y="468175"/>
                  </a:cubicBezTo>
                  <a:cubicBezTo>
                    <a:pt x="1522591" y="497703"/>
                    <a:pt x="1501636" y="527230"/>
                    <a:pt x="1480681" y="555805"/>
                  </a:cubicBezTo>
                  <a:cubicBezTo>
                    <a:pt x="1475918" y="562473"/>
                    <a:pt x="1469251" y="562473"/>
                    <a:pt x="1462583" y="562473"/>
                  </a:cubicBezTo>
                  <a:cubicBezTo>
                    <a:pt x="1419721" y="558663"/>
                    <a:pt x="1380668" y="507228"/>
                    <a:pt x="1385431" y="462460"/>
                  </a:cubicBezTo>
                  <a:cubicBezTo>
                    <a:pt x="1388288" y="441505"/>
                    <a:pt x="1374001" y="421503"/>
                    <a:pt x="1379716" y="398643"/>
                  </a:cubicBezTo>
                  <a:cubicBezTo>
                    <a:pt x="1387336" y="363400"/>
                    <a:pt x="1418768" y="354828"/>
                    <a:pt x="1441628" y="335778"/>
                  </a:cubicBezTo>
                  <a:cubicBezTo>
                    <a:pt x="1443533" y="331015"/>
                    <a:pt x="1445438" y="325300"/>
                    <a:pt x="1449248" y="321490"/>
                  </a:cubicBezTo>
                  <a:cubicBezTo>
                    <a:pt x="1454011" y="314823"/>
                    <a:pt x="1454963" y="306250"/>
                    <a:pt x="1461631" y="300535"/>
                  </a:cubicBezTo>
                  <a:cubicBezTo>
                    <a:pt x="1451153" y="280533"/>
                    <a:pt x="1439723" y="265293"/>
                    <a:pt x="1412101" y="280533"/>
                  </a:cubicBezTo>
                  <a:cubicBezTo>
                    <a:pt x="1425436" y="259578"/>
                    <a:pt x="1438771" y="241480"/>
                    <a:pt x="1434961" y="215763"/>
                  </a:cubicBezTo>
                  <a:cubicBezTo>
                    <a:pt x="1430198" y="178615"/>
                    <a:pt x="1409243" y="158613"/>
                    <a:pt x="1371143" y="160518"/>
                  </a:cubicBezTo>
                  <a:cubicBezTo>
                    <a:pt x="1357808" y="161470"/>
                    <a:pt x="1343521" y="159565"/>
                    <a:pt x="1331138" y="162423"/>
                  </a:cubicBezTo>
                  <a:cubicBezTo>
                    <a:pt x="1317803" y="165280"/>
                    <a:pt x="1310183" y="161470"/>
                    <a:pt x="1303516" y="150040"/>
                  </a:cubicBezTo>
                  <a:cubicBezTo>
                    <a:pt x="1296848" y="136705"/>
                    <a:pt x="1300658" y="131943"/>
                    <a:pt x="1313993" y="130038"/>
                  </a:cubicBezTo>
                  <a:cubicBezTo>
                    <a:pt x="1321613" y="129085"/>
                    <a:pt x="1316851" y="124323"/>
                    <a:pt x="1313041" y="121465"/>
                  </a:cubicBezTo>
                  <a:cubicBezTo>
                    <a:pt x="1283513" y="99558"/>
                    <a:pt x="1311136" y="99558"/>
                    <a:pt x="1323518" y="96700"/>
                  </a:cubicBezTo>
                  <a:cubicBezTo>
                    <a:pt x="1344473" y="92890"/>
                    <a:pt x="1365428" y="88128"/>
                    <a:pt x="1387336" y="88128"/>
                  </a:cubicBezTo>
                  <a:cubicBezTo>
                    <a:pt x="1399718" y="88128"/>
                    <a:pt x="1414006" y="81460"/>
                    <a:pt x="1394003" y="68125"/>
                  </a:cubicBezTo>
                  <a:cubicBezTo>
                    <a:pt x="1402576" y="42408"/>
                    <a:pt x="1427341" y="49075"/>
                    <a:pt x="1445438" y="41455"/>
                  </a:cubicBezTo>
                  <a:lnTo>
                    <a:pt x="1471104" y="35589"/>
                  </a:lnTo>
                  <a:lnTo>
                    <a:pt x="1469608" y="35026"/>
                  </a:lnTo>
                  <a:cubicBezTo>
                    <a:pt x="1465441" y="34550"/>
                    <a:pt x="1461155" y="34788"/>
                    <a:pt x="1456869" y="34788"/>
                  </a:cubicBezTo>
                  <a:cubicBezTo>
                    <a:pt x="1424484" y="38598"/>
                    <a:pt x="1396861" y="56695"/>
                    <a:pt x="1365429" y="60505"/>
                  </a:cubicBezTo>
                  <a:cubicBezTo>
                    <a:pt x="1307326" y="66220"/>
                    <a:pt x="1264464" y="112893"/>
                    <a:pt x="1208266" y="122418"/>
                  </a:cubicBezTo>
                  <a:cubicBezTo>
                    <a:pt x="1196836" y="130038"/>
                    <a:pt x="1186359" y="129085"/>
                    <a:pt x="1175881" y="122418"/>
                  </a:cubicBezTo>
                  <a:cubicBezTo>
                    <a:pt x="1178739" y="129085"/>
                    <a:pt x="1197789" y="127180"/>
                    <a:pt x="1187311" y="142420"/>
                  </a:cubicBezTo>
                  <a:cubicBezTo>
                    <a:pt x="1185406" y="144325"/>
                    <a:pt x="1182549" y="146230"/>
                    <a:pt x="1180644" y="149088"/>
                  </a:cubicBezTo>
                  <a:cubicBezTo>
                    <a:pt x="1173262" y="152183"/>
                    <a:pt x="1165939" y="153434"/>
                    <a:pt x="1158647" y="153642"/>
                  </a:cubicBezTo>
                  <a:lnTo>
                    <a:pt x="1143520" y="152466"/>
                  </a:lnTo>
                  <a:lnTo>
                    <a:pt x="1148259" y="153731"/>
                  </a:lnTo>
                  <a:cubicBezTo>
                    <a:pt x="1153498" y="157422"/>
                    <a:pt x="1155879" y="163851"/>
                    <a:pt x="1152069" y="175758"/>
                  </a:cubicBezTo>
                  <a:cubicBezTo>
                    <a:pt x="1112064" y="198618"/>
                    <a:pt x="1069201" y="175758"/>
                    <a:pt x="1029196" y="182425"/>
                  </a:cubicBezTo>
                  <a:cubicBezTo>
                    <a:pt x="1020624" y="171948"/>
                    <a:pt x="980619" y="182425"/>
                    <a:pt x="1006336" y="148135"/>
                  </a:cubicBezTo>
                  <a:cubicBezTo>
                    <a:pt x="1011099" y="141468"/>
                    <a:pt x="1003479" y="136705"/>
                    <a:pt x="995859" y="134800"/>
                  </a:cubicBezTo>
                  <a:cubicBezTo>
                    <a:pt x="984429" y="131943"/>
                    <a:pt x="981571" y="125275"/>
                    <a:pt x="987286" y="114798"/>
                  </a:cubicBezTo>
                  <a:cubicBezTo>
                    <a:pt x="1010146" y="115750"/>
                    <a:pt x="1027291" y="130990"/>
                    <a:pt x="1049199" y="134800"/>
                  </a:cubicBezTo>
                  <a:cubicBezTo>
                    <a:pt x="1053009" y="140515"/>
                    <a:pt x="1055866" y="147183"/>
                    <a:pt x="1064439" y="149088"/>
                  </a:cubicBezTo>
                  <a:cubicBezTo>
                    <a:pt x="1074916" y="150993"/>
                    <a:pt x="1085394" y="150278"/>
                    <a:pt x="1095871" y="149326"/>
                  </a:cubicBezTo>
                  <a:lnTo>
                    <a:pt x="1106484" y="148924"/>
                  </a:lnTo>
                  <a:lnTo>
                    <a:pt x="1093014" y="149088"/>
                  </a:lnTo>
                  <a:cubicBezTo>
                    <a:pt x="1081584" y="144325"/>
                    <a:pt x="1067296" y="146230"/>
                    <a:pt x="1062534" y="131943"/>
                  </a:cubicBezTo>
                  <a:cubicBezTo>
                    <a:pt x="1083489" y="115750"/>
                    <a:pt x="1102539" y="93843"/>
                    <a:pt x="1133971" y="110988"/>
                  </a:cubicBezTo>
                  <a:cubicBezTo>
                    <a:pt x="1150164" y="112893"/>
                    <a:pt x="1147306" y="91938"/>
                    <a:pt x="1158736" y="88128"/>
                  </a:cubicBezTo>
                  <a:cubicBezTo>
                    <a:pt x="1164451" y="84318"/>
                    <a:pt x="1172071" y="81460"/>
                    <a:pt x="1173024" y="73840"/>
                  </a:cubicBezTo>
                  <a:cubicBezTo>
                    <a:pt x="1176834" y="44313"/>
                    <a:pt x="1193979" y="46218"/>
                    <a:pt x="1214934" y="54790"/>
                  </a:cubicBezTo>
                  <a:cubicBezTo>
                    <a:pt x="1234936" y="51933"/>
                    <a:pt x="1254939" y="44313"/>
                    <a:pt x="1275894" y="44313"/>
                  </a:cubicBezTo>
                  <a:cubicBezTo>
                    <a:pt x="1253986" y="44313"/>
                    <a:pt x="1233031" y="51933"/>
                    <a:pt x="1211124" y="51933"/>
                  </a:cubicBezTo>
                  <a:cubicBezTo>
                    <a:pt x="1199694" y="46218"/>
                    <a:pt x="1184454" y="50028"/>
                    <a:pt x="1174929" y="39550"/>
                  </a:cubicBezTo>
                  <a:cubicBezTo>
                    <a:pt x="1174929" y="34788"/>
                    <a:pt x="1174929" y="30978"/>
                    <a:pt x="1174929" y="26215"/>
                  </a:cubicBezTo>
                  <a:cubicBezTo>
                    <a:pt x="1249938" y="9070"/>
                    <a:pt x="1324947" y="-1110"/>
                    <a:pt x="1400760" y="96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AA4C02D2-1323-4473-9FA1-F843E5BAA1F0}"/>
              </a:ext>
            </a:extLst>
          </p:cNvPr>
          <p:cNvSpPr txBox="1"/>
          <p:nvPr/>
        </p:nvSpPr>
        <p:spPr>
          <a:xfrm>
            <a:off x="6261652" y="2987252"/>
            <a:ext cx="5930348" cy="258532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ko-KR" sz="5400" b="1" i="0" u="none" strike="noStrike" kern="1200" cap="none" spc="0" normalizeH="0" baseline="0" noProof="0" dirty="0">
                <a:ln>
                  <a:noFill/>
                </a:ln>
                <a:solidFill>
                  <a:srgbClr val="394C79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rPr>
              <a:t>SISTEM INFORMASI KONSTRUKSI INDONESIA (SIKI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1CE7A2F-A3EE-49C0-92BC-9041F9E4725C}"/>
              </a:ext>
            </a:extLst>
          </p:cNvPr>
          <p:cNvGrpSpPr/>
          <p:nvPr/>
        </p:nvGrpSpPr>
        <p:grpSpPr>
          <a:xfrm>
            <a:off x="7382430" y="1660776"/>
            <a:ext cx="2036992" cy="690412"/>
            <a:chOff x="363148" y="262896"/>
            <a:chExt cx="2965370" cy="1005075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BFB1113-EFEB-4E0E-A714-4AF331FB6FFA}"/>
                </a:ext>
              </a:extLst>
            </p:cNvPr>
            <p:cNvSpPr/>
            <p:nvPr/>
          </p:nvSpPr>
          <p:spPr>
            <a:xfrm>
              <a:off x="2209270" y="455209"/>
              <a:ext cx="637492" cy="358684"/>
            </a:xfrm>
            <a:custGeom>
              <a:avLst/>
              <a:gdLst>
                <a:gd name="connsiteX0" fmla="*/ 363745 w 1020075"/>
                <a:gd name="connsiteY0" fmla="*/ 0 h 573944"/>
                <a:gd name="connsiteX1" fmla="*/ 1020075 w 1020075"/>
                <a:gd name="connsiteY1" fmla="*/ 569873 h 573944"/>
                <a:gd name="connsiteX2" fmla="*/ 1012022 w 1020075"/>
                <a:gd name="connsiteY2" fmla="*/ 573944 h 573944"/>
                <a:gd name="connsiteX3" fmla="*/ 367771 w 1020075"/>
                <a:gd name="connsiteY3" fmla="*/ 48846 h 573944"/>
                <a:gd name="connsiteX4" fmla="*/ 152979 w 1020075"/>
                <a:gd name="connsiteY4" fmla="*/ 212429 h 573944"/>
                <a:gd name="connsiteX5" fmla="*/ 0 w 1020075"/>
                <a:gd name="connsiteY5" fmla="*/ 80959 h 573944"/>
                <a:gd name="connsiteX6" fmla="*/ 89938 w 1020075"/>
                <a:gd name="connsiteY6" fmla="*/ 8141 h 57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075" h="573944">
                  <a:moveTo>
                    <a:pt x="363745" y="0"/>
                  </a:moveTo>
                  <a:lnTo>
                    <a:pt x="1020075" y="569873"/>
                  </a:lnTo>
                  <a:lnTo>
                    <a:pt x="1012022" y="573944"/>
                  </a:lnTo>
                  <a:lnTo>
                    <a:pt x="367771" y="48846"/>
                  </a:lnTo>
                  <a:lnTo>
                    <a:pt x="152979" y="212429"/>
                  </a:lnTo>
                  <a:lnTo>
                    <a:pt x="0" y="80959"/>
                  </a:lnTo>
                  <a:lnTo>
                    <a:pt x="89938" y="814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0564D58-4A13-4335-B68C-B4F231AD6AD5}"/>
                </a:ext>
              </a:extLst>
            </p:cNvPr>
            <p:cNvSpPr/>
            <p:nvPr/>
          </p:nvSpPr>
          <p:spPr>
            <a:xfrm>
              <a:off x="363148" y="262896"/>
              <a:ext cx="2483614" cy="989049"/>
            </a:xfrm>
            <a:custGeom>
              <a:avLst/>
              <a:gdLst>
                <a:gd name="connsiteX0" fmla="*/ 0 w 3974123"/>
                <a:gd name="connsiteY0" fmla="*/ 1573823 h 1582615"/>
                <a:gd name="connsiteX1" fmla="*/ 589084 w 3974123"/>
                <a:gd name="connsiteY1" fmla="*/ 1582615 h 1582615"/>
                <a:gd name="connsiteX2" fmla="*/ 2549769 w 3974123"/>
                <a:gd name="connsiteY2" fmla="*/ 105507 h 1582615"/>
                <a:gd name="connsiteX3" fmla="*/ 3956538 w 3974123"/>
                <a:gd name="connsiteY3" fmla="*/ 1239715 h 1582615"/>
                <a:gd name="connsiteX4" fmla="*/ 3974123 w 3974123"/>
                <a:gd name="connsiteY4" fmla="*/ 1230923 h 1582615"/>
                <a:gd name="connsiteX5" fmla="*/ 2540977 w 3974123"/>
                <a:gd name="connsiteY5" fmla="*/ 0 h 1582615"/>
                <a:gd name="connsiteX6" fmla="*/ 1943100 w 3974123"/>
                <a:gd name="connsiteY6" fmla="*/ 17584 h 1582615"/>
                <a:gd name="connsiteX7" fmla="*/ 0 w 3974123"/>
                <a:gd name="connsiteY7" fmla="*/ 1573823 h 158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74123" h="1582615">
                  <a:moveTo>
                    <a:pt x="0" y="1573823"/>
                  </a:moveTo>
                  <a:lnTo>
                    <a:pt x="589084" y="1582615"/>
                  </a:lnTo>
                  <a:lnTo>
                    <a:pt x="2549769" y="105507"/>
                  </a:lnTo>
                  <a:lnTo>
                    <a:pt x="3956538" y="1239715"/>
                  </a:lnTo>
                  <a:lnTo>
                    <a:pt x="3974123" y="1230923"/>
                  </a:lnTo>
                  <a:lnTo>
                    <a:pt x="2540977" y="0"/>
                  </a:lnTo>
                  <a:lnTo>
                    <a:pt x="1943100" y="17584"/>
                  </a:lnTo>
                  <a:lnTo>
                    <a:pt x="0" y="1573823"/>
                  </a:lnTo>
                  <a:close/>
                </a:path>
              </a:pathLst>
            </a:custGeom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D6A9017-82BA-413D-BD13-CBAB41C0B0A1}"/>
                </a:ext>
              </a:extLst>
            </p:cNvPr>
            <p:cNvGrpSpPr/>
            <p:nvPr/>
          </p:nvGrpSpPr>
          <p:grpSpPr>
            <a:xfrm>
              <a:off x="1753312" y="822441"/>
              <a:ext cx="388293" cy="397909"/>
              <a:chOff x="4985238" y="2460380"/>
              <a:chExt cx="621322" cy="636709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3C03C-FF88-42AC-A93E-610DC210DC0E}"/>
                  </a:ext>
                </a:extLst>
              </p:cNvPr>
              <p:cNvSpPr/>
              <p:nvPr/>
            </p:nvSpPr>
            <p:spPr>
              <a:xfrm>
                <a:off x="4985238" y="2460380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B17DBED-DE50-4C89-8615-B31F7EFF769F}"/>
                  </a:ext>
                </a:extLst>
              </p:cNvPr>
              <p:cNvSpPr/>
              <p:nvPr/>
            </p:nvSpPr>
            <p:spPr>
              <a:xfrm>
                <a:off x="5316414" y="2460380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AB543183-7CC4-420D-8ECC-3B2955A898CF}"/>
                  </a:ext>
                </a:extLst>
              </p:cNvPr>
              <p:cNvSpPr/>
              <p:nvPr/>
            </p:nvSpPr>
            <p:spPr>
              <a:xfrm>
                <a:off x="4985238" y="2806943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1ABEB01-8BA0-4C10-A435-1C39BEAE9B34}"/>
                  </a:ext>
                </a:extLst>
              </p:cNvPr>
              <p:cNvSpPr/>
              <p:nvPr/>
            </p:nvSpPr>
            <p:spPr>
              <a:xfrm>
                <a:off x="5316414" y="2806943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4F13BF1-7DAF-4E1A-97B5-4D8406B79209}"/>
                </a:ext>
              </a:extLst>
            </p:cNvPr>
            <p:cNvSpPr/>
            <p:nvPr/>
          </p:nvSpPr>
          <p:spPr>
            <a:xfrm>
              <a:off x="2269816" y="810077"/>
              <a:ext cx="1058702" cy="457894"/>
            </a:xfrm>
            <a:custGeom>
              <a:avLst/>
              <a:gdLst>
                <a:gd name="connsiteX0" fmla="*/ 0 w 3974123"/>
                <a:gd name="connsiteY0" fmla="*/ 1573823 h 1582615"/>
                <a:gd name="connsiteX1" fmla="*/ 589084 w 3974123"/>
                <a:gd name="connsiteY1" fmla="*/ 1582615 h 1582615"/>
                <a:gd name="connsiteX2" fmla="*/ 2549769 w 3974123"/>
                <a:gd name="connsiteY2" fmla="*/ 105507 h 1582615"/>
                <a:gd name="connsiteX3" fmla="*/ 3956538 w 3974123"/>
                <a:gd name="connsiteY3" fmla="*/ 1239715 h 1582615"/>
                <a:gd name="connsiteX4" fmla="*/ 3974123 w 3974123"/>
                <a:gd name="connsiteY4" fmla="*/ 1230923 h 1582615"/>
                <a:gd name="connsiteX5" fmla="*/ 2540977 w 3974123"/>
                <a:gd name="connsiteY5" fmla="*/ 0 h 1582615"/>
                <a:gd name="connsiteX6" fmla="*/ 1943100 w 3974123"/>
                <a:gd name="connsiteY6" fmla="*/ 17584 h 1582615"/>
                <a:gd name="connsiteX7" fmla="*/ 0 w 3974123"/>
                <a:gd name="connsiteY7" fmla="*/ 1573823 h 1582615"/>
                <a:gd name="connsiteX0" fmla="*/ 0 w 4302051"/>
                <a:gd name="connsiteY0" fmla="*/ 1573823 h 1582615"/>
                <a:gd name="connsiteX1" fmla="*/ 589084 w 4302051"/>
                <a:gd name="connsiteY1" fmla="*/ 1582615 h 1582615"/>
                <a:gd name="connsiteX2" fmla="*/ 2549769 w 4302051"/>
                <a:gd name="connsiteY2" fmla="*/ 105507 h 1582615"/>
                <a:gd name="connsiteX3" fmla="*/ 3956538 w 4302051"/>
                <a:gd name="connsiteY3" fmla="*/ 1239715 h 1582615"/>
                <a:gd name="connsiteX4" fmla="*/ 4302051 w 4302051"/>
                <a:gd name="connsiteY4" fmla="*/ 1515805 h 1582615"/>
                <a:gd name="connsiteX5" fmla="*/ 2540977 w 4302051"/>
                <a:gd name="connsiteY5" fmla="*/ 0 h 1582615"/>
                <a:gd name="connsiteX6" fmla="*/ 1943100 w 4302051"/>
                <a:gd name="connsiteY6" fmla="*/ 17584 h 1582615"/>
                <a:gd name="connsiteX7" fmla="*/ 0 w 4302051"/>
                <a:gd name="connsiteY7" fmla="*/ 1573823 h 1582615"/>
                <a:gd name="connsiteX0" fmla="*/ 0 w 4347933"/>
                <a:gd name="connsiteY0" fmla="*/ 1573823 h 1582615"/>
                <a:gd name="connsiteX1" fmla="*/ 589084 w 4347933"/>
                <a:gd name="connsiteY1" fmla="*/ 1582615 h 1582615"/>
                <a:gd name="connsiteX2" fmla="*/ 2549769 w 4347933"/>
                <a:gd name="connsiteY2" fmla="*/ 105507 h 1582615"/>
                <a:gd name="connsiteX3" fmla="*/ 4347933 w 4347933"/>
                <a:gd name="connsiteY3" fmla="*/ 1578018 h 1582615"/>
                <a:gd name="connsiteX4" fmla="*/ 4302051 w 4347933"/>
                <a:gd name="connsiteY4" fmla="*/ 1515805 h 1582615"/>
                <a:gd name="connsiteX5" fmla="*/ 2540977 w 4347933"/>
                <a:gd name="connsiteY5" fmla="*/ 0 h 1582615"/>
                <a:gd name="connsiteX6" fmla="*/ 1943100 w 4347933"/>
                <a:gd name="connsiteY6" fmla="*/ 17584 h 1582615"/>
                <a:gd name="connsiteX7" fmla="*/ 0 w 4347933"/>
                <a:gd name="connsiteY7" fmla="*/ 1573823 h 158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47933" h="1582615">
                  <a:moveTo>
                    <a:pt x="0" y="1573823"/>
                  </a:moveTo>
                  <a:lnTo>
                    <a:pt x="589084" y="1582615"/>
                  </a:lnTo>
                  <a:lnTo>
                    <a:pt x="2549769" y="105507"/>
                  </a:lnTo>
                  <a:lnTo>
                    <a:pt x="4347933" y="1578018"/>
                  </a:lnTo>
                  <a:lnTo>
                    <a:pt x="4302051" y="1515805"/>
                  </a:lnTo>
                  <a:lnTo>
                    <a:pt x="2540977" y="0"/>
                  </a:lnTo>
                  <a:lnTo>
                    <a:pt x="1943100" y="17584"/>
                  </a:lnTo>
                  <a:lnTo>
                    <a:pt x="0" y="157382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3AF086F9-0820-4AF3-A6D2-5D889C0FA826}"/>
              </a:ext>
            </a:extLst>
          </p:cNvPr>
          <p:cNvSpPr/>
          <p:nvPr/>
        </p:nvSpPr>
        <p:spPr>
          <a:xfrm>
            <a:off x="0" y="5622579"/>
            <a:ext cx="1439694" cy="1249894"/>
          </a:xfrm>
          <a:prstGeom prst="rect">
            <a:avLst/>
          </a:prstGeom>
          <a:solidFill>
            <a:srgbClr val="FAC72D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2FA14E-C0DC-4389-B9D0-F0A1AED9429E}"/>
              </a:ext>
            </a:extLst>
          </p:cNvPr>
          <p:cNvSpPr/>
          <p:nvPr/>
        </p:nvSpPr>
        <p:spPr>
          <a:xfrm>
            <a:off x="1439694" y="6245819"/>
            <a:ext cx="10752158" cy="612181"/>
          </a:xfrm>
          <a:prstGeom prst="rect">
            <a:avLst/>
          </a:prstGeom>
          <a:solidFill>
            <a:srgbClr val="3A4C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Google Shape;94;p13">
            <a:extLst>
              <a:ext uri="{FF2B5EF4-FFF2-40B4-BE49-F238E27FC236}">
                <a16:creationId xmlns:a16="http://schemas.microsoft.com/office/drawing/2014/main" id="{1B04AE3C-2E64-D9A8-4EF6-22123A95383D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37026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/>
          <p:nvPr/>
        </p:nvGrpSpPr>
        <p:grpSpPr>
          <a:xfrm rot="5400000">
            <a:off x="-992" y="993"/>
            <a:ext cx="1239847" cy="1237863"/>
            <a:chOff x="0" y="0"/>
            <a:chExt cx="6350000" cy="633984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0000" cy="6339840"/>
            </a:xfrm>
            <a:custGeom>
              <a:avLst/>
              <a:gdLst/>
              <a:ahLst/>
              <a:cxnLst/>
              <a:rect l="l" t="t" r="r" b="b"/>
              <a:pathLst>
                <a:path w="6350000" h="6339840">
                  <a:moveTo>
                    <a:pt x="6350000" y="6339840"/>
                  </a:moveTo>
                  <a:lnTo>
                    <a:pt x="0" y="6339840"/>
                  </a:lnTo>
                  <a:lnTo>
                    <a:pt x="0" y="0"/>
                  </a:lnTo>
                  <a:lnTo>
                    <a:pt x="6350000" y="6339840"/>
                  </a:lnTo>
                  <a:close/>
                </a:path>
              </a:pathLst>
            </a:custGeom>
            <a:solidFill>
              <a:srgbClr val="31356E"/>
            </a:solidFill>
          </p:spPr>
          <p:txBody>
            <a:bodyPr/>
            <a:lstStyle/>
            <a:p>
              <a:endParaRPr lang="id-ID"/>
            </a:p>
          </p:txBody>
        </p:sp>
      </p:grpSp>
      <p:grpSp>
        <p:nvGrpSpPr>
          <p:cNvPr id="5" name="Group 5"/>
          <p:cNvGrpSpPr/>
          <p:nvPr/>
        </p:nvGrpSpPr>
        <p:grpSpPr>
          <a:xfrm rot="-5400000">
            <a:off x="11238544" y="6056714"/>
            <a:ext cx="1239847" cy="1237863"/>
            <a:chOff x="0" y="0"/>
            <a:chExt cx="6350000" cy="633984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0" cy="6339840"/>
            </a:xfrm>
            <a:custGeom>
              <a:avLst/>
              <a:gdLst/>
              <a:ahLst/>
              <a:cxnLst/>
              <a:rect l="l" t="t" r="r" b="b"/>
              <a:pathLst>
                <a:path w="6350000" h="6339840">
                  <a:moveTo>
                    <a:pt x="6350000" y="6339840"/>
                  </a:moveTo>
                  <a:lnTo>
                    <a:pt x="0" y="6339840"/>
                  </a:lnTo>
                  <a:lnTo>
                    <a:pt x="0" y="0"/>
                  </a:lnTo>
                  <a:lnTo>
                    <a:pt x="6350000" y="6339840"/>
                  </a:lnTo>
                  <a:close/>
                </a:path>
              </a:pathLst>
            </a:custGeom>
            <a:solidFill>
              <a:srgbClr val="31356E"/>
            </a:solidFill>
          </p:spPr>
          <p:txBody>
            <a:bodyPr/>
            <a:lstStyle/>
            <a:p>
              <a:endParaRPr lang="id-ID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D1C3678-534E-47AD-9086-83E749AE2CCE}"/>
              </a:ext>
            </a:extLst>
          </p:cNvPr>
          <p:cNvSpPr txBox="1"/>
          <p:nvPr/>
        </p:nvSpPr>
        <p:spPr>
          <a:xfrm>
            <a:off x="2032920" y="3032858"/>
            <a:ext cx="30479" cy="277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630"/>
            <a:endParaRPr lang="en-ID" sz="1201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A1DD3B9-7C41-6FFC-405D-887F2B1D83E9}"/>
              </a:ext>
            </a:extLst>
          </p:cNvPr>
          <p:cNvCxnSpPr/>
          <p:nvPr/>
        </p:nvCxnSpPr>
        <p:spPr>
          <a:xfrm>
            <a:off x="2363586" y="6836004"/>
            <a:ext cx="8735918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3EF654F-5636-1FFA-E01E-164DE4E62C98}"/>
              </a:ext>
            </a:extLst>
          </p:cNvPr>
          <p:cNvGrpSpPr/>
          <p:nvPr/>
        </p:nvGrpSpPr>
        <p:grpSpPr>
          <a:xfrm>
            <a:off x="3781166" y="3980223"/>
            <a:ext cx="3978439" cy="253330"/>
            <a:chOff x="6859128" y="1102819"/>
            <a:chExt cx="1694695" cy="21110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AF14945-8E95-23FA-25BF-7D416075FD86}"/>
                </a:ext>
              </a:extLst>
            </p:cNvPr>
            <p:cNvSpPr/>
            <p:nvPr/>
          </p:nvSpPr>
          <p:spPr>
            <a:xfrm>
              <a:off x="6971086" y="1102819"/>
              <a:ext cx="1433030" cy="2092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6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65B181D-4F1F-0D8D-82DF-3693DD752B0B}"/>
                </a:ext>
              </a:extLst>
            </p:cNvPr>
            <p:cNvSpPr/>
            <p:nvPr/>
          </p:nvSpPr>
          <p:spPr>
            <a:xfrm>
              <a:off x="6859128" y="1104679"/>
              <a:ext cx="1694695" cy="2092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60"/>
            </a:p>
          </p:txBody>
        </p:sp>
      </p:grp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81A8A96B-FF79-E53C-DCFA-C1AF8927F845}"/>
              </a:ext>
            </a:extLst>
          </p:cNvPr>
          <p:cNvSpPr txBox="1">
            <a:spLocks/>
          </p:cNvSpPr>
          <p:nvPr/>
        </p:nvSpPr>
        <p:spPr>
          <a:xfrm>
            <a:off x="2877314" y="441368"/>
            <a:ext cx="8222190" cy="689869"/>
          </a:xfrm>
          <a:prstGeom prst="rect">
            <a:avLst/>
          </a:prstGeom>
        </p:spPr>
        <p:txBody>
          <a:bodyPr vert="horz" lIns="109728" tIns="54864" rIns="109728" bIns="54864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3360" b="1" dirty="0">
                <a:solidFill>
                  <a:srgbClr val="354878"/>
                </a:solidFill>
                <a:latin typeface="Century Gothic" panose="020B0502020202020204" pitchFamily="34" charset="0"/>
              </a:rPr>
              <a:t>FUNGSI </a:t>
            </a:r>
            <a:r>
              <a:rPr lang="en-US" sz="3360" dirty="0">
                <a:solidFill>
                  <a:srgbClr val="354878"/>
                </a:solidFill>
                <a:latin typeface="Century Gothic" panose="020B0502020202020204" pitchFamily="34" charset="0"/>
              </a:rPr>
              <a:t>SIKI</a:t>
            </a:r>
          </a:p>
        </p:txBody>
      </p:sp>
      <p:sp>
        <p:nvSpPr>
          <p:cNvPr id="15" name="Persegi Panjang 167">
            <a:extLst>
              <a:ext uri="{FF2B5EF4-FFF2-40B4-BE49-F238E27FC236}">
                <a16:creationId xmlns:a16="http://schemas.microsoft.com/office/drawing/2014/main" id="{3E232396-C817-F78D-8E3B-9EC8249941A0}"/>
              </a:ext>
            </a:extLst>
          </p:cNvPr>
          <p:cNvSpPr/>
          <p:nvPr/>
        </p:nvSpPr>
        <p:spPr>
          <a:xfrm>
            <a:off x="1460457" y="1996594"/>
            <a:ext cx="2814854" cy="8198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Sertifikasi</a:t>
            </a:r>
            <a:endParaRPr lang="en-US" sz="1320" b="1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Sertifikas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Badan Usaha dan Tenaga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erja</a:t>
            </a:r>
            <a:endParaRPr lang="en-US" sz="1320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Persegi Panjang 167">
            <a:extLst>
              <a:ext uri="{FF2B5EF4-FFF2-40B4-BE49-F238E27FC236}">
                <a16:creationId xmlns:a16="http://schemas.microsoft.com/office/drawing/2014/main" id="{7DC5E079-8F35-19E0-DD89-A72F34255F9A}"/>
              </a:ext>
            </a:extLst>
          </p:cNvPr>
          <p:cNvSpPr/>
          <p:nvPr/>
        </p:nvSpPr>
        <p:spPr>
          <a:xfrm>
            <a:off x="4645050" y="1554586"/>
            <a:ext cx="2374352" cy="103140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r>
              <a:rPr lang="en-US" sz="1320" b="1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Searching</a:t>
            </a:r>
          </a:p>
          <a:p>
            <a:pPr algn="ctr" defTabSz="1097280">
              <a:defRPr/>
            </a:pPr>
            <a:r>
              <a:rPr lang="en-US" sz="1320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gecekan</a:t>
            </a:r>
            <a:r>
              <a:rPr lang="en-US" sz="1320" dirty="0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Status </a:t>
            </a:r>
            <a:r>
              <a:rPr lang="en-US" sz="1320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BUJK dan Tenaga </a:t>
            </a:r>
            <a:r>
              <a:rPr lang="en-US" sz="1320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erja</a:t>
            </a:r>
            <a:endParaRPr lang="en-US" sz="1320" dirty="0">
              <a:solidFill>
                <a:prstClr val="white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Persegi Panjang 167">
            <a:extLst>
              <a:ext uri="{FF2B5EF4-FFF2-40B4-BE49-F238E27FC236}">
                <a16:creationId xmlns:a16="http://schemas.microsoft.com/office/drawing/2014/main" id="{800B9E21-9C14-60D9-CD0D-F976851FF7D0}"/>
              </a:ext>
            </a:extLst>
          </p:cNvPr>
          <p:cNvSpPr/>
          <p:nvPr/>
        </p:nvSpPr>
        <p:spPr>
          <a:xfrm>
            <a:off x="1460457" y="1230882"/>
            <a:ext cx="3205766" cy="780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gistrasi</a:t>
            </a:r>
            <a:endParaRPr lang="en-US" sz="1320" b="1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gistras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Badan Usaha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danTenaga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erja</a:t>
            </a:r>
            <a:endParaRPr lang="en-US" sz="1320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Persegi Panjang 167">
            <a:extLst>
              <a:ext uri="{FF2B5EF4-FFF2-40B4-BE49-F238E27FC236}">
                <a16:creationId xmlns:a16="http://schemas.microsoft.com/office/drawing/2014/main" id="{A12F86F2-10C3-DA2D-8EAF-A4EF315A2F1E}"/>
              </a:ext>
            </a:extLst>
          </p:cNvPr>
          <p:cNvSpPr/>
          <p:nvPr/>
        </p:nvSpPr>
        <p:spPr>
          <a:xfrm>
            <a:off x="8116874" y="1239848"/>
            <a:ext cx="2689948" cy="989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ilaian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sesor</a:t>
            </a:r>
            <a:endParaRPr lang="en-US" sz="1320" b="1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ilai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Sertifikat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Badan Usaha dan Tenaga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erja</a:t>
            </a:r>
            <a:endParaRPr lang="en-US" sz="1320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Persegi Panjang 167">
            <a:extLst>
              <a:ext uri="{FF2B5EF4-FFF2-40B4-BE49-F238E27FC236}">
                <a16:creationId xmlns:a16="http://schemas.microsoft.com/office/drawing/2014/main" id="{801CB44B-17F0-FFBB-B4A5-3DB5F5EC080D}"/>
              </a:ext>
            </a:extLst>
          </p:cNvPr>
          <p:cNvSpPr/>
          <p:nvPr/>
        </p:nvSpPr>
        <p:spPr>
          <a:xfrm>
            <a:off x="1460457" y="2840396"/>
            <a:ext cx="2828786" cy="904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PPKB</a:t>
            </a: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gembang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eprofesi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Berkelanjut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Bag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Tenaga Ahli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onstruksi</a:t>
            </a:r>
            <a:endParaRPr lang="en-US" sz="1320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Persegi Panjang 167">
            <a:extLst>
              <a:ext uri="{FF2B5EF4-FFF2-40B4-BE49-F238E27FC236}">
                <a16:creationId xmlns:a16="http://schemas.microsoft.com/office/drawing/2014/main" id="{DAE1C012-5B2C-ABA1-22F8-2C5F4BD3A917}"/>
              </a:ext>
            </a:extLst>
          </p:cNvPr>
          <p:cNvSpPr/>
          <p:nvPr/>
        </p:nvSpPr>
        <p:spPr>
          <a:xfrm>
            <a:off x="8150624" y="5904511"/>
            <a:ext cx="2445823" cy="7776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mohon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/Client</a:t>
            </a:r>
          </a:p>
          <a:p>
            <a:pPr defTabSz="1097280">
              <a:defRPr/>
            </a:pP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ortal BUJK dan Tenaga</a:t>
            </a: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erja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onstruksi</a:t>
            </a:r>
            <a:endParaRPr lang="en-US" sz="1320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Persegi Panjang 167">
            <a:extLst>
              <a:ext uri="{FF2B5EF4-FFF2-40B4-BE49-F238E27FC236}">
                <a16:creationId xmlns:a16="http://schemas.microsoft.com/office/drawing/2014/main" id="{5767A7FA-75FE-E390-FF06-CA120D9F9051}"/>
              </a:ext>
            </a:extLst>
          </p:cNvPr>
          <p:cNvSpPr/>
          <p:nvPr/>
        </p:nvSpPr>
        <p:spPr>
          <a:xfrm>
            <a:off x="1460457" y="5389078"/>
            <a:ext cx="2814854" cy="897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sosiasi</a:t>
            </a:r>
            <a:endParaRPr lang="en-US" sz="132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defTabSz="1097280">
              <a:defRPr/>
            </a:pPr>
            <a:r>
              <a:rPr lang="en-US" sz="1320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ortal </a:t>
            </a:r>
            <a:r>
              <a:rPr lang="en-US" sz="1320" dirty="0" err="1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Bagi</a:t>
            </a:r>
            <a:r>
              <a:rPr lang="en-US" sz="1320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sosiasi</a:t>
            </a:r>
            <a:r>
              <a:rPr lang="en-US" sz="1320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Jasa </a:t>
            </a:r>
            <a:r>
              <a:rPr lang="en-US" sz="1320" dirty="0" err="1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onstruksi</a:t>
            </a:r>
            <a:r>
              <a:rPr lang="en-US" sz="1320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(</a:t>
            </a:r>
            <a:r>
              <a:rPr lang="en-US" sz="1320" dirty="0" err="1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Unduh</a:t>
            </a:r>
            <a:r>
              <a:rPr lang="en-US" sz="1320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Copy </a:t>
            </a:r>
            <a:r>
              <a:rPr lang="en-US" sz="1320" dirty="0" err="1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Sertifikat</a:t>
            </a:r>
            <a:r>
              <a:rPr lang="en-US" sz="1320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2" name="Persegi Panjang 167">
            <a:extLst>
              <a:ext uri="{FF2B5EF4-FFF2-40B4-BE49-F238E27FC236}">
                <a16:creationId xmlns:a16="http://schemas.microsoft.com/office/drawing/2014/main" id="{3107A391-DC8F-3D35-132E-1906519A65E5}"/>
              </a:ext>
            </a:extLst>
          </p:cNvPr>
          <p:cNvSpPr/>
          <p:nvPr/>
        </p:nvSpPr>
        <p:spPr>
          <a:xfrm>
            <a:off x="8129510" y="2194758"/>
            <a:ext cx="2689948" cy="7375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MNG</a:t>
            </a: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Manajeme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ubah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SIKI LPJK</a:t>
            </a:r>
          </a:p>
        </p:txBody>
      </p:sp>
      <p:sp>
        <p:nvSpPr>
          <p:cNvPr id="23" name="Persegi Panjang 167">
            <a:extLst>
              <a:ext uri="{FF2B5EF4-FFF2-40B4-BE49-F238E27FC236}">
                <a16:creationId xmlns:a16="http://schemas.microsoft.com/office/drawing/2014/main" id="{CBF03BF9-85ED-FC57-505A-E767D2D21368}"/>
              </a:ext>
            </a:extLst>
          </p:cNvPr>
          <p:cNvSpPr/>
          <p:nvPr/>
        </p:nvSpPr>
        <p:spPr>
          <a:xfrm>
            <a:off x="4645050" y="547382"/>
            <a:ext cx="2374352" cy="89702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r>
              <a:rPr lang="en-US" sz="1320" b="1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Mobile Apps</a:t>
            </a:r>
          </a:p>
          <a:p>
            <a:pPr algn="ctr" defTabSz="1097280">
              <a:defRPr/>
            </a:pPr>
            <a:r>
              <a:rPr lang="en-US" sz="1320" b="1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Jakontrust</a:t>
            </a:r>
            <a:endParaRPr lang="en-US" sz="1320" b="1" dirty="0">
              <a:solidFill>
                <a:prstClr val="white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algn="ctr" defTabSz="1097280">
              <a:defRPr/>
            </a:pPr>
            <a:r>
              <a:rPr lang="en-US" sz="1200" b="1" dirty="0">
                <a:solidFill>
                  <a:srgbClr val="FFFF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(</a:t>
            </a:r>
            <a:r>
              <a:rPr lang="en-US" sz="1200" b="1" dirty="0" err="1">
                <a:solidFill>
                  <a:srgbClr val="FFFF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Diunduh</a:t>
            </a:r>
            <a:r>
              <a:rPr lang="en-US" sz="1200" b="1" dirty="0">
                <a:solidFill>
                  <a:srgbClr val="FFFF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200" b="1" dirty="0" err="1">
                <a:solidFill>
                  <a:srgbClr val="FFFF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terpisah</a:t>
            </a:r>
            <a:r>
              <a:rPr lang="en-US" sz="1200" b="1" dirty="0">
                <a:solidFill>
                  <a:srgbClr val="FFFF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Android </a:t>
            </a:r>
            <a:r>
              <a:rPr lang="en-US" sz="1200" b="1" dirty="0" err="1">
                <a:solidFill>
                  <a:srgbClr val="FFFF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dan</a:t>
            </a:r>
            <a:r>
              <a:rPr lang="en-US" sz="1200" b="1" dirty="0">
                <a:solidFill>
                  <a:srgbClr val="FFFF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iOS)</a:t>
            </a:r>
          </a:p>
        </p:txBody>
      </p:sp>
      <p:sp>
        <p:nvSpPr>
          <p:cNvPr id="24" name="Persegi Panjang 167">
            <a:extLst>
              <a:ext uri="{FF2B5EF4-FFF2-40B4-BE49-F238E27FC236}">
                <a16:creationId xmlns:a16="http://schemas.microsoft.com/office/drawing/2014/main" id="{425915A2-4462-F596-9C4B-77EB3C76A9B9}"/>
              </a:ext>
            </a:extLst>
          </p:cNvPr>
          <p:cNvSpPr/>
          <p:nvPr/>
        </p:nvSpPr>
        <p:spPr>
          <a:xfrm>
            <a:off x="8116874" y="2909924"/>
            <a:ext cx="2689948" cy="712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kreditasi</a:t>
            </a:r>
            <a:endParaRPr lang="en-US" sz="1320" b="1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kreditas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sosiasi</a:t>
            </a:r>
            <a:endParaRPr lang="en-US" sz="1320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Persegi Panjang 167">
            <a:extLst>
              <a:ext uri="{FF2B5EF4-FFF2-40B4-BE49-F238E27FC236}">
                <a16:creationId xmlns:a16="http://schemas.microsoft.com/office/drawing/2014/main" id="{C8CF806A-8164-C35B-CB26-ED53F514E09F}"/>
              </a:ext>
            </a:extLst>
          </p:cNvPr>
          <p:cNvSpPr/>
          <p:nvPr/>
        </p:nvSpPr>
        <p:spPr>
          <a:xfrm>
            <a:off x="1460458" y="3826865"/>
            <a:ext cx="2836295" cy="54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Lisen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LSBU</a:t>
            </a: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Lisens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LSBU</a:t>
            </a:r>
          </a:p>
        </p:txBody>
      </p:sp>
      <p:sp>
        <p:nvSpPr>
          <p:cNvPr id="26" name="Persegi Panjang 167">
            <a:extLst>
              <a:ext uri="{FF2B5EF4-FFF2-40B4-BE49-F238E27FC236}">
                <a16:creationId xmlns:a16="http://schemas.microsoft.com/office/drawing/2014/main" id="{C21363D1-DB6B-DC39-94B0-70F370CA0ADB}"/>
              </a:ext>
            </a:extLst>
          </p:cNvPr>
          <p:cNvSpPr/>
          <p:nvPr/>
        </p:nvSpPr>
        <p:spPr>
          <a:xfrm>
            <a:off x="1460457" y="4544839"/>
            <a:ext cx="2586823" cy="6951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komend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Lisen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LSP</a:t>
            </a: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komendas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Lisens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LSP</a:t>
            </a:r>
          </a:p>
        </p:txBody>
      </p:sp>
      <p:sp>
        <p:nvSpPr>
          <p:cNvPr id="27" name="Persegi Panjang 167">
            <a:extLst>
              <a:ext uri="{FF2B5EF4-FFF2-40B4-BE49-F238E27FC236}">
                <a16:creationId xmlns:a16="http://schemas.microsoft.com/office/drawing/2014/main" id="{70195510-0BA9-B9CE-CA79-EF30E0FE6D3C}"/>
              </a:ext>
            </a:extLst>
          </p:cNvPr>
          <p:cNvSpPr/>
          <p:nvPr/>
        </p:nvSpPr>
        <p:spPr>
          <a:xfrm>
            <a:off x="8125361" y="3574723"/>
            <a:ext cx="2689948" cy="9288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yetaraan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TKKA</a:t>
            </a: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yetara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Tenaga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Kerja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sing</a:t>
            </a:r>
            <a:endParaRPr lang="en-US" sz="1320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Persegi Panjang 167">
            <a:extLst>
              <a:ext uri="{FF2B5EF4-FFF2-40B4-BE49-F238E27FC236}">
                <a16:creationId xmlns:a16="http://schemas.microsoft.com/office/drawing/2014/main" id="{80893393-26D2-89B4-9806-A2BBFEE25E95}"/>
              </a:ext>
            </a:extLst>
          </p:cNvPr>
          <p:cNvSpPr/>
          <p:nvPr/>
        </p:nvSpPr>
        <p:spPr>
          <a:xfrm>
            <a:off x="8142139" y="4360096"/>
            <a:ext cx="2681656" cy="928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gistr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ila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Ahli</a:t>
            </a: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gistras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ila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Ahli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Jakon</a:t>
            </a:r>
            <a:endParaRPr lang="en-US" sz="1320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Persegi Panjang 167">
            <a:extLst>
              <a:ext uri="{FF2B5EF4-FFF2-40B4-BE49-F238E27FC236}">
                <a16:creationId xmlns:a16="http://schemas.microsoft.com/office/drawing/2014/main" id="{9E113C9D-5753-5836-5385-5C69E1163E32}"/>
              </a:ext>
            </a:extLst>
          </p:cNvPr>
          <p:cNvSpPr/>
          <p:nvPr/>
        </p:nvSpPr>
        <p:spPr>
          <a:xfrm>
            <a:off x="8150624" y="5185375"/>
            <a:ext cx="2689949" cy="7776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defRPr/>
            </a:pP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gistrasi</a:t>
            </a:r>
            <a:r>
              <a:rPr lang="en-US" sz="1320" b="1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LPPK</a:t>
            </a:r>
          </a:p>
          <a:p>
            <a:pPr defTabSz="1097280">
              <a:defRPr/>
            </a:pP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gistrasi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Lembaga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Diklat</a:t>
            </a:r>
            <a:r>
              <a:rPr lang="en-US" sz="1320" dirty="0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ysClr val="windowText" lastClr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Jakon</a:t>
            </a:r>
            <a:endParaRPr lang="en-US" sz="1320" dirty="0">
              <a:solidFill>
                <a:sysClr val="windowText" lastClr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Persegi Panjang 167">
            <a:extLst>
              <a:ext uri="{FF2B5EF4-FFF2-40B4-BE49-F238E27FC236}">
                <a16:creationId xmlns:a16="http://schemas.microsoft.com/office/drawing/2014/main" id="{50DF6DB9-DE3E-B065-A45F-5120FF438A6D}"/>
              </a:ext>
            </a:extLst>
          </p:cNvPr>
          <p:cNvSpPr/>
          <p:nvPr/>
        </p:nvSpPr>
        <p:spPr>
          <a:xfrm>
            <a:off x="4636227" y="5563625"/>
            <a:ext cx="2358348" cy="984194"/>
          </a:xfrm>
          <a:prstGeom prst="rect">
            <a:avLst/>
          </a:prstGeom>
          <a:solidFill>
            <a:srgbClr val="F7B9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r>
              <a:rPr lang="en-US" sz="1320" b="1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KTA </a:t>
            </a:r>
            <a:r>
              <a:rPr lang="en-US" sz="1320" b="1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sosiasi</a:t>
            </a:r>
            <a:endParaRPr lang="en-US" sz="1320" b="1" dirty="0">
              <a:solidFill>
                <a:srgbClr val="1E3368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algn="ctr" defTabSz="1097280">
              <a:defRPr/>
            </a:pPr>
            <a:r>
              <a:rPr lang="en-US" sz="1320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catatan</a:t>
            </a:r>
            <a:r>
              <a:rPr lang="en-US" sz="1320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nggota</a:t>
            </a:r>
            <a:r>
              <a:rPr lang="en-US" sz="1320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sosiasi</a:t>
            </a:r>
            <a:r>
              <a:rPr lang="en-US" sz="1320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(</a:t>
            </a:r>
            <a:r>
              <a:rPr lang="en-US" sz="1320" b="1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belum</a:t>
            </a:r>
            <a:r>
              <a:rPr lang="en-US" sz="1320" b="1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diluncurkan</a:t>
            </a:r>
            <a:r>
              <a:rPr lang="en-US" sz="1320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1" name="Persegi Panjang 167">
            <a:extLst>
              <a:ext uri="{FF2B5EF4-FFF2-40B4-BE49-F238E27FC236}">
                <a16:creationId xmlns:a16="http://schemas.microsoft.com/office/drawing/2014/main" id="{B580C1B8-CD96-F24B-1AA0-DD2E82231EE8}"/>
              </a:ext>
            </a:extLst>
          </p:cNvPr>
          <p:cNvSpPr/>
          <p:nvPr/>
        </p:nvSpPr>
        <p:spPr>
          <a:xfrm>
            <a:off x="4643542" y="2698371"/>
            <a:ext cx="2384275" cy="66666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r>
              <a:rPr lang="en-US" sz="1320" b="1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ubahan</a:t>
            </a:r>
            <a:r>
              <a:rPr lang="en-US" sz="1320" b="1" dirty="0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TKK</a:t>
            </a:r>
          </a:p>
          <a:p>
            <a:pPr algn="ctr" defTabSz="1097280">
              <a:defRPr/>
            </a:pPr>
            <a:r>
              <a:rPr lang="en-US" sz="1320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rmohonan</a:t>
            </a:r>
            <a:r>
              <a:rPr lang="en-US" sz="1320" dirty="0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dirty="0" err="1">
                <a:solidFill>
                  <a:prstClr val="white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cabutan</a:t>
            </a:r>
            <a:endParaRPr lang="en-US" sz="1320" dirty="0">
              <a:solidFill>
                <a:prstClr val="white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Persegi Panjang 167">
            <a:extLst>
              <a:ext uri="{FF2B5EF4-FFF2-40B4-BE49-F238E27FC236}">
                <a16:creationId xmlns:a16="http://schemas.microsoft.com/office/drawing/2014/main" id="{1F754B5F-1273-06EA-AE2A-709102C76A92}"/>
              </a:ext>
            </a:extLst>
          </p:cNvPr>
          <p:cNvSpPr/>
          <p:nvPr/>
        </p:nvSpPr>
        <p:spPr>
          <a:xfrm>
            <a:off x="4646780" y="4524535"/>
            <a:ext cx="2347795" cy="904722"/>
          </a:xfrm>
          <a:prstGeom prst="rect">
            <a:avLst/>
          </a:prstGeom>
          <a:solidFill>
            <a:srgbClr val="F7B9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r>
              <a:rPr lang="en-US" sz="1320" b="1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plikasi</a:t>
            </a:r>
            <a:r>
              <a:rPr lang="en-US" sz="1320" b="1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PUB</a:t>
            </a:r>
          </a:p>
          <a:p>
            <a:pPr algn="ctr" defTabSz="1097280">
              <a:defRPr/>
            </a:pPr>
            <a:r>
              <a:rPr lang="en-US" sz="1320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engembangan</a:t>
            </a:r>
            <a:r>
              <a:rPr lang="en-US" sz="1320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Usaha </a:t>
            </a:r>
            <a:r>
              <a:rPr lang="en-US" sz="1320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Berkelanjutan</a:t>
            </a:r>
            <a:r>
              <a:rPr lang="en-US" sz="1320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(</a:t>
            </a:r>
            <a:r>
              <a:rPr lang="en-US" sz="1320" b="1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belum</a:t>
            </a:r>
            <a:r>
              <a:rPr lang="en-US" sz="1320" b="1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sz="1320" b="1" dirty="0" err="1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diluncurkan</a:t>
            </a:r>
            <a:r>
              <a:rPr lang="en-US" sz="1320" dirty="0">
                <a:solidFill>
                  <a:srgbClr val="1E3368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7FB3C40-5A19-44CC-3795-BB66BAEE923A}"/>
              </a:ext>
            </a:extLst>
          </p:cNvPr>
          <p:cNvSpPr/>
          <p:nvPr/>
        </p:nvSpPr>
        <p:spPr>
          <a:xfrm>
            <a:off x="4172635" y="3629875"/>
            <a:ext cx="3164263" cy="5355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r>
              <a:rPr lang="en-US" sz="2880" b="1" dirty="0">
                <a:solidFill>
                  <a:srgbClr val="1E3368"/>
                </a:solidFill>
                <a:latin typeface="Tw Cen MT" charset="0"/>
                <a:ea typeface="Tw Cen MT" charset="0"/>
                <a:cs typeface="Tw Cen MT" charset="0"/>
              </a:rPr>
              <a:t>https://siki.pu.go.id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57B79A6-D3E3-B582-3CA1-61696F0D6B08}"/>
              </a:ext>
            </a:extLst>
          </p:cNvPr>
          <p:cNvSpPr/>
          <p:nvPr/>
        </p:nvSpPr>
        <p:spPr>
          <a:xfrm>
            <a:off x="1252311" y="1323632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D88EC8E-B46A-1DB3-ADC8-7963AD6CDCE1}"/>
              </a:ext>
            </a:extLst>
          </p:cNvPr>
          <p:cNvSpPr/>
          <p:nvPr/>
        </p:nvSpPr>
        <p:spPr>
          <a:xfrm>
            <a:off x="1252309" y="2089344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38A87D7-6FDC-DA88-6F45-CE98B68B4430}"/>
              </a:ext>
            </a:extLst>
          </p:cNvPr>
          <p:cNvSpPr/>
          <p:nvPr/>
        </p:nvSpPr>
        <p:spPr>
          <a:xfrm>
            <a:off x="1240833" y="2889468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6899381-A498-4241-87CA-FCA13602C639}"/>
              </a:ext>
            </a:extLst>
          </p:cNvPr>
          <p:cNvSpPr/>
          <p:nvPr/>
        </p:nvSpPr>
        <p:spPr>
          <a:xfrm>
            <a:off x="1252308" y="3902080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B86A891-3D60-CD27-D866-CDA265B7E5C2}"/>
              </a:ext>
            </a:extLst>
          </p:cNvPr>
          <p:cNvSpPr/>
          <p:nvPr/>
        </p:nvSpPr>
        <p:spPr>
          <a:xfrm>
            <a:off x="1240241" y="4516347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DCE78B10-15E3-369C-60C7-ABDE498EA254}"/>
              </a:ext>
            </a:extLst>
          </p:cNvPr>
          <p:cNvSpPr/>
          <p:nvPr/>
        </p:nvSpPr>
        <p:spPr>
          <a:xfrm>
            <a:off x="1237863" y="5426349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00B5F15-F888-8870-C505-A024EE656BBE}"/>
              </a:ext>
            </a:extLst>
          </p:cNvPr>
          <p:cNvSpPr/>
          <p:nvPr/>
        </p:nvSpPr>
        <p:spPr>
          <a:xfrm>
            <a:off x="7806123" y="1362678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D72DD201-C075-A8D1-231D-BA31804DB2F3}"/>
              </a:ext>
            </a:extLst>
          </p:cNvPr>
          <p:cNvSpPr/>
          <p:nvPr/>
        </p:nvSpPr>
        <p:spPr>
          <a:xfrm>
            <a:off x="7806121" y="2251399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FEF2248-D88D-5B53-1D00-C1332473F5CA}"/>
              </a:ext>
            </a:extLst>
          </p:cNvPr>
          <p:cNvSpPr/>
          <p:nvPr/>
        </p:nvSpPr>
        <p:spPr>
          <a:xfrm>
            <a:off x="7813985" y="2956412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AF55EE0-7F21-FD1F-7D7B-1EE3BF0F29E9}"/>
              </a:ext>
            </a:extLst>
          </p:cNvPr>
          <p:cNvSpPr/>
          <p:nvPr/>
        </p:nvSpPr>
        <p:spPr>
          <a:xfrm>
            <a:off x="7813324" y="3737160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B49CC8D-70AA-CF91-8CB5-FB679C515C93}"/>
              </a:ext>
            </a:extLst>
          </p:cNvPr>
          <p:cNvSpPr/>
          <p:nvPr/>
        </p:nvSpPr>
        <p:spPr>
          <a:xfrm>
            <a:off x="7841280" y="4515926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0127DD1A-E2EA-DCC6-6D9F-1399CB508171}"/>
              </a:ext>
            </a:extLst>
          </p:cNvPr>
          <p:cNvSpPr/>
          <p:nvPr/>
        </p:nvSpPr>
        <p:spPr>
          <a:xfrm>
            <a:off x="7846356" y="5285000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85209837-98AA-9288-2538-21C42F81C2A8}"/>
              </a:ext>
            </a:extLst>
          </p:cNvPr>
          <p:cNvSpPr/>
          <p:nvPr/>
        </p:nvSpPr>
        <p:spPr>
          <a:xfrm>
            <a:off x="7841279" y="5980503"/>
            <a:ext cx="258313" cy="258313"/>
          </a:xfrm>
          <a:prstGeom prst="ellipse">
            <a:avLst/>
          </a:prstGeom>
          <a:solidFill>
            <a:srgbClr val="28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60">
              <a:solidFill>
                <a:prstClr val="white"/>
              </a:solidFill>
            </a:endParaRPr>
          </a:p>
        </p:txBody>
      </p:sp>
      <p:pic>
        <p:nvPicPr>
          <p:cNvPr id="2" name="Google Shape;94;p13">
            <a:extLst>
              <a:ext uri="{FF2B5EF4-FFF2-40B4-BE49-F238E27FC236}">
                <a16:creationId xmlns:a16="http://schemas.microsoft.com/office/drawing/2014/main" id="{A9185D0F-125F-6A83-0BF9-478B20D82F15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77432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89E924D9-B5CD-D99F-2CD8-C6F7FC611223}"/>
              </a:ext>
            </a:extLst>
          </p:cNvPr>
          <p:cNvSpPr/>
          <p:nvPr/>
        </p:nvSpPr>
        <p:spPr>
          <a:xfrm>
            <a:off x="-10827" y="5367400"/>
            <a:ext cx="12189468" cy="7852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BE68590-5559-28CE-A86A-6074B4567F22}"/>
              </a:ext>
            </a:extLst>
          </p:cNvPr>
          <p:cNvSpPr/>
          <p:nvPr/>
        </p:nvSpPr>
        <p:spPr>
          <a:xfrm>
            <a:off x="-10827" y="4745980"/>
            <a:ext cx="12189468" cy="68748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AC7C795-1842-2B21-A8E1-0F21EE1CC77E}"/>
              </a:ext>
            </a:extLst>
          </p:cNvPr>
          <p:cNvSpPr/>
          <p:nvPr/>
        </p:nvSpPr>
        <p:spPr>
          <a:xfrm>
            <a:off x="-10827" y="3300718"/>
            <a:ext cx="12189468" cy="147538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A0F11A7-CA91-DB7F-64F5-F1EE66F2EB79}"/>
              </a:ext>
            </a:extLst>
          </p:cNvPr>
          <p:cNvSpPr/>
          <p:nvPr/>
        </p:nvSpPr>
        <p:spPr>
          <a:xfrm>
            <a:off x="-10827" y="2596742"/>
            <a:ext cx="12189468" cy="68748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D2DDCDA-EC7C-D036-0665-B04CA445DB27}"/>
              </a:ext>
            </a:extLst>
          </p:cNvPr>
          <p:cNvSpPr/>
          <p:nvPr/>
        </p:nvSpPr>
        <p:spPr>
          <a:xfrm>
            <a:off x="1" y="1791187"/>
            <a:ext cx="12189468" cy="7852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pic>
        <p:nvPicPr>
          <p:cNvPr id="4" name="Picture 3" descr="Text, logo&#10;&#10;Description automatically generated">
            <a:extLst>
              <a:ext uri="{FF2B5EF4-FFF2-40B4-BE49-F238E27FC236}">
                <a16:creationId xmlns:a16="http://schemas.microsoft.com/office/drawing/2014/main" id="{98F27504-C8FF-E7B3-C944-4B80D9C727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33" y="24602"/>
            <a:ext cx="1615921" cy="614684"/>
          </a:xfrm>
          <a:prstGeom prst="rect">
            <a:avLst/>
          </a:prstGeom>
        </p:spPr>
      </p:pic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BA314B3A-DAFD-49F4-BC49-2E2A632A5DE4}"/>
              </a:ext>
            </a:extLst>
          </p:cNvPr>
          <p:cNvSpPr txBox="1">
            <a:spLocks/>
          </p:cNvSpPr>
          <p:nvPr/>
        </p:nvSpPr>
        <p:spPr>
          <a:xfrm>
            <a:off x="3547093" y="88120"/>
            <a:ext cx="6843639" cy="5748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750" b="1" dirty="0">
                <a:solidFill>
                  <a:srgbClr val="1C3367"/>
                </a:solidFill>
                <a:latin typeface="Century Gothic" charset="0"/>
                <a:ea typeface="Century Gothic" charset="0"/>
                <a:cs typeface="Century Gothic" charset="0"/>
              </a:rPr>
              <a:t>AKREDITASI </a:t>
            </a:r>
            <a:r>
              <a:rPr lang="en-US" sz="2750" dirty="0">
                <a:solidFill>
                  <a:srgbClr val="1C3367"/>
                </a:solidFill>
                <a:latin typeface="Century Gothic" charset="0"/>
                <a:ea typeface="Century Gothic" charset="0"/>
                <a:cs typeface="Century Gothic" charset="0"/>
              </a:rPr>
              <a:t>ASOSIASI</a:t>
            </a:r>
          </a:p>
        </p:txBody>
      </p:sp>
      <p:sp>
        <p:nvSpPr>
          <p:cNvPr id="103" name="Google Shape;852;p28"/>
          <p:cNvSpPr/>
          <p:nvPr/>
        </p:nvSpPr>
        <p:spPr>
          <a:xfrm>
            <a:off x="842752" y="909347"/>
            <a:ext cx="3184706" cy="525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4283" tIns="37131" rIns="74283" bIns="37131" anchor="t" anchorCtr="0">
            <a:spAutoFit/>
          </a:bodyPr>
          <a:lstStyle/>
          <a:p>
            <a:pPr>
              <a:defRPr/>
            </a:pPr>
            <a:r>
              <a:rPr lang="en-US" sz="1463" b="1" dirty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t>PP NO 14 TAHUN 2021</a:t>
            </a:r>
          </a:p>
          <a:p>
            <a:pPr>
              <a:defRPr/>
            </a:pPr>
            <a:r>
              <a:rPr lang="en-US" sz="1463" b="1" dirty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t>-</a:t>
            </a:r>
            <a:r>
              <a:rPr lang="en-US" sz="1463" b="1" dirty="0" err="1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t>Pasal</a:t>
            </a:r>
            <a:r>
              <a:rPr lang="en-US" sz="1463" b="1" dirty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t> 42H </a:t>
            </a:r>
            <a:r>
              <a:rPr lang="en-US" sz="1463" b="1" dirty="0" err="1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t>dan</a:t>
            </a:r>
            <a:r>
              <a:rPr lang="en-US" sz="1463" b="1" dirty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t>Pasal</a:t>
            </a:r>
            <a:r>
              <a:rPr lang="en-US" sz="1463" b="1" dirty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t> 42I-</a:t>
            </a:r>
            <a:endParaRPr lang="en-US" sz="1463" dirty="0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902;p31"/>
          <p:cNvSpPr/>
          <p:nvPr/>
        </p:nvSpPr>
        <p:spPr>
          <a:xfrm rot="1570306">
            <a:off x="1291412" y="1644903"/>
            <a:ext cx="973417" cy="899234"/>
          </a:xfrm>
          <a:custGeom>
            <a:avLst/>
            <a:gdLst/>
            <a:ahLst/>
            <a:cxnLst/>
            <a:rect l="l" t="t" r="r" b="b"/>
            <a:pathLst>
              <a:path w="1828751" h="1689381" extrusionOk="0">
                <a:moveTo>
                  <a:pt x="113289" y="422415"/>
                </a:moveTo>
                <a:cubicBezTo>
                  <a:pt x="346505" y="18473"/>
                  <a:pt x="863023" y="-119927"/>
                  <a:pt x="1266965" y="113289"/>
                </a:cubicBezTo>
                <a:cubicBezTo>
                  <a:pt x="1569922" y="288201"/>
                  <a:pt x="1723511" y="622471"/>
                  <a:pt x="1682983" y="949086"/>
                </a:cubicBezTo>
                <a:lnTo>
                  <a:pt x="1656191" y="1067447"/>
                </a:lnTo>
                <a:lnTo>
                  <a:pt x="1828751" y="1364964"/>
                </a:lnTo>
                <a:lnTo>
                  <a:pt x="1508810" y="1364964"/>
                </a:lnTo>
                <a:lnTo>
                  <a:pt x="1476130" y="1405789"/>
                </a:lnTo>
                <a:cubicBezTo>
                  <a:pt x="1215505" y="1699701"/>
                  <a:pt x="775865" y="1780156"/>
                  <a:pt x="422415" y="1576092"/>
                </a:cubicBezTo>
                <a:cubicBezTo>
                  <a:pt x="18473" y="1342876"/>
                  <a:pt x="-119927" y="826357"/>
                  <a:pt x="113289" y="422415"/>
                </a:cubicBezTo>
                <a:close/>
              </a:path>
            </a:pathLst>
          </a:custGeom>
          <a:solidFill>
            <a:srgbClr val="644748"/>
          </a:solidFill>
          <a:ln>
            <a:noFill/>
          </a:ln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algn="ctr">
              <a:buClr>
                <a:prstClr val="black"/>
              </a:buClr>
              <a:buSzPts val="1800"/>
              <a:defRPr/>
            </a:pPr>
            <a:endParaRPr sz="1463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" name="Google Shape;903;p31"/>
          <p:cNvSpPr/>
          <p:nvPr/>
        </p:nvSpPr>
        <p:spPr>
          <a:xfrm>
            <a:off x="1473990" y="1806552"/>
            <a:ext cx="544580" cy="544580"/>
          </a:xfrm>
          <a:prstGeom prst="ellipse">
            <a:avLst/>
          </a:prstGeom>
          <a:gradFill>
            <a:gsLst>
              <a:gs pos="0">
                <a:srgbClr val="FAFAFA"/>
              </a:gs>
              <a:gs pos="57000">
                <a:srgbClr val="FAFAFA"/>
              </a:gs>
              <a:gs pos="80000">
                <a:srgbClr val="D6D6D6"/>
              </a:gs>
              <a:gs pos="100000">
                <a:srgbClr val="D6D6D6"/>
              </a:gs>
            </a:gsLst>
            <a:path path="circle">
              <a:fillToRect t="100000" r="100000"/>
            </a:path>
            <a:tileRect l="-100000" b="-100000"/>
          </a:gra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8100000" algn="tr" rotWithShape="0">
              <a:srgbClr val="000000">
                <a:alpha val="40000"/>
              </a:srgbClr>
            </a:outerShdw>
          </a:effectLst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algn="ctr">
              <a:buClr>
                <a:prstClr val="black"/>
              </a:buClr>
              <a:buSzPts val="6000"/>
              <a:defRPr/>
            </a:pPr>
            <a:endParaRPr sz="4875" b="1">
              <a:solidFill>
                <a:srgbClr val="4ECDC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904;p31"/>
          <p:cNvSpPr txBox="1"/>
          <p:nvPr/>
        </p:nvSpPr>
        <p:spPr>
          <a:xfrm>
            <a:off x="2064550" y="2287730"/>
            <a:ext cx="1663474" cy="381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4283" tIns="37131" rIns="74283" bIns="37131" anchor="t" anchorCtr="0">
            <a:noAutofit/>
          </a:bodyPr>
          <a:lstStyle/>
          <a:p>
            <a:pPr algn="ctr">
              <a:buClr>
                <a:srgbClr val="757070"/>
              </a:buClr>
              <a:buSzPts val="2000"/>
              <a:defRPr/>
            </a:pPr>
            <a:r>
              <a:rPr lang="en-US" sz="1625">
                <a:solidFill>
                  <a:srgbClr val="757070"/>
                </a:solidFill>
                <a:latin typeface="Tahoma"/>
                <a:ea typeface="Tahoma"/>
                <a:cs typeface="Tahoma"/>
                <a:sym typeface="Tahoma"/>
              </a:rPr>
              <a:t>Permohonan</a:t>
            </a:r>
            <a:endParaRPr sz="1625">
              <a:solidFill>
                <a:prstClr val="black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58" name="Google Shape;905;p31"/>
          <p:cNvPicPr preferRelativeResize="0"/>
          <p:nvPr/>
        </p:nvPicPr>
        <p:blipFill rotWithShape="1">
          <a:blip r:embed="rId4">
            <a:alphaModFix/>
          </a:blip>
          <a:srcRect l="27958" t="36907" r="50707" b="36635"/>
          <a:stretch/>
        </p:blipFill>
        <p:spPr>
          <a:xfrm>
            <a:off x="1599817" y="1930967"/>
            <a:ext cx="310518" cy="313830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906;p31"/>
          <p:cNvSpPr/>
          <p:nvPr/>
        </p:nvSpPr>
        <p:spPr>
          <a:xfrm rot="624586">
            <a:off x="1256477" y="2709285"/>
            <a:ext cx="973419" cy="899234"/>
          </a:xfrm>
          <a:custGeom>
            <a:avLst/>
            <a:gdLst/>
            <a:ahLst/>
            <a:cxnLst/>
            <a:rect l="l" t="t" r="r" b="b"/>
            <a:pathLst>
              <a:path w="1828751" h="1689381" extrusionOk="0">
                <a:moveTo>
                  <a:pt x="113289" y="422415"/>
                </a:moveTo>
                <a:cubicBezTo>
                  <a:pt x="346505" y="18473"/>
                  <a:pt x="863023" y="-119927"/>
                  <a:pt x="1266965" y="113289"/>
                </a:cubicBezTo>
                <a:cubicBezTo>
                  <a:pt x="1569922" y="288201"/>
                  <a:pt x="1723511" y="622471"/>
                  <a:pt x="1682983" y="949086"/>
                </a:cubicBezTo>
                <a:lnTo>
                  <a:pt x="1656191" y="1067447"/>
                </a:lnTo>
                <a:lnTo>
                  <a:pt x="1828751" y="1364964"/>
                </a:lnTo>
                <a:lnTo>
                  <a:pt x="1508810" y="1364964"/>
                </a:lnTo>
                <a:lnTo>
                  <a:pt x="1476130" y="1405789"/>
                </a:lnTo>
                <a:cubicBezTo>
                  <a:pt x="1215505" y="1699701"/>
                  <a:pt x="775865" y="1780156"/>
                  <a:pt x="422415" y="1576092"/>
                </a:cubicBezTo>
                <a:cubicBezTo>
                  <a:pt x="18473" y="1342876"/>
                  <a:pt x="-119927" y="826357"/>
                  <a:pt x="113289" y="422415"/>
                </a:cubicBezTo>
                <a:close/>
              </a:path>
            </a:pathLst>
          </a:custGeom>
          <a:solidFill>
            <a:srgbClr val="D35837"/>
          </a:solidFill>
          <a:ln>
            <a:noFill/>
          </a:ln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algn="ctr">
              <a:buClr>
                <a:prstClr val="black"/>
              </a:buClr>
              <a:buSzPts val="1800"/>
              <a:defRPr/>
            </a:pPr>
            <a:endParaRPr sz="1463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907;p31"/>
          <p:cNvSpPr/>
          <p:nvPr/>
        </p:nvSpPr>
        <p:spPr>
          <a:xfrm rot="-5734302">
            <a:off x="1425357" y="2853830"/>
            <a:ext cx="544580" cy="544580"/>
          </a:xfrm>
          <a:prstGeom prst="ellipse">
            <a:avLst/>
          </a:prstGeom>
          <a:gradFill>
            <a:gsLst>
              <a:gs pos="0">
                <a:srgbClr val="FAFAFA"/>
              </a:gs>
              <a:gs pos="57000">
                <a:srgbClr val="FAFAFA"/>
              </a:gs>
              <a:gs pos="80000">
                <a:srgbClr val="D6D6D6"/>
              </a:gs>
              <a:gs pos="100000">
                <a:srgbClr val="D6D6D6"/>
              </a:gs>
            </a:gsLst>
            <a:path path="circle">
              <a:fillToRect t="100000" r="100000"/>
            </a:path>
            <a:tileRect l="-100000" b="-100000"/>
          </a:gra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8100000" algn="tr" rotWithShape="0">
              <a:srgbClr val="000000">
                <a:alpha val="40000"/>
              </a:srgbClr>
            </a:outerShdw>
          </a:effectLst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algn="ctr">
              <a:buClr>
                <a:prstClr val="black"/>
              </a:buClr>
              <a:buSzPts val="6000"/>
              <a:defRPr/>
            </a:pPr>
            <a:endParaRPr sz="4875" b="1">
              <a:solidFill>
                <a:srgbClr val="4ECDC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1" name="Google Shape;908;p31"/>
          <p:cNvPicPr preferRelativeResize="0"/>
          <p:nvPr/>
        </p:nvPicPr>
        <p:blipFill rotWithShape="1">
          <a:blip r:embed="rId4">
            <a:alphaModFix/>
          </a:blip>
          <a:srcRect l="80232" t="-2288" r="-1566" b="75830"/>
          <a:stretch/>
        </p:blipFill>
        <p:spPr>
          <a:xfrm rot="-5734302">
            <a:off x="1527298" y="2929202"/>
            <a:ext cx="365445" cy="369341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909;p31"/>
          <p:cNvSpPr/>
          <p:nvPr/>
        </p:nvSpPr>
        <p:spPr>
          <a:xfrm rot="868241">
            <a:off x="1280897" y="3816870"/>
            <a:ext cx="973419" cy="899234"/>
          </a:xfrm>
          <a:custGeom>
            <a:avLst/>
            <a:gdLst/>
            <a:ahLst/>
            <a:cxnLst/>
            <a:rect l="l" t="t" r="r" b="b"/>
            <a:pathLst>
              <a:path w="1828751" h="1689381" extrusionOk="0">
                <a:moveTo>
                  <a:pt x="113289" y="422415"/>
                </a:moveTo>
                <a:cubicBezTo>
                  <a:pt x="346505" y="18473"/>
                  <a:pt x="863023" y="-119927"/>
                  <a:pt x="1266965" y="113289"/>
                </a:cubicBezTo>
                <a:cubicBezTo>
                  <a:pt x="1569922" y="288201"/>
                  <a:pt x="1723511" y="622471"/>
                  <a:pt x="1682983" y="949086"/>
                </a:cubicBezTo>
                <a:lnTo>
                  <a:pt x="1656191" y="1067447"/>
                </a:lnTo>
                <a:lnTo>
                  <a:pt x="1828751" y="1364964"/>
                </a:lnTo>
                <a:lnTo>
                  <a:pt x="1508810" y="1364964"/>
                </a:lnTo>
                <a:lnTo>
                  <a:pt x="1476130" y="1405789"/>
                </a:lnTo>
                <a:cubicBezTo>
                  <a:pt x="1215505" y="1699701"/>
                  <a:pt x="775865" y="1780156"/>
                  <a:pt x="422415" y="1576092"/>
                </a:cubicBezTo>
                <a:cubicBezTo>
                  <a:pt x="18473" y="1342876"/>
                  <a:pt x="-119927" y="826357"/>
                  <a:pt x="113289" y="422415"/>
                </a:cubicBezTo>
                <a:close/>
              </a:path>
            </a:pathLst>
          </a:custGeom>
          <a:solidFill>
            <a:srgbClr val="F2B945"/>
          </a:solidFill>
          <a:ln>
            <a:noFill/>
          </a:ln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algn="ctr">
              <a:buClr>
                <a:prstClr val="black"/>
              </a:buClr>
              <a:buSzPts val="1800"/>
              <a:defRPr/>
            </a:pPr>
            <a:endParaRPr sz="1463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" name="Google Shape;910;p31"/>
          <p:cNvSpPr/>
          <p:nvPr/>
        </p:nvSpPr>
        <p:spPr>
          <a:xfrm rot="-5913883">
            <a:off x="1457060" y="3937293"/>
            <a:ext cx="544580" cy="544580"/>
          </a:xfrm>
          <a:prstGeom prst="ellipse">
            <a:avLst/>
          </a:prstGeom>
          <a:gradFill>
            <a:gsLst>
              <a:gs pos="0">
                <a:srgbClr val="FAFAFA"/>
              </a:gs>
              <a:gs pos="57000">
                <a:srgbClr val="FAFAFA"/>
              </a:gs>
              <a:gs pos="80000">
                <a:srgbClr val="D6D6D6"/>
              </a:gs>
              <a:gs pos="100000">
                <a:srgbClr val="D6D6D6"/>
              </a:gs>
            </a:gsLst>
            <a:path path="circle">
              <a:fillToRect t="100000" r="100000"/>
            </a:path>
            <a:tileRect l="-100000" b="-100000"/>
          </a:gra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8100000" algn="tr" rotWithShape="0">
              <a:srgbClr val="000000">
                <a:alpha val="40000"/>
              </a:srgbClr>
            </a:outerShdw>
          </a:effectLst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algn="ctr">
              <a:buClr>
                <a:prstClr val="black"/>
              </a:buClr>
              <a:buSzPts val="6000"/>
              <a:defRPr/>
            </a:pPr>
            <a:endParaRPr sz="4875" b="1">
              <a:solidFill>
                <a:srgbClr val="4ECDC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4" name="Google Shape;911;p31"/>
          <p:cNvPicPr preferRelativeResize="0"/>
          <p:nvPr/>
        </p:nvPicPr>
        <p:blipFill rotWithShape="1">
          <a:blip r:embed="rId4">
            <a:alphaModFix/>
          </a:blip>
          <a:srcRect l="24367" t="75134" r="54296" b="-1592"/>
          <a:stretch/>
        </p:blipFill>
        <p:spPr>
          <a:xfrm rot="-5913883">
            <a:off x="1559000" y="4024648"/>
            <a:ext cx="365445" cy="369341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912;p31"/>
          <p:cNvSpPr txBox="1"/>
          <p:nvPr/>
        </p:nvSpPr>
        <p:spPr>
          <a:xfrm>
            <a:off x="2018570" y="3284226"/>
            <a:ext cx="2008888" cy="381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4283" tIns="37131" rIns="74283" bIns="37131" anchor="t" anchorCtr="0">
            <a:noAutofit/>
          </a:bodyPr>
          <a:lstStyle/>
          <a:p>
            <a:pPr algn="ctr">
              <a:buClr>
                <a:srgbClr val="757070"/>
              </a:buClr>
              <a:buSzPts val="2000"/>
              <a:defRPr/>
            </a:pPr>
            <a:r>
              <a:rPr lang="en-US" sz="1625">
                <a:solidFill>
                  <a:srgbClr val="757070"/>
                </a:solidFill>
                <a:latin typeface="Tahoma"/>
                <a:ea typeface="Tahoma"/>
                <a:cs typeface="Tahoma"/>
                <a:sym typeface="Tahoma"/>
              </a:rPr>
              <a:t>Verifikasi dan Validasi</a:t>
            </a:r>
            <a:endParaRPr sz="1625">
              <a:solidFill>
                <a:prstClr val="black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66" name="Google Shape;913;p31"/>
          <p:cNvSpPr txBox="1"/>
          <p:nvPr/>
        </p:nvSpPr>
        <p:spPr>
          <a:xfrm>
            <a:off x="2064552" y="4394232"/>
            <a:ext cx="1953999" cy="381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4283" tIns="37131" rIns="74283" bIns="37131" anchor="t" anchorCtr="0">
            <a:noAutofit/>
          </a:bodyPr>
          <a:lstStyle/>
          <a:p>
            <a:pPr algn="ctr">
              <a:buClr>
                <a:srgbClr val="757070"/>
              </a:buClr>
              <a:buSzPts val="2000"/>
              <a:defRPr/>
            </a:pPr>
            <a:r>
              <a:rPr lang="en-US" sz="1625">
                <a:solidFill>
                  <a:srgbClr val="757070"/>
                </a:solidFill>
                <a:latin typeface="Tahoma"/>
                <a:ea typeface="Tahoma"/>
                <a:cs typeface="Tahoma"/>
                <a:sym typeface="Tahoma"/>
              </a:rPr>
              <a:t>Penetapan dan Penilaian</a:t>
            </a:r>
            <a:endParaRPr sz="1625">
              <a:solidFill>
                <a:prstClr val="black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B69245-7FCC-7626-7993-0D300ED162DA}"/>
              </a:ext>
            </a:extLst>
          </p:cNvPr>
          <p:cNvSpPr txBox="1"/>
          <p:nvPr/>
        </p:nvSpPr>
        <p:spPr>
          <a:xfrm>
            <a:off x="417622" y="6298070"/>
            <a:ext cx="9427858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b="1" i="1" dirty="0" err="1">
                <a:latin typeface="Gill Sans MT" panose="020B0502020104020203" pitchFamily="34" charset="0"/>
              </a:rPr>
              <a:t>Akreditasi</a:t>
            </a:r>
            <a:r>
              <a:rPr lang="en-US" b="1" i="1" dirty="0">
                <a:latin typeface="Gill Sans MT" panose="020B0502020104020203" pitchFamily="34" charset="0"/>
              </a:rPr>
              <a:t> </a:t>
            </a:r>
            <a:r>
              <a:rPr lang="en-US" b="1" i="1" dirty="0" err="1">
                <a:latin typeface="Gill Sans MT" panose="020B0502020104020203" pitchFamily="34" charset="0"/>
              </a:rPr>
              <a:t>dilakukan</a:t>
            </a:r>
            <a:r>
              <a:rPr lang="en-US" b="1" i="1" dirty="0">
                <a:latin typeface="Gill Sans MT" panose="020B0502020104020203" pitchFamily="34" charset="0"/>
              </a:rPr>
              <a:t> 3 kali </a:t>
            </a:r>
            <a:r>
              <a:rPr lang="en-US" b="1" i="1" dirty="0" err="1">
                <a:latin typeface="Gill Sans MT" panose="020B0502020104020203" pitchFamily="34" charset="0"/>
              </a:rPr>
              <a:t>dalam</a:t>
            </a:r>
            <a:r>
              <a:rPr lang="en-US" b="1" i="1" dirty="0">
                <a:latin typeface="Gill Sans MT" panose="020B0502020104020203" pitchFamily="34" charset="0"/>
              </a:rPr>
              <a:t> </a:t>
            </a:r>
            <a:r>
              <a:rPr lang="en-US" b="1" i="1" dirty="0" err="1">
                <a:latin typeface="Gill Sans MT" panose="020B0502020104020203" pitchFamily="34" charset="0"/>
              </a:rPr>
              <a:t>satu</a:t>
            </a:r>
            <a:r>
              <a:rPr lang="en-US" b="1" i="1" dirty="0">
                <a:latin typeface="Gill Sans MT" panose="020B0502020104020203" pitchFamily="34" charset="0"/>
              </a:rPr>
              <a:t> </a:t>
            </a:r>
            <a:r>
              <a:rPr lang="en-US" b="1" i="1" dirty="0" err="1">
                <a:latin typeface="Gill Sans MT" panose="020B0502020104020203" pitchFamily="34" charset="0"/>
              </a:rPr>
              <a:t>tahun</a:t>
            </a:r>
            <a:r>
              <a:rPr lang="en-US" b="1" i="1" dirty="0">
                <a:latin typeface="Gill Sans MT" panose="020B0502020104020203" pitchFamily="34" charset="0"/>
              </a:rPr>
              <a:t> April, </a:t>
            </a:r>
            <a:r>
              <a:rPr lang="en-US" b="1" i="1" dirty="0" err="1">
                <a:latin typeface="Gill Sans MT" panose="020B0502020104020203" pitchFamily="34" charset="0"/>
              </a:rPr>
              <a:t>Agustus</a:t>
            </a:r>
            <a:r>
              <a:rPr lang="en-US" b="1" i="1" dirty="0">
                <a:latin typeface="Gill Sans MT" panose="020B0502020104020203" pitchFamily="34" charset="0"/>
              </a:rPr>
              <a:t> dan </a:t>
            </a:r>
            <a:r>
              <a:rPr lang="en-US" b="1" i="1" dirty="0" err="1">
                <a:latin typeface="Gill Sans MT" panose="020B0502020104020203" pitchFamily="34" charset="0"/>
              </a:rPr>
              <a:t>Desember</a:t>
            </a:r>
            <a:r>
              <a:rPr lang="en-US" b="1" i="1" dirty="0">
                <a:latin typeface="Gill Sans MT" panose="020B0502020104020203" pitchFamily="34" charset="0"/>
              </a:rPr>
              <a:t> pada </a:t>
            </a:r>
            <a:r>
              <a:rPr lang="en-US" b="1" i="1" dirty="0" err="1">
                <a:latin typeface="Gill Sans MT" panose="020B0502020104020203" pitchFamily="34" charset="0"/>
              </a:rPr>
              <a:t>tanggal</a:t>
            </a:r>
            <a:r>
              <a:rPr lang="en-US" b="1" i="1" dirty="0">
                <a:latin typeface="Gill Sans MT" panose="020B0502020104020203" pitchFamily="34" charset="0"/>
              </a:rPr>
              <a:t> 20</a:t>
            </a:r>
            <a:endParaRPr lang="en-ID" b="1" i="1" dirty="0">
              <a:latin typeface="Gill Sans MT" panose="020B05020201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546663-BA62-23D9-459F-449B0CB5755C}"/>
              </a:ext>
            </a:extLst>
          </p:cNvPr>
          <p:cNvSpPr txBox="1"/>
          <p:nvPr/>
        </p:nvSpPr>
        <p:spPr>
          <a:xfrm>
            <a:off x="3850815" y="2076721"/>
            <a:ext cx="30938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latin typeface="Gill Sans MT" panose="020B0502020104020203" pitchFamily="34" charset="0"/>
              </a:rPr>
              <a:t>Asosiasi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menyampaikan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permohonan</a:t>
            </a:r>
            <a:endParaRPr lang="id-ID" sz="1400" dirty="0">
              <a:latin typeface="Gill Sans MT" panose="020B0502020104020203" pitchFamily="34" charset="0"/>
            </a:endParaRP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AEB3787A-0FBA-EE1B-3A6B-C717F445AD07}"/>
              </a:ext>
            </a:extLst>
          </p:cNvPr>
          <p:cNvSpPr/>
          <p:nvPr/>
        </p:nvSpPr>
        <p:spPr>
          <a:xfrm>
            <a:off x="5075571" y="2633756"/>
            <a:ext cx="223935" cy="25860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538DD7-DE81-9EDA-250F-C9A140EA9512}"/>
              </a:ext>
            </a:extLst>
          </p:cNvPr>
          <p:cNvSpPr txBox="1"/>
          <p:nvPr/>
        </p:nvSpPr>
        <p:spPr>
          <a:xfrm>
            <a:off x="3811266" y="3007450"/>
            <a:ext cx="39444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latin typeface="Gill Sans MT" panose="020B0502020104020203" pitchFamily="34" charset="0"/>
              </a:rPr>
              <a:t>Sekretariat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Akreditasi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memeriksa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kelengkapan</a:t>
            </a:r>
            <a:endParaRPr lang="id-ID" sz="1400" dirty="0">
              <a:latin typeface="Gill Sans MT" panose="020B0502020104020203" pitchFamily="34" charset="0"/>
            </a:endParaRPr>
          </a:p>
        </p:txBody>
      </p:sp>
      <p:sp>
        <p:nvSpPr>
          <p:cNvPr id="18" name="Arrow: Up 17">
            <a:extLst>
              <a:ext uri="{FF2B5EF4-FFF2-40B4-BE49-F238E27FC236}">
                <a16:creationId xmlns:a16="http://schemas.microsoft.com/office/drawing/2014/main" id="{C1A43BDE-F80F-B5BC-00C6-DC71CF3D4D01}"/>
              </a:ext>
            </a:extLst>
          </p:cNvPr>
          <p:cNvSpPr/>
          <p:nvPr/>
        </p:nvSpPr>
        <p:spPr>
          <a:xfrm>
            <a:off x="5493179" y="2569417"/>
            <a:ext cx="223935" cy="441825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954230-77C3-A153-395C-FB40D8B316EF}"/>
              </a:ext>
            </a:extLst>
          </p:cNvPr>
          <p:cNvSpPr txBox="1"/>
          <p:nvPr/>
        </p:nvSpPr>
        <p:spPr>
          <a:xfrm>
            <a:off x="5623447" y="2722476"/>
            <a:ext cx="17584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Gill Sans MT" panose="020B0502020104020203" pitchFamily="34" charset="0"/>
              </a:rPr>
              <a:t>Perbaikan</a:t>
            </a:r>
            <a:r>
              <a:rPr lang="en-US" sz="1200" dirty="0">
                <a:latin typeface="Gill Sans MT" panose="020B0502020104020203" pitchFamily="34" charset="0"/>
              </a:rPr>
              <a:t> 1x </a:t>
            </a:r>
            <a:r>
              <a:rPr lang="en-US" sz="1200" dirty="0" err="1">
                <a:latin typeface="Gill Sans MT" panose="020B0502020104020203" pitchFamily="34" charset="0"/>
              </a:rPr>
              <a:t>kesempatan</a:t>
            </a:r>
            <a:endParaRPr lang="id-ID" sz="1200" dirty="0">
              <a:latin typeface="Gill Sans MT" panose="020B0502020104020203" pitchFamily="34" charset="0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17A6A2C1-F71A-ED2E-A3A3-5C04C459668A}"/>
              </a:ext>
            </a:extLst>
          </p:cNvPr>
          <p:cNvSpPr/>
          <p:nvPr/>
        </p:nvSpPr>
        <p:spPr>
          <a:xfrm>
            <a:off x="5075570" y="3287825"/>
            <a:ext cx="223935" cy="25860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66B8EF4-4782-F659-6568-4A57A2F94E57}"/>
              </a:ext>
            </a:extLst>
          </p:cNvPr>
          <p:cNvSpPr txBox="1"/>
          <p:nvPr/>
        </p:nvSpPr>
        <p:spPr>
          <a:xfrm>
            <a:off x="3847306" y="3524962"/>
            <a:ext cx="29268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latin typeface="Gill Sans MT" panose="020B0502020104020203" pitchFamily="34" charset="0"/>
              </a:rPr>
              <a:t>Pokja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melakukan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Verifikasi</a:t>
            </a:r>
            <a:r>
              <a:rPr lang="en-US" sz="1400" dirty="0">
                <a:latin typeface="Gill Sans MT" panose="020B0502020104020203" pitchFamily="34" charset="0"/>
              </a:rPr>
              <a:t> dan </a:t>
            </a:r>
            <a:r>
              <a:rPr lang="en-US" sz="1400" dirty="0" err="1">
                <a:latin typeface="Gill Sans MT" panose="020B0502020104020203" pitchFamily="34" charset="0"/>
              </a:rPr>
              <a:t>Validasi</a:t>
            </a:r>
            <a:endParaRPr lang="id-ID" sz="1400" dirty="0">
              <a:latin typeface="Gill Sans MT" panose="020B0502020104020203" pitchFamily="34" charset="0"/>
            </a:endParaRPr>
          </a:p>
        </p:txBody>
      </p:sp>
      <p:sp>
        <p:nvSpPr>
          <p:cNvPr id="29" name="Arrow: Down 28">
            <a:extLst>
              <a:ext uri="{FF2B5EF4-FFF2-40B4-BE49-F238E27FC236}">
                <a16:creationId xmlns:a16="http://schemas.microsoft.com/office/drawing/2014/main" id="{774EE340-F1F2-EF5B-A152-1926DCA67E20}"/>
              </a:ext>
            </a:extLst>
          </p:cNvPr>
          <p:cNvSpPr/>
          <p:nvPr/>
        </p:nvSpPr>
        <p:spPr>
          <a:xfrm>
            <a:off x="5116002" y="3851499"/>
            <a:ext cx="223935" cy="25860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17D7C6B-5643-E54F-0AA0-A947B1238E99}"/>
              </a:ext>
            </a:extLst>
          </p:cNvPr>
          <p:cNvSpPr txBox="1"/>
          <p:nvPr/>
        </p:nvSpPr>
        <p:spPr>
          <a:xfrm>
            <a:off x="3850814" y="4216127"/>
            <a:ext cx="20720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latin typeface="Gill Sans MT" panose="020B0502020104020203" pitchFamily="34" charset="0"/>
              </a:rPr>
              <a:t>Pokja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melakukan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Penilaian</a:t>
            </a:r>
            <a:endParaRPr lang="id-ID" sz="1400" dirty="0">
              <a:latin typeface="Gill Sans MT" panose="020B05020201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2F5ADE-72FB-A341-1339-FCB4B8EFB9F0}"/>
              </a:ext>
            </a:extLst>
          </p:cNvPr>
          <p:cNvSpPr txBox="1"/>
          <p:nvPr/>
        </p:nvSpPr>
        <p:spPr>
          <a:xfrm>
            <a:off x="3895668" y="4838392"/>
            <a:ext cx="35099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latin typeface="Gill Sans MT" panose="020B0502020104020203" pitchFamily="34" charset="0"/>
              </a:rPr>
              <a:t>Pengarah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memberikan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rekomendasi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akreditasi</a:t>
            </a:r>
            <a:endParaRPr lang="id-ID" sz="1400" dirty="0">
              <a:latin typeface="Gill Sans MT" panose="020B0502020104020203" pitchFamily="34" charset="0"/>
            </a:endParaRP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D17EBA72-B2D7-D870-1B13-4532EDA03CB6}"/>
              </a:ext>
            </a:extLst>
          </p:cNvPr>
          <p:cNvSpPr/>
          <p:nvPr/>
        </p:nvSpPr>
        <p:spPr>
          <a:xfrm>
            <a:off x="5131551" y="4536994"/>
            <a:ext cx="223935" cy="25860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408BEC1-600E-D9F1-03B6-9FF9798BF64F}"/>
              </a:ext>
            </a:extLst>
          </p:cNvPr>
          <p:cNvSpPr txBox="1"/>
          <p:nvPr/>
        </p:nvSpPr>
        <p:spPr>
          <a:xfrm>
            <a:off x="3895668" y="5459790"/>
            <a:ext cx="26660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latin typeface="Gill Sans MT" panose="020B0502020104020203" pitchFamily="34" charset="0"/>
              </a:rPr>
              <a:t>Ketua</a:t>
            </a:r>
            <a:r>
              <a:rPr lang="en-US" sz="1400" dirty="0">
                <a:latin typeface="Gill Sans MT" panose="020B0502020104020203" pitchFamily="34" charset="0"/>
              </a:rPr>
              <a:t> LPJK </a:t>
            </a:r>
            <a:r>
              <a:rPr lang="en-US" sz="1400" dirty="0" err="1">
                <a:latin typeface="Gill Sans MT" panose="020B0502020104020203" pitchFamily="34" charset="0"/>
              </a:rPr>
              <a:t>menetapkan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akreditasi</a:t>
            </a:r>
            <a:endParaRPr lang="id-ID" sz="1400" dirty="0">
              <a:latin typeface="Gill Sans MT" panose="020B0502020104020203" pitchFamily="34" charset="0"/>
            </a:endParaRPr>
          </a:p>
        </p:txBody>
      </p:sp>
      <p:sp>
        <p:nvSpPr>
          <p:cNvPr id="35" name="Arrow: Down 34">
            <a:extLst>
              <a:ext uri="{FF2B5EF4-FFF2-40B4-BE49-F238E27FC236}">
                <a16:creationId xmlns:a16="http://schemas.microsoft.com/office/drawing/2014/main" id="{8FEF457C-47B8-9D29-6AC1-43DA31775065}"/>
              </a:ext>
            </a:extLst>
          </p:cNvPr>
          <p:cNvSpPr/>
          <p:nvPr/>
        </p:nvSpPr>
        <p:spPr>
          <a:xfrm>
            <a:off x="5131551" y="5158392"/>
            <a:ext cx="223935" cy="25860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2926F96-D192-C83C-4EBF-B61CB1440208}"/>
              </a:ext>
            </a:extLst>
          </p:cNvPr>
          <p:cNvSpPr txBox="1"/>
          <p:nvPr/>
        </p:nvSpPr>
        <p:spPr>
          <a:xfrm>
            <a:off x="7311064" y="1072357"/>
            <a:ext cx="33508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>
                <a:latin typeface="Gill Sans MT" panose="020B0502020104020203" pitchFamily="34" charset="0"/>
              </a:rPr>
              <a:t>Aplikasi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digunakan</a:t>
            </a:r>
            <a:r>
              <a:rPr lang="en-US" sz="1400" dirty="0">
                <a:latin typeface="Gill Sans MT" panose="020B0502020104020203" pitchFamily="34" charset="0"/>
              </a:rPr>
              <a:t> oleh </a:t>
            </a:r>
          </a:p>
          <a:p>
            <a:pPr algn="ctr"/>
            <a:r>
              <a:rPr lang="en-US" sz="1400" dirty="0" err="1">
                <a:latin typeface="Gill Sans MT" panose="020B0502020104020203" pitchFamily="34" charset="0"/>
              </a:rPr>
              <a:t>Asosiasi</a:t>
            </a:r>
            <a:r>
              <a:rPr lang="en-US" sz="1400" dirty="0">
                <a:latin typeface="Gill Sans MT" panose="020B0502020104020203" pitchFamily="34" charset="0"/>
              </a:rPr>
              <a:t> , </a:t>
            </a:r>
            <a:r>
              <a:rPr lang="en-US" sz="1400" dirty="0" err="1">
                <a:latin typeface="Gill Sans MT" panose="020B0502020104020203" pitchFamily="34" charset="0"/>
              </a:rPr>
              <a:t>Sekretariat</a:t>
            </a:r>
            <a:r>
              <a:rPr lang="en-US" sz="1400" dirty="0">
                <a:latin typeface="Gill Sans MT" panose="020B0502020104020203" pitchFamily="34" charset="0"/>
              </a:rPr>
              <a:t> dan </a:t>
            </a:r>
            <a:r>
              <a:rPr lang="en-US" sz="1400" dirty="0" err="1">
                <a:latin typeface="Gill Sans MT" panose="020B0502020104020203" pitchFamily="34" charset="0"/>
              </a:rPr>
              <a:t>Pokja</a:t>
            </a:r>
            <a:r>
              <a:rPr lang="en-US" sz="1400" dirty="0">
                <a:latin typeface="Gill Sans MT" panose="020B0502020104020203" pitchFamily="34" charset="0"/>
              </a:rPr>
              <a:t>.</a:t>
            </a:r>
          </a:p>
          <a:p>
            <a:pPr algn="ctr"/>
            <a:endParaRPr lang="en-US" sz="1400" dirty="0">
              <a:latin typeface="Gill Sans MT" panose="020B0502020104020203" pitchFamily="34" charset="0"/>
            </a:endParaRPr>
          </a:p>
        </p:txBody>
      </p:sp>
      <p:sp>
        <p:nvSpPr>
          <p:cNvPr id="37" name="Flowchart: Direct Access Storage 36">
            <a:extLst>
              <a:ext uri="{FF2B5EF4-FFF2-40B4-BE49-F238E27FC236}">
                <a16:creationId xmlns:a16="http://schemas.microsoft.com/office/drawing/2014/main" id="{EB1C6D32-D5C0-83BF-BAF7-6E0C0BDAFA0E}"/>
              </a:ext>
            </a:extLst>
          </p:cNvPr>
          <p:cNvSpPr/>
          <p:nvPr/>
        </p:nvSpPr>
        <p:spPr>
          <a:xfrm>
            <a:off x="10455040" y="619300"/>
            <a:ext cx="1147554" cy="644425"/>
          </a:xfrm>
          <a:prstGeom prst="flowChartMagneticDrum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SBU/SKK</a:t>
            </a:r>
            <a:endParaRPr lang="id-ID" sz="14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0BA450-2A02-BEAD-F7CF-1633AFDD2057}"/>
              </a:ext>
            </a:extLst>
          </p:cNvPr>
          <p:cNvSpPr txBox="1"/>
          <p:nvPr/>
        </p:nvSpPr>
        <p:spPr>
          <a:xfrm>
            <a:off x="7533934" y="1459065"/>
            <a:ext cx="30938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ill Sans MT" panose="020B0502020104020203" pitchFamily="34" charset="0"/>
              </a:rPr>
              <a:t>https://akreditasijakon.pu.go.id/ </a:t>
            </a:r>
            <a:endParaRPr lang="id-ID" dirty="0"/>
          </a:p>
        </p:txBody>
      </p:sp>
      <p:sp>
        <p:nvSpPr>
          <p:cNvPr id="40" name="Flowchart: Decision 39">
            <a:extLst>
              <a:ext uri="{FF2B5EF4-FFF2-40B4-BE49-F238E27FC236}">
                <a16:creationId xmlns:a16="http://schemas.microsoft.com/office/drawing/2014/main" id="{892B3F86-6265-3AF0-0614-152E564E4912}"/>
              </a:ext>
            </a:extLst>
          </p:cNvPr>
          <p:cNvSpPr/>
          <p:nvPr/>
        </p:nvSpPr>
        <p:spPr>
          <a:xfrm>
            <a:off x="8121743" y="2591901"/>
            <a:ext cx="1945341" cy="733500"/>
          </a:xfrm>
          <a:prstGeom prst="flowChartDecision">
            <a:avLst/>
          </a:prstGeom>
          <a:solidFill>
            <a:srgbClr val="A8A8A8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err="1"/>
              <a:t>Lengkap</a:t>
            </a:r>
            <a:r>
              <a:rPr lang="en-US" sz="1100" b="1" dirty="0"/>
              <a:t>?</a:t>
            </a:r>
            <a:endParaRPr lang="id-ID" sz="1100" b="1" dirty="0"/>
          </a:p>
        </p:txBody>
      </p:sp>
      <p:sp>
        <p:nvSpPr>
          <p:cNvPr id="41" name="Flowchart: Decision 40">
            <a:extLst>
              <a:ext uri="{FF2B5EF4-FFF2-40B4-BE49-F238E27FC236}">
                <a16:creationId xmlns:a16="http://schemas.microsoft.com/office/drawing/2014/main" id="{4D45FA4A-C254-3563-EB31-33C5E07122CD}"/>
              </a:ext>
            </a:extLst>
          </p:cNvPr>
          <p:cNvSpPr/>
          <p:nvPr/>
        </p:nvSpPr>
        <p:spPr>
          <a:xfrm>
            <a:off x="8164073" y="3548163"/>
            <a:ext cx="1945341" cy="750039"/>
          </a:xfrm>
          <a:prstGeom prst="flowChartDecision">
            <a:avLst/>
          </a:prstGeom>
          <a:solidFill>
            <a:srgbClr val="A8A8A8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err="1"/>
              <a:t>Memenuhi</a:t>
            </a:r>
            <a:r>
              <a:rPr lang="en-US" sz="1100" b="1" dirty="0"/>
              <a:t>?</a:t>
            </a:r>
            <a:endParaRPr lang="id-ID" sz="1100" b="1" dirty="0"/>
          </a:p>
        </p:txBody>
      </p:sp>
      <p:sp>
        <p:nvSpPr>
          <p:cNvPr id="42" name="Flowchart: Process 41">
            <a:extLst>
              <a:ext uri="{FF2B5EF4-FFF2-40B4-BE49-F238E27FC236}">
                <a16:creationId xmlns:a16="http://schemas.microsoft.com/office/drawing/2014/main" id="{7D5DDC7C-F4A6-4DD8-12EE-2DC1A367009E}"/>
              </a:ext>
            </a:extLst>
          </p:cNvPr>
          <p:cNvSpPr/>
          <p:nvPr/>
        </p:nvSpPr>
        <p:spPr>
          <a:xfrm>
            <a:off x="8108209" y="1947942"/>
            <a:ext cx="1945341" cy="421198"/>
          </a:xfrm>
          <a:prstGeom prst="flowChartProcess">
            <a:avLst/>
          </a:prstGeom>
          <a:solidFill>
            <a:srgbClr val="A8A8A8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Submit </a:t>
            </a:r>
            <a:r>
              <a:rPr lang="en-US" sz="1200" b="1" dirty="0" err="1"/>
              <a:t>permohonan</a:t>
            </a:r>
            <a:endParaRPr lang="id-ID" sz="1200" b="1" dirty="0"/>
          </a:p>
        </p:txBody>
      </p: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0D758FEB-8B87-ECD4-3083-A4AC3A83F26E}"/>
              </a:ext>
            </a:extLst>
          </p:cNvPr>
          <p:cNvCxnSpPr>
            <a:cxnSpLocks/>
            <a:stCxn id="37" idx="2"/>
            <a:endCxn id="42" idx="3"/>
          </p:cNvCxnSpPr>
          <p:nvPr/>
        </p:nvCxnSpPr>
        <p:spPr>
          <a:xfrm rot="5400000">
            <a:off x="10093776" y="1223500"/>
            <a:ext cx="894816" cy="975267"/>
          </a:xfrm>
          <a:prstGeom prst="bentConnector2">
            <a:avLst/>
          </a:prstGeom>
          <a:ln w="571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Manual Operation 50">
            <a:extLst>
              <a:ext uri="{FF2B5EF4-FFF2-40B4-BE49-F238E27FC236}">
                <a16:creationId xmlns:a16="http://schemas.microsoft.com/office/drawing/2014/main" id="{E1C41A1D-8FB8-1DBB-6929-FD5E1613C412}"/>
              </a:ext>
            </a:extLst>
          </p:cNvPr>
          <p:cNvSpPr/>
          <p:nvPr/>
        </p:nvSpPr>
        <p:spPr>
          <a:xfrm>
            <a:off x="7788989" y="4802591"/>
            <a:ext cx="2666051" cy="864361"/>
          </a:xfrm>
          <a:prstGeom prst="flowChartManualOperation">
            <a:avLst/>
          </a:prstGeom>
          <a:solidFill>
            <a:srgbClr val="A8A8A8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" dirty="0"/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F1BB5FCC-D8F7-477E-CDE8-E135BBA4D003}"/>
              </a:ext>
            </a:extLst>
          </p:cNvPr>
          <p:cNvCxnSpPr>
            <a:stCxn id="42" idx="2"/>
            <a:endCxn id="40" idx="0"/>
          </p:cNvCxnSpPr>
          <p:nvPr/>
        </p:nvCxnSpPr>
        <p:spPr>
          <a:xfrm>
            <a:off x="9080879" y="2369141"/>
            <a:ext cx="13534" cy="22276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BA5F4947-5564-2F08-5809-E050699CB76D}"/>
              </a:ext>
            </a:extLst>
          </p:cNvPr>
          <p:cNvCxnSpPr/>
          <p:nvPr/>
        </p:nvCxnSpPr>
        <p:spPr>
          <a:xfrm>
            <a:off x="9103659" y="3348274"/>
            <a:ext cx="13534" cy="22276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00CA72E6-F71C-84CC-FE54-8EFDCB69B090}"/>
              </a:ext>
            </a:extLst>
          </p:cNvPr>
          <p:cNvCxnSpPr>
            <a:cxnSpLocks/>
            <a:stCxn id="41" idx="2"/>
            <a:endCxn id="51" idx="0"/>
          </p:cNvCxnSpPr>
          <p:nvPr/>
        </p:nvCxnSpPr>
        <p:spPr>
          <a:xfrm flipH="1">
            <a:off x="9122015" y="4298202"/>
            <a:ext cx="14729" cy="504389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5B8F0BA1-CC43-F695-8C9D-D3DF13E540C8}"/>
              </a:ext>
            </a:extLst>
          </p:cNvPr>
          <p:cNvSpPr txBox="1"/>
          <p:nvPr/>
        </p:nvSpPr>
        <p:spPr>
          <a:xfrm>
            <a:off x="5983115" y="4940773"/>
            <a:ext cx="61955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BA </a:t>
            </a:r>
            <a:r>
              <a:rPr lang="en-US" sz="1200" b="1" dirty="0" err="1">
                <a:solidFill>
                  <a:schemeClr val="bg1"/>
                </a:solidFill>
              </a:rPr>
              <a:t>Pokja</a:t>
            </a:r>
            <a:endParaRPr lang="en-US" sz="1200" b="1" dirty="0">
              <a:solidFill>
                <a:schemeClr val="bg1"/>
              </a:solidFill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BA </a:t>
            </a:r>
            <a:r>
              <a:rPr lang="en-US" sz="1200" b="1" dirty="0" err="1">
                <a:solidFill>
                  <a:schemeClr val="bg1"/>
                </a:solidFill>
              </a:rPr>
              <a:t>Rekomendasi</a:t>
            </a:r>
            <a:endParaRPr lang="en-US" sz="1200" b="1" dirty="0">
              <a:solidFill>
                <a:schemeClr val="bg1"/>
              </a:solidFill>
            </a:endParaRPr>
          </a:p>
          <a:p>
            <a:pPr algn="ctr"/>
            <a:r>
              <a:rPr lang="en-US" sz="1200" b="1" dirty="0" err="1">
                <a:solidFill>
                  <a:schemeClr val="bg1"/>
                </a:solidFill>
              </a:rPr>
              <a:t>Penetapan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Akreditasi</a:t>
            </a:r>
            <a:endParaRPr lang="id-ID" sz="1200" b="1" dirty="0">
              <a:solidFill>
                <a:schemeClr val="bg1"/>
              </a:solidFill>
            </a:endParaRPr>
          </a:p>
        </p:txBody>
      </p: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A1D5D554-AB88-A137-76FE-4D1504518D64}"/>
              </a:ext>
            </a:extLst>
          </p:cNvPr>
          <p:cNvCxnSpPr>
            <a:stCxn id="40" idx="1"/>
            <a:endCxn id="42" idx="1"/>
          </p:cNvCxnSpPr>
          <p:nvPr/>
        </p:nvCxnSpPr>
        <p:spPr>
          <a:xfrm rot="10800000">
            <a:off x="8108208" y="2158541"/>
            <a:ext cx="13534" cy="800110"/>
          </a:xfrm>
          <a:prstGeom prst="bentConnector3">
            <a:avLst>
              <a:gd name="adj1" fmla="val 1789079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E7F160F6-48D8-2539-6F6D-6111FF8559E8}"/>
              </a:ext>
            </a:extLst>
          </p:cNvPr>
          <p:cNvCxnSpPr>
            <a:stCxn id="41" idx="3"/>
          </p:cNvCxnSpPr>
          <p:nvPr/>
        </p:nvCxnSpPr>
        <p:spPr>
          <a:xfrm>
            <a:off x="10109413" y="3923183"/>
            <a:ext cx="259106" cy="375019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Flowchart: Stored Data 79">
            <a:extLst>
              <a:ext uri="{FF2B5EF4-FFF2-40B4-BE49-F238E27FC236}">
                <a16:creationId xmlns:a16="http://schemas.microsoft.com/office/drawing/2014/main" id="{19755CCF-7DF9-D9C9-8B8D-1BCC0619F5DD}"/>
              </a:ext>
            </a:extLst>
          </p:cNvPr>
          <p:cNvSpPr/>
          <p:nvPr/>
        </p:nvSpPr>
        <p:spPr>
          <a:xfrm>
            <a:off x="9832614" y="4361394"/>
            <a:ext cx="1000054" cy="318754"/>
          </a:xfrm>
          <a:prstGeom prst="flowChartOnlineStorag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/>
              <a:t>gugur</a:t>
            </a:r>
            <a:endParaRPr lang="id-ID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02D7F6-E57F-5D72-92D8-CE846EB324F8}"/>
              </a:ext>
            </a:extLst>
          </p:cNvPr>
          <p:cNvSpPr txBox="1"/>
          <p:nvPr/>
        </p:nvSpPr>
        <p:spPr>
          <a:xfrm>
            <a:off x="11048999" y="1293394"/>
            <a:ext cx="9845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Data </a:t>
            </a:r>
          </a:p>
          <a:p>
            <a:r>
              <a:rPr lang="en-US" sz="1200" dirty="0" err="1"/>
              <a:t>keanggotaan</a:t>
            </a:r>
            <a:endParaRPr lang="id-ID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4F0EFC0-6C7F-5952-6AC3-1D1D2DF4AD2F}"/>
              </a:ext>
            </a:extLst>
          </p:cNvPr>
          <p:cNvSpPr txBox="1"/>
          <p:nvPr/>
        </p:nvSpPr>
        <p:spPr>
          <a:xfrm>
            <a:off x="52284" y="2021794"/>
            <a:ext cx="61022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 err="1">
                <a:latin typeface="Gill Sans MT" panose="020B0502020104020203" pitchFamily="34" charset="0"/>
              </a:rPr>
              <a:t>Asosiasi</a:t>
            </a:r>
            <a:endParaRPr lang="id-ID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15C40B7-0F6A-C0A7-CA7F-7F84CA9E8AF2}"/>
              </a:ext>
            </a:extLst>
          </p:cNvPr>
          <p:cNvSpPr txBox="1"/>
          <p:nvPr/>
        </p:nvSpPr>
        <p:spPr>
          <a:xfrm>
            <a:off x="37512" y="2796296"/>
            <a:ext cx="61022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 err="1">
                <a:latin typeface="Gill Sans MT" panose="020B0502020104020203" pitchFamily="34" charset="0"/>
              </a:rPr>
              <a:t>Sekretariat</a:t>
            </a:r>
            <a:r>
              <a:rPr lang="en-US" sz="1800" dirty="0">
                <a:latin typeface="Gill Sans MT" panose="020B0502020104020203" pitchFamily="34" charset="0"/>
              </a:rPr>
              <a:t> </a:t>
            </a:r>
            <a:endParaRPr lang="id-ID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C35C9CF-DCC0-3E7B-DC11-7008306AF9DB}"/>
              </a:ext>
            </a:extLst>
          </p:cNvPr>
          <p:cNvSpPr txBox="1"/>
          <p:nvPr/>
        </p:nvSpPr>
        <p:spPr>
          <a:xfrm>
            <a:off x="101258" y="3822236"/>
            <a:ext cx="61022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 err="1">
                <a:latin typeface="Gill Sans MT" panose="020B0502020104020203" pitchFamily="34" charset="0"/>
              </a:rPr>
              <a:t>Pokja</a:t>
            </a:r>
            <a:endParaRPr lang="id-ID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5F833EE-8704-812C-8D35-7D258182FFA1}"/>
              </a:ext>
            </a:extLst>
          </p:cNvPr>
          <p:cNvSpPr txBox="1"/>
          <p:nvPr/>
        </p:nvSpPr>
        <p:spPr>
          <a:xfrm>
            <a:off x="101258" y="4935148"/>
            <a:ext cx="61022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 err="1">
                <a:latin typeface="Gill Sans MT" panose="020B0502020104020203" pitchFamily="34" charset="0"/>
              </a:rPr>
              <a:t>Pengarah</a:t>
            </a:r>
            <a:endParaRPr lang="id-ID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CDCCEBD-698E-A805-FA92-31A13EDE8FD5}"/>
              </a:ext>
            </a:extLst>
          </p:cNvPr>
          <p:cNvSpPr txBox="1"/>
          <p:nvPr/>
        </p:nvSpPr>
        <p:spPr>
          <a:xfrm>
            <a:off x="101258" y="5571646"/>
            <a:ext cx="61022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 err="1">
                <a:latin typeface="Gill Sans MT" panose="020B0502020104020203" pitchFamily="34" charset="0"/>
              </a:rPr>
              <a:t>Ketua</a:t>
            </a:r>
            <a:r>
              <a:rPr lang="en-US" sz="1800" dirty="0">
                <a:latin typeface="Gill Sans MT" panose="020B0502020104020203" pitchFamily="34" charset="0"/>
              </a:rPr>
              <a:t> LPJK</a:t>
            </a:r>
            <a:endParaRPr lang="id-ID" dirty="0"/>
          </a:p>
        </p:txBody>
      </p:sp>
      <p:pic>
        <p:nvPicPr>
          <p:cNvPr id="3" name="Google Shape;94;p13">
            <a:extLst>
              <a:ext uri="{FF2B5EF4-FFF2-40B4-BE49-F238E27FC236}">
                <a16:creationId xmlns:a16="http://schemas.microsoft.com/office/drawing/2014/main" id="{FC3C087D-2280-67CF-C59A-B4684CBBBDAA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5488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0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TextBox 109"/>
          <p:cNvSpPr txBox="1"/>
          <p:nvPr/>
        </p:nvSpPr>
        <p:spPr>
          <a:xfrm>
            <a:off x="271412" y="125692"/>
            <a:ext cx="101205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23">
              <a:tabLst>
                <a:tab pos="347671" algn="l"/>
              </a:tabLst>
              <a:defRPr/>
            </a:pPr>
            <a:r>
              <a:rPr lang="en-US" sz="2400" b="1" dirty="0">
                <a:solidFill>
                  <a:srgbClr val="0E4F83"/>
                </a:solidFill>
                <a:latin typeface="Century Gothic"/>
              </a:rPr>
              <a:t>REGISTRASI </a:t>
            </a:r>
            <a:r>
              <a:rPr lang="en-US" sz="2400" dirty="0">
                <a:solidFill>
                  <a:srgbClr val="0E4F83"/>
                </a:solidFill>
                <a:latin typeface="Century Gothic"/>
              </a:rPr>
              <a:t>LEMBAGA PENDIDIKAN PELATIHAN KERJA</a:t>
            </a:r>
          </a:p>
        </p:txBody>
      </p:sp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57154957-68AB-414D-8F5B-A49D3A261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83B144-EF52-4775-B8B1-0D0A47F389DC}"/>
              </a:ext>
            </a:extLst>
          </p:cNvPr>
          <p:cNvSpPr/>
          <p:nvPr/>
        </p:nvSpPr>
        <p:spPr>
          <a:xfrm>
            <a:off x="659793" y="3733311"/>
            <a:ext cx="4057259" cy="1470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16326" y="2328415"/>
            <a:ext cx="246695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/>
              <a:t>Pemohon registrasi LPPK mengakses laman aplikasi </a:t>
            </a:r>
            <a:r>
              <a:rPr lang="fi-FI" sz="1400" dirty="0">
                <a:hlinkClick r:id="rId2"/>
              </a:rPr>
              <a:t>http://siki.pu.go.id</a:t>
            </a:r>
            <a:r>
              <a:rPr lang="fi-FI" sz="1400" dirty="0"/>
              <a:t> </a:t>
            </a:r>
            <a:r>
              <a:rPr lang="id-ID" sz="1400" dirty="0"/>
              <a:t>/ </a:t>
            </a:r>
            <a:r>
              <a:rPr lang="id-ID" sz="1400" dirty="0">
                <a:hlinkClick r:id="rId3"/>
              </a:rPr>
              <a:t>www.lisensijakon.pu.go.id</a:t>
            </a:r>
            <a:r>
              <a:rPr lang="id-ID" sz="1400" dirty="0"/>
              <a:t> </a:t>
            </a:r>
            <a:r>
              <a:rPr lang="fi-FI" sz="1400" dirty="0"/>
              <a:t>dan mendaftar pembuatan akun </a:t>
            </a:r>
            <a:endParaRPr lang="en-US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3145942" y="2275887"/>
            <a:ext cx="21360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 err="1"/>
              <a:t>Aplikasi</a:t>
            </a:r>
            <a:r>
              <a:rPr lang="fi-FI" sz="1400" dirty="0"/>
              <a:t> </a:t>
            </a:r>
            <a:r>
              <a:rPr lang="fi-FI" sz="1400" dirty="0" err="1"/>
              <a:t>mengirimkan</a:t>
            </a:r>
            <a:r>
              <a:rPr lang="fi-FI" sz="1400" dirty="0"/>
              <a:t> </a:t>
            </a:r>
            <a:r>
              <a:rPr lang="fi-FI" sz="1400" dirty="0" err="1"/>
              <a:t>tautan</a:t>
            </a:r>
            <a:r>
              <a:rPr lang="fi-FI" sz="1400" dirty="0"/>
              <a:t> </a:t>
            </a:r>
            <a:r>
              <a:rPr lang="fi-FI" sz="1400" dirty="0" err="1"/>
              <a:t>aktivasi</a:t>
            </a:r>
            <a:r>
              <a:rPr lang="fi-FI" sz="1400" dirty="0"/>
              <a:t> akun </a:t>
            </a:r>
            <a:r>
              <a:rPr lang="fi-FI" sz="1400" dirty="0" err="1"/>
              <a:t>kepada</a:t>
            </a:r>
            <a:r>
              <a:rPr lang="fi-FI" sz="1400" dirty="0"/>
              <a:t> </a:t>
            </a:r>
            <a:r>
              <a:rPr lang="fi-FI" sz="1400" dirty="0" err="1"/>
              <a:t>alamat</a:t>
            </a:r>
            <a:r>
              <a:rPr lang="fi-FI" sz="1400" dirty="0"/>
              <a:t> </a:t>
            </a:r>
            <a:r>
              <a:rPr lang="fi-FI" sz="1400" dirty="0" err="1"/>
              <a:t>email</a:t>
            </a:r>
            <a:r>
              <a:rPr lang="fi-FI" sz="1400" dirty="0"/>
              <a:t> </a:t>
            </a:r>
            <a:r>
              <a:rPr lang="fi-FI" sz="1400" dirty="0" err="1"/>
              <a:t>yang</a:t>
            </a:r>
            <a:r>
              <a:rPr lang="fi-FI" sz="1400" dirty="0"/>
              <a:t> </a:t>
            </a:r>
            <a:r>
              <a:rPr lang="fi-FI" sz="1400" dirty="0" err="1"/>
              <a:t>didaftarkan</a:t>
            </a:r>
            <a:endParaRPr lang="en-US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6256221" y="2301369"/>
            <a:ext cx="23732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 err="1"/>
              <a:t>Pemohon</a:t>
            </a:r>
            <a:r>
              <a:rPr lang="fi-FI" sz="1400" dirty="0"/>
              <a:t> </a:t>
            </a:r>
            <a:r>
              <a:rPr lang="fi-FI" sz="1400" dirty="0" err="1"/>
              <a:t>memeriksa</a:t>
            </a:r>
            <a:r>
              <a:rPr lang="fi-FI" sz="1400" dirty="0"/>
              <a:t> </a:t>
            </a:r>
            <a:r>
              <a:rPr lang="fi-FI" sz="1400" dirty="0" err="1"/>
              <a:t>kotak</a:t>
            </a:r>
            <a:r>
              <a:rPr lang="fi-FI" sz="1400" dirty="0"/>
              <a:t> </a:t>
            </a:r>
            <a:r>
              <a:rPr lang="fi-FI" sz="1400" dirty="0" err="1"/>
              <a:t>masuk</a:t>
            </a:r>
            <a:r>
              <a:rPr lang="fi-FI" sz="1400" dirty="0"/>
              <a:t> </a:t>
            </a:r>
            <a:r>
              <a:rPr lang="fi-FI" sz="1400" dirty="0" err="1"/>
              <a:t>pada</a:t>
            </a:r>
            <a:r>
              <a:rPr lang="fi-FI" sz="1400" dirty="0"/>
              <a:t> </a:t>
            </a:r>
            <a:r>
              <a:rPr lang="fi-FI" sz="1400" dirty="0" err="1"/>
              <a:t>email</a:t>
            </a:r>
            <a:r>
              <a:rPr lang="fi-FI" sz="1400" dirty="0"/>
              <a:t> </a:t>
            </a:r>
            <a:r>
              <a:rPr lang="fi-FI" sz="1400" dirty="0" err="1"/>
              <a:t>yang</a:t>
            </a:r>
            <a:r>
              <a:rPr lang="fi-FI" sz="1400" dirty="0"/>
              <a:t> </a:t>
            </a:r>
            <a:r>
              <a:rPr lang="fi-FI" sz="1400" dirty="0" err="1"/>
              <a:t>didaftarkan</a:t>
            </a:r>
            <a:r>
              <a:rPr lang="fi-FI" sz="1400" dirty="0"/>
              <a:t> kemudian melakukan </a:t>
            </a:r>
            <a:r>
              <a:rPr lang="fi-FI" sz="1400" dirty="0" err="1"/>
              <a:t>aktivasi</a:t>
            </a:r>
            <a:endParaRPr lang="en-US" sz="1400" dirty="0"/>
          </a:p>
        </p:txBody>
      </p:sp>
      <p:sp>
        <p:nvSpPr>
          <p:cNvPr id="22" name="TextBox 21"/>
          <p:cNvSpPr txBox="1"/>
          <p:nvPr/>
        </p:nvSpPr>
        <p:spPr>
          <a:xfrm>
            <a:off x="8807797" y="2334062"/>
            <a:ext cx="28018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 err="1"/>
              <a:t>Setelah</a:t>
            </a:r>
            <a:r>
              <a:rPr lang="fi-FI" sz="1400" dirty="0"/>
              <a:t> melakukan </a:t>
            </a:r>
            <a:r>
              <a:rPr lang="fi-FI" sz="1400" dirty="0" err="1"/>
              <a:t>login</a:t>
            </a:r>
            <a:r>
              <a:rPr lang="fi-FI" sz="1400" dirty="0"/>
              <a:t> , </a:t>
            </a:r>
            <a:r>
              <a:rPr lang="fi-FI" sz="1400" dirty="0" err="1"/>
              <a:t>pemohon</a:t>
            </a:r>
            <a:r>
              <a:rPr lang="fi-FI" sz="1400" dirty="0"/>
              <a:t> </a:t>
            </a:r>
            <a:r>
              <a:rPr lang="fi-FI" sz="1400" dirty="0" err="1"/>
              <a:t>melengkapi</a:t>
            </a:r>
            <a:r>
              <a:rPr lang="fi-FI" sz="1400" dirty="0"/>
              <a:t> data-data </a:t>
            </a:r>
            <a:r>
              <a:rPr lang="fi-FI" sz="1400" dirty="0" err="1"/>
              <a:t>sebagaimana</a:t>
            </a:r>
            <a:r>
              <a:rPr lang="fi-FI" sz="1400" dirty="0"/>
              <a:t> </a:t>
            </a:r>
            <a:r>
              <a:rPr lang="fi-FI" sz="1400" dirty="0" err="1"/>
              <a:t>tercantum</a:t>
            </a:r>
            <a:r>
              <a:rPr lang="fi-FI" sz="1400" dirty="0"/>
              <a:t> </a:t>
            </a:r>
            <a:r>
              <a:rPr lang="fi-FI" sz="1400" dirty="0" err="1"/>
              <a:t>pada</a:t>
            </a:r>
            <a:r>
              <a:rPr lang="fi-FI" sz="1400" dirty="0"/>
              <a:t> SE </a:t>
            </a:r>
            <a:r>
              <a:rPr lang="fi-FI" sz="1400" dirty="0" err="1"/>
              <a:t>Ketua</a:t>
            </a:r>
            <a:r>
              <a:rPr lang="fi-FI" sz="1400" dirty="0"/>
              <a:t> LPJK </a:t>
            </a:r>
            <a:r>
              <a:rPr lang="fi-FI" sz="1400" dirty="0" err="1"/>
              <a:t>Nomor</a:t>
            </a:r>
            <a:r>
              <a:rPr lang="fi-FI" sz="1400" dirty="0"/>
              <a:t> 07 </a:t>
            </a:r>
            <a:r>
              <a:rPr lang="fi-FI" sz="1400" dirty="0" err="1"/>
              <a:t>Tahun</a:t>
            </a:r>
            <a:r>
              <a:rPr lang="fi-FI" sz="1400" dirty="0"/>
              <a:t> 2021</a:t>
            </a:r>
            <a:endParaRPr lang="en-US" sz="1400" dirty="0"/>
          </a:p>
        </p:txBody>
      </p:sp>
      <p:sp>
        <p:nvSpPr>
          <p:cNvPr id="15" name="Rectangle 14"/>
          <p:cNvSpPr/>
          <p:nvPr/>
        </p:nvSpPr>
        <p:spPr>
          <a:xfrm>
            <a:off x="-16326" y="1772570"/>
            <a:ext cx="12208326" cy="16401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9017485" y="4833637"/>
            <a:ext cx="24574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 err="1"/>
              <a:t>Setelah</a:t>
            </a:r>
            <a:r>
              <a:rPr lang="fi-FI" sz="1400" dirty="0"/>
              <a:t> </a:t>
            </a:r>
            <a:r>
              <a:rPr lang="fi-FI" sz="1400" dirty="0" err="1"/>
              <a:t>pemohon</a:t>
            </a:r>
            <a:r>
              <a:rPr lang="fi-FI" sz="1400" dirty="0"/>
              <a:t> </a:t>
            </a:r>
            <a:r>
              <a:rPr lang="fi-FI" sz="1400" dirty="0" err="1"/>
              <a:t>melengkapi</a:t>
            </a:r>
            <a:r>
              <a:rPr lang="fi-FI" sz="1400" dirty="0"/>
              <a:t>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/>
              <a:t>mensubmit</a:t>
            </a:r>
            <a:r>
              <a:rPr lang="fi-FI" sz="1400" dirty="0"/>
              <a:t> </a:t>
            </a:r>
            <a:r>
              <a:rPr lang="fi-FI" sz="1400" dirty="0" err="1"/>
              <a:t>seluruh</a:t>
            </a:r>
            <a:r>
              <a:rPr lang="fi-FI" sz="1400" dirty="0"/>
              <a:t> data </a:t>
            </a:r>
            <a:r>
              <a:rPr lang="fi-FI" sz="1400" dirty="0" err="1"/>
              <a:t>maka</a:t>
            </a:r>
            <a:r>
              <a:rPr lang="fi-FI" sz="1400" dirty="0"/>
              <a:t> Surat </a:t>
            </a:r>
            <a:r>
              <a:rPr lang="fi-FI" sz="1400" dirty="0" err="1"/>
              <a:t>Tanda</a:t>
            </a:r>
            <a:r>
              <a:rPr lang="fi-FI" sz="1400" dirty="0"/>
              <a:t> </a:t>
            </a:r>
            <a:r>
              <a:rPr lang="fi-FI" sz="1400" dirty="0" err="1"/>
              <a:t>Registrasi</a:t>
            </a:r>
            <a:r>
              <a:rPr lang="fi-FI" sz="1400" dirty="0"/>
              <a:t> </a:t>
            </a:r>
            <a:r>
              <a:rPr lang="fi-FI" sz="1400" dirty="0" err="1"/>
              <a:t>secara</a:t>
            </a:r>
            <a:r>
              <a:rPr lang="fi-FI" sz="1400" dirty="0"/>
              <a:t> </a:t>
            </a:r>
            <a:r>
              <a:rPr lang="fi-FI" sz="1400" dirty="0" err="1"/>
              <a:t>otomatis</a:t>
            </a:r>
            <a:r>
              <a:rPr lang="fi-FI" sz="1400" dirty="0"/>
              <a:t> </a:t>
            </a:r>
            <a:r>
              <a:rPr lang="fi-FI" sz="1400" dirty="0" err="1"/>
              <a:t>terbentuk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4526344" y="4868691"/>
            <a:ext cx="245746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/>
              <a:t>Penomoran Surat Tanda Registrasi LPPK mengacu kepada Format V Lampiran SE Ketua LPJK Nomor 02 Tahun 2023</a:t>
            </a:r>
            <a:endParaRPr lang="en-US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499677" y="4840496"/>
            <a:ext cx="287091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/>
              <a:t>Lembaga Pendidikan dan Pelatihan Kerja yang telah diberikan Surat</a:t>
            </a:r>
            <a:r>
              <a:rPr lang="id-ID" sz="1400" dirty="0"/>
              <a:t> </a:t>
            </a:r>
            <a:r>
              <a:rPr lang="fi-FI" sz="1400" dirty="0"/>
              <a:t>Tanda Registrasinya akan tertayang datanya dalam laman resmi LPJK</a:t>
            </a:r>
            <a:r>
              <a:rPr lang="id-ID" sz="1400" dirty="0"/>
              <a:t> </a:t>
            </a:r>
            <a:r>
              <a:rPr lang="fi-FI" sz="1400" dirty="0"/>
              <a:t>sesuai dengan mekanisme dan ketentuan yang berlaku</a:t>
            </a:r>
            <a:endParaRPr lang="en-US" sz="1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496" y="1214026"/>
            <a:ext cx="1037314" cy="103731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8215" y="1337941"/>
            <a:ext cx="851537" cy="85153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9332" y="1233745"/>
            <a:ext cx="986980" cy="9869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47047" y="1255565"/>
            <a:ext cx="944009" cy="944009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-8163" y="4318328"/>
            <a:ext cx="12208326" cy="16401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99468" y="3796097"/>
            <a:ext cx="985012" cy="98501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9559" y="3816007"/>
            <a:ext cx="1024489" cy="102448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48101" y="3695635"/>
            <a:ext cx="1174073" cy="117407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D2EF4E2-328F-5E06-6EC3-2A27601FF620}"/>
              </a:ext>
            </a:extLst>
          </p:cNvPr>
          <p:cNvSpPr/>
          <p:nvPr/>
        </p:nvSpPr>
        <p:spPr>
          <a:xfrm rot="5400000">
            <a:off x="10764100" y="3046285"/>
            <a:ext cx="2709777" cy="16234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oogle Shape;94;p13">
            <a:extLst>
              <a:ext uri="{FF2B5EF4-FFF2-40B4-BE49-F238E27FC236}">
                <a16:creationId xmlns:a16="http://schemas.microsoft.com/office/drawing/2014/main" id="{423C902F-0270-D3C3-FEC0-B9FBAEC35AD2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8617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 dir="u"/>
      </p:transition>
    </mc:Choice>
    <mc:Fallback xmlns="">
      <p:transition spd="slow">
        <p:pull dir="u"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>
            <a:cxnSpLocks/>
          </p:cNvCxnSpPr>
          <p:nvPr/>
        </p:nvCxnSpPr>
        <p:spPr>
          <a:xfrm flipV="1">
            <a:off x="-16326" y="1077623"/>
            <a:ext cx="2032000" cy="7164"/>
          </a:xfrm>
          <a:prstGeom prst="line">
            <a:avLst/>
          </a:prstGeom>
          <a:ln w="762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>
            <a:off x="65429" y="212107"/>
            <a:ext cx="101205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23">
              <a:tabLst>
                <a:tab pos="347671" algn="l"/>
              </a:tabLst>
              <a:defRPr/>
            </a:pPr>
            <a:r>
              <a:rPr lang="en-US" sz="2400" b="1" dirty="0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ALUR PEMBERIAN REKOMENDASI LISENSI LSP BARU</a:t>
            </a:r>
          </a:p>
        </p:txBody>
      </p:sp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57154957-68AB-414D-8F5B-A49D3A261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83B144-EF52-4775-B8B1-0D0A47F389DC}"/>
              </a:ext>
            </a:extLst>
          </p:cNvPr>
          <p:cNvSpPr/>
          <p:nvPr/>
        </p:nvSpPr>
        <p:spPr>
          <a:xfrm>
            <a:off x="659793" y="3733311"/>
            <a:ext cx="4057259" cy="1470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88225" y="2047008"/>
            <a:ext cx="286067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 dirty="0">
                <a:solidFill>
                  <a:srgbClr val="0070C0"/>
                </a:solidFill>
              </a:rPr>
              <a:t>Pemohon mengajukan permohonan Perizinan Berusaha Untuk Menunjang Kegiatan Usaha (PB UMKU) pada sistem </a:t>
            </a:r>
            <a:r>
              <a:rPr lang="fi-FI" sz="1200" b="1" dirty="0">
                <a:solidFill>
                  <a:schemeClr val="accent2"/>
                </a:solidFill>
              </a:rPr>
              <a:t>OSS</a:t>
            </a:r>
            <a:r>
              <a:rPr lang="fi-FI" sz="1200" dirty="0">
                <a:solidFill>
                  <a:srgbClr val="0070C0"/>
                </a:solidFill>
              </a:rPr>
              <a:t> yang terhubung dengan SIJK terintegrasi;</a:t>
            </a:r>
            <a:endParaRPr lang="en-US" sz="1200" dirty="0">
              <a:solidFill>
                <a:srgbClr val="0070C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23581" y="2059167"/>
            <a:ext cx="22979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 dirty="0">
                <a:solidFill>
                  <a:srgbClr val="0070C0"/>
                </a:solidFill>
              </a:rPr>
              <a:t>Pemohon mengajukan permohonan rekomendasi lisensi melalui Portal Perizinan PUPR masuk menggunakan akun </a:t>
            </a:r>
            <a:r>
              <a:rPr lang="fi-FI" sz="1200" b="1" dirty="0">
                <a:solidFill>
                  <a:schemeClr val="accent2"/>
                </a:solidFill>
              </a:rPr>
              <a:t>OSS</a:t>
            </a:r>
            <a:endParaRPr lang="en-US" sz="1200" dirty="0">
              <a:solidFill>
                <a:srgbClr val="0070C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14729" y="2080187"/>
            <a:ext cx="2027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/>
              <a:t>Pemohon</a:t>
            </a:r>
            <a:r>
              <a:rPr lang="fi-FI" sz="1200" dirty="0"/>
              <a:t> </a:t>
            </a:r>
            <a:r>
              <a:rPr lang="fi-FI" sz="1200" dirty="0" err="1"/>
              <a:t>mengisi</a:t>
            </a:r>
            <a:r>
              <a:rPr lang="fi-FI" sz="1200" dirty="0"/>
              <a:t> data, </a:t>
            </a:r>
            <a:r>
              <a:rPr lang="fi-FI" sz="1200" dirty="0" err="1"/>
              <a:t>memilih</a:t>
            </a:r>
            <a:r>
              <a:rPr lang="fi-FI" sz="1200" dirty="0"/>
              <a:t> </a:t>
            </a:r>
            <a:r>
              <a:rPr lang="fi-FI" sz="1200" dirty="0" err="1"/>
              <a:t>jenis</a:t>
            </a:r>
            <a:r>
              <a:rPr lang="fi-FI" sz="1200" dirty="0"/>
              <a:t> </a:t>
            </a:r>
            <a:r>
              <a:rPr lang="fi-FI" sz="1200" dirty="0" err="1"/>
              <a:t>permohonan</a:t>
            </a:r>
            <a:r>
              <a:rPr lang="fi-FI" sz="1200" dirty="0"/>
              <a:t> </a:t>
            </a:r>
            <a:r>
              <a:rPr lang="fi-FI" sz="1200" dirty="0" err="1"/>
              <a:t>rekomendasi</a:t>
            </a:r>
            <a:r>
              <a:rPr lang="fi-FI" sz="1200" dirty="0"/>
              <a:t> </a:t>
            </a:r>
            <a:r>
              <a:rPr lang="fi-FI" sz="1200" dirty="0" err="1"/>
              <a:t>lisensi</a:t>
            </a:r>
            <a:r>
              <a:rPr lang="fi-FI" sz="1200" dirty="0"/>
              <a:t> </a:t>
            </a:r>
            <a:r>
              <a:rPr lang="fi-FI" sz="1200" dirty="0" err="1"/>
              <a:t>dan</a:t>
            </a:r>
            <a:r>
              <a:rPr lang="fi-FI" sz="1200" dirty="0"/>
              <a:t> </a:t>
            </a:r>
            <a:r>
              <a:rPr lang="fi-FI" sz="1200" dirty="0" err="1"/>
              <a:t>melengkapi</a:t>
            </a:r>
            <a:r>
              <a:rPr lang="fi-FI" sz="1200" dirty="0"/>
              <a:t> </a:t>
            </a:r>
            <a:r>
              <a:rPr lang="fi-FI" sz="1200" dirty="0" err="1"/>
              <a:t>dokumen</a:t>
            </a:r>
            <a:r>
              <a:rPr lang="fi-FI" sz="1200" dirty="0"/>
              <a:t> </a:t>
            </a:r>
            <a:r>
              <a:rPr lang="fi-FI" sz="1200" dirty="0" err="1"/>
              <a:t>persyaratan</a:t>
            </a:r>
            <a:r>
              <a:rPr lang="fi-FI" sz="1200" dirty="0"/>
              <a:t>;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235150" y="2047008"/>
            <a:ext cx="26099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 dirty="0" err="1"/>
              <a:t>Pemohon</a:t>
            </a:r>
            <a:r>
              <a:rPr lang="fi-FI" sz="1200" dirty="0"/>
              <a:t> </a:t>
            </a:r>
            <a:r>
              <a:rPr lang="fi-FI" sz="1200" dirty="0" err="1"/>
              <a:t>mengajukan</a:t>
            </a:r>
            <a:r>
              <a:rPr lang="fi-FI" sz="1200" dirty="0"/>
              <a:t> </a:t>
            </a:r>
            <a:r>
              <a:rPr lang="fi-FI" sz="1200" dirty="0" err="1"/>
              <a:t>permohonan</a:t>
            </a:r>
            <a:r>
              <a:rPr lang="fi-FI" sz="1200" dirty="0"/>
              <a:t> </a:t>
            </a:r>
            <a:r>
              <a:rPr lang="fi-FI" sz="1200" dirty="0" err="1"/>
              <a:t>rekomendasi</a:t>
            </a:r>
            <a:r>
              <a:rPr lang="fi-FI" sz="1200" dirty="0"/>
              <a:t> </a:t>
            </a:r>
            <a:r>
              <a:rPr lang="fi-FI" sz="1200" dirty="0" err="1"/>
              <a:t>Lisensi</a:t>
            </a:r>
            <a:r>
              <a:rPr lang="fi-FI" sz="1200" dirty="0"/>
              <a:t> LSP </a:t>
            </a:r>
            <a:r>
              <a:rPr lang="fi-FI" sz="1200" dirty="0" err="1"/>
              <a:t>kepada</a:t>
            </a:r>
            <a:r>
              <a:rPr lang="fi-FI" sz="1200" dirty="0"/>
              <a:t> </a:t>
            </a:r>
            <a:r>
              <a:rPr lang="fi-FI" sz="1200" dirty="0" err="1"/>
              <a:t>Menteri</a:t>
            </a:r>
            <a:r>
              <a:rPr lang="fi-FI" sz="1200" dirty="0"/>
              <a:t> </a:t>
            </a:r>
            <a:r>
              <a:rPr lang="fi-FI" sz="1200" dirty="0" err="1"/>
              <a:t>Pekerjaan</a:t>
            </a:r>
            <a:r>
              <a:rPr lang="fi-FI" sz="1200" dirty="0"/>
              <a:t> </a:t>
            </a:r>
            <a:r>
              <a:rPr lang="fi-FI" sz="1200" dirty="0" err="1"/>
              <a:t>Umum</a:t>
            </a:r>
            <a:r>
              <a:rPr lang="fi-FI" sz="1200" dirty="0"/>
              <a:t> </a:t>
            </a:r>
            <a:r>
              <a:rPr lang="fi-FI" sz="1200" dirty="0" err="1"/>
              <a:t>dan</a:t>
            </a:r>
            <a:r>
              <a:rPr lang="fi-FI" sz="1200" dirty="0"/>
              <a:t> Perumahan </a:t>
            </a:r>
            <a:r>
              <a:rPr lang="fi-FI" sz="1200" dirty="0" err="1"/>
              <a:t>Rakyat</a:t>
            </a:r>
            <a:r>
              <a:rPr lang="fi-FI" sz="1200" dirty="0"/>
              <a:t> </a:t>
            </a:r>
            <a:r>
              <a:rPr lang="fi-FI" sz="1200" dirty="0" err="1"/>
              <a:t>melalui</a:t>
            </a:r>
            <a:r>
              <a:rPr lang="fi-FI" sz="1200" dirty="0"/>
              <a:t> </a:t>
            </a:r>
            <a:r>
              <a:rPr lang="fi-FI" sz="1200" dirty="0" err="1"/>
              <a:t>Ketua</a:t>
            </a:r>
            <a:r>
              <a:rPr lang="fi-FI" sz="1200" dirty="0"/>
              <a:t> LPJK </a:t>
            </a:r>
            <a:r>
              <a:rPr lang="fi-FI" sz="1200" dirty="0" err="1"/>
              <a:t>dengan</a:t>
            </a:r>
            <a:r>
              <a:rPr lang="fi-FI" sz="1200" dirty="0"/>
              <a:t> </a:t>
            </a:r>
            <a:r>
              <a:rPr lang="fi-FI" sz="1200" dirty="0" err="1"/>
              <a:t>mengisi</a:t>
            </a:r>
            <a:r>
              <a:rPr lang="fi-FI" sz="1200" dirty="0"/>
              <a:t> </a:t>
            </a:r>
            <a:r>
              <a:rPr lang="fi-FI" sz="1200" dirty="0" err="1">
                <a:solidFill>
                  <a:srgbClr val="FF0000"/>
                </a:solidFill>
              </a:rPr>
              <a:t>Format</a:t>
            </a:r>
            <a:r>
              <a:rPr lang="fi-FI" sz="1200" dirty="0">
                <a:solidFill>
                  <a:srgbClr val="FF0000"/>
                </a:solidFill>
              </a:rPr>
              <a:t> I</a:t>
            </a:r>
            <a:r>
              <a:rPr lang="fi-FI" sz="1200" dirty="0"/>
              <a:t> </a:t>
            </a:r>
            <a:r>
              <a:rPr lang="fi-FI" sz="1200" dirty="0" err="1"/>
              <a:t>pada</a:t>
            </a:r>
            <a:r>
              <a:rPr lang="fi-FI" sz="1200" dirty="0"/>
              <a:t> </a:t>
            </a:r>
            <a:r>
              <a:rPr lang="fi-FI" sz="1200" dirty="0" err="1"/>
              <a:t>Lampiran</a:t>
            </a:r>
            <a:r>
              <a:rPr lang="fi-FI" sz="1200" dirty="0"/>
              <a:t> </a:t>
            </a:r>
            <a:r>
              <a:rPr lang="fi-FI" sz="1200" dirty="0" err="1"/>
              <a:t>yang</a:t>
            </a:r>
            <a:r>
              <a:rPr lang="fi-FI" sz="1200" dirty="0"/>
              <a:t> </a:t>
            </a:r>
            <a:r>
              <a:rPr lang="fi-FI" sz="1200" dirty="0" err="1"/>
              <a:t>merupakan</a:t>
            </a:r>
            <a:r>
              <a:rPr lang="fi-FI" sz="1200" dirty="0"/>
              <a:t> </a:t>
            </a:r>
            <a:r>
              <a:rPr lang="fi-FI" sz="1200" dirty="0" err="1"/>
              <a:t>bagian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terpisahkan</a:t>
            </a:r>
            <a:r>
              <a:rPr lang="fi-FI" sz="1200" dirty="0"/>
              <a:t> dari Surat </a:t>
            </a:r>
            <a:r>
              <a:rPr lang="fi-FI" sz="1200" dirty="0" err="1"/>
              <a:t>Edaran</a:t>
            </a:r>
            <a:r>
              <a:rPr lang="fi-FI" sz="1200" dirty="0"/>
              <a:t> </a:t>
            </a:r>
            <a:r>
              <a:rPr lang="fi-FI" sz="1200" dirty="0" err="1"/>
              <a:t>ini</a:t>
            </a:r>
            <a:r>
              <a:rPr lang="fi-FI" sz="1200" dirty="0"/>
              <a:t>.</a:t>
            </a:r>
            <a:endParaRPr lang="en-US" sz="1200" dirty="0"/>
          </a:p>
        </p:txBody>
      </p:sp>
      <p:sp>
        <p:nvSpPr>
          <p:cNvPr id="15" name="Rectangle 14"/>
          <p:cNvSpPr/>
          <p:nvPr/>
        </p:nvSpPr>
        <p:spPr>
          <a:xfrm>
            <a:off x="-16326" y="1772570"/>
            <a:ext cx="12208326" cy="16401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      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6398" y="1205965"/>
            <a:ext cx="724890" cy="72489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-8163" y="4318328"/>
            <a:ext cx="12208326" cy="16401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 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1841" y="3896338"/>
            <a:ext cx="572338" cy="57233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3196" y="1361479"/>
            <a:ext cx="591185" cy="59118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76173" y="3901287"/>
            <a:ext cx="606457" cy="606457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65429" y="640492"/>
            <a:ext cx="7379029" cy="31638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defTabSz="914423">
              <a:tabLst>
                <a:tab pos="347671" algn="l"/>
              </a:tabLst>
              <a:defRPr/>
            </a:pPr>
            <a:r>
              <a:rPr lang="en-US" sz="2000" b="1" dirty="0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1. </a:t>
            </a:r>
            <a:r>
              <a:rPr lang="en-US" sz="2000" b="1" dirty="0" err="1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Pengajuan</a:t>
            </a:r>
            <a:r>
              <a:rPr lang="en-US" sz="2000" b="1" dirty="0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 </a:t>
            </a:r>
            <a:r>
              <a:rPr lang="en-US" sz="2000" b="1" dirty="0" err="1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Permohonan</a:t>
            </a:r>
            <a:r>
              <a:rPr lang="en-US" sz="2000" b="1" dirty="0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 </a:t>
            </a:r>
            <a:r>
              <a:rPr lang="en-US" sz="2000" b="1" dirty="0" err="1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Rekomendasi</a:t>
            </a:r>
            <a:r>
              <a:rPr lang="en-US" sz="2000" b="1" dirty="0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 </a:t>
            </a:r>
            <a:r>
              <a:rPr lang="en-US" sz="2000" b="1" dirty="0" err="1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Lisensi</a:t>
            </a:r>
            <a:r>
              <a:rPr lang="en-US" sz="2000" b="1" dirty="0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 LSP </a:t>
            </a:r>
            <a:r>
              <a:rPr lang="en-US" sz="2000" b="1" dirty="0" err="1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Baru</a:t>
            </a:r>
            <a:endParaRPr lang="en-US" sz="2000" b="1" dirty="0">
              <a:solidFill>
                <a:srgbClr val="0E4F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0066" y="1379895"/>
            <a:ext cx="654113" cy="6541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8587" y="1284671"/>
            <a:ext cx="643028" cy="64302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64315" y="1268281"/>
            <a:ext cx="637808" cy="637808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9898883" y="2038083"/>
            <a:ext cx="216867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 dirty="0"/>
              <a:t>Surat </a:t>
            </a:r>
            <a:r>
              <a:rPr lang="fi-FI" sz="1200" dirty="0" err="1"/>
              <a:t>permohonan</a:t>
            </a:r>
            <a:r>
              <a:rPr lang="fi-FI" sz="1200" dirty="0"/>
              <a:t> </a:t>
            </a:r>
            <a:r>
              <a:rPr lang="fi-FI" sz="1200" dirty="0" err="1"/>
              <a:t>rekomendasi</a:t>
            </a:r>
            <a:r>
              <a:rPr lang="fi-FI" sz="1200" dirty="0"/>
              <a:t> sebagaimana </a:t>
            </a:r>
            <a:r>
              <a:rPr lang="fi-FI" sz="1200" dirty="0" err="1"/>
              <a:t>dimaksud</a:t>
            </a:r>
            <a:r>
              <a:rPr lang="fi-FI" sz="1200" dirty="0"/>
              <a:t> </a:t>
            </a:r>
            <a:r>
              <a:rPr lang="fi-FI" sz="1200" dirty="0" err="1"/>
              <a:t>pada</a:t>
            </a:r>
            <a:r>
              <a:rPr lang="fi-FI" sz="1200" dirty="0"/>
              <a:t> </a:t>
            </a:r>
            <a:r>
              <a:rPr lang="fi-FI" sz="1200" dirty="0" err="1"/>
              <a:t>huruf</a:t>
            </a:r>
            <a:r>
              <a:rPr lang="fi-FI" sz="1200" dirty="0"/>
              <a:t> c </a:t>
            </a:r>
            <a:r>
              <a:rPr lang="fi-FI" sz="1200" dirty="0" err="1"/>
              <a:t>dilampiri</a:t>
            </a:r>
            <a:r>
              <a:rPr lang="fi-FI" sz="1200" dirty="0"/>
              <a:t> </a:t>
            </a:r>
            <a:r>
              <a:rPr lang="fi-FI" sz="1200" dirty="0" err="1"/>
              <a:t>dokumen</a:t>
            </a:r>
            <a:r>
              <a:rPr lang="fi-FI" sz="1200" dirty="0"/>
              <a:t> </a:t>
            </a:r>
            <a:r>
              <a:rPr lang="fi-FI" sz="1200" dirty="0" err="1"/>
              <a:t>persyaratan</a:t>
            </a:r>
            <a:r>
              <a:rPr lang="fi-FI" sz="1200" dirty="0"/>
              <a:t> sebagaimana </a:t>
            </a:r>
            <a:r>
              <a:rPr lang="fi-FI" sz="1200" dirty="0" err="1"/>
              <a:t>tercantum</a:t>
            </a:r>
            <a:r>
              <a:rPr lang="fi-FI" sz="1200" dirty="0"/>
              <a:t> </a:t>
            </a:r>
            <a:r>
              <a:rPr lang="fi-FI" sz="1200" dirty="0" err="1"/>
              <a:t>dalam</a:t>
            </a:r>
            <a:r>
              <a:rPr lang="fi-FI" sz="1200" dirty="0"/>
              <a:t> </a:t>
            </a:r>
            <a:r>
              <a:rPr lang="fi-FI" sz="1200" dirty="0" err="1">
                <a:solidFill>
                  <a:srgbClr val="FF0000"/>
                </a:solidFill>
              </a:rPr>
              <a:t>Format</a:t>
            </a:r>
            <a:r>
              <a:rPr lang="fi-FI" sz="1200" dirty="0">
                <a:solidFill>
                  <a:srgbClr val="FF0000"/>
                </a:solidFill>
              </a:rPr>
              <a:t> II</a:t>
            </a:r>
            <a:r>
              <a:rPr lang="fi-FI" sz="1200" dirty="0"/>
              <a:t> </a:t>
            </a:r>
            <a:r>
              <a:rPr lang="fi-FI" sz="1200" dirty="0" err="1"/>
              <a:t>pada</a:t>
            </a:r>
            <a:r>
              <a:rPr lang="fi-FI" sz="1200" dirty="0"/>
              <a:t> </a:t>
            </a:r>
            <a:r>
              <a:rPr lang="fi-FI" sz="1200" dirty="0" err="1"/>
              <a:t>Lampiran</a:t>
            </a:r>
            <a:r>
              <a:rPr lang="fi-FI" sz="1200" dirty="0"/>
              <a:t> </a:t>
            </a:r>
            <a:r>
              <a:rPr lang="fi-FI" sz="1200" dirty="0" err="1"/>
              <a:t>yang</a:t>
            </a:r>
            <a:r>
              <a:rPr lang="fi-FI" sz="1200" dirty="0"/>
              <a:t> </a:t>
            </a:r>
            <a:r>
              <a:rPr lang="fi-FI" sz="1200" dirty="0" err="1"/>
              <a:t>merupakan</a:t>
            </a:r>
            <a:r>
              <a:rPr lang="fi-FI" sz="1200" dirty="0"/>
              <a:t> </a:t>
            </a:r>
            <a:r>
              <a:rPr lang="fi-FI" sz="1200" dirty="0" err="1"/>
              <a:t>bagian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terpisahkan</a:t>
            </a:r>
            <a:r>
              <a:rPr lang="fi-FI" sz="1200" dirty="0"/>
              <a:t> dari Surat </a:t>
            </a:r>
            <a:r>
              <a:rPr lang="fi-FI" sz="1200" dirty="0" err="1"/>
              <a:t>Edaran</a:t>
            </a:r>
            <a:r>
              <a:rPr lang="fi-FI" sz="1200" dirty="0"/>
              <a:t> </a:t>
            </a:r>
            <a:r>
              <a:rPr lang="fi-FI" sz="1200" dirty="0" err="1"/>
              <a:t>ini</a:t>
            </a:r>
            <a:r>
              <a:rPr lang="fi-FI" sz="1200" dirty="0"/>
              <a:t>.</a:t>
            </a:r>
            <a:endParaRPr lang="en-US" sz="1200" dirty="0">
              <a:solidFill>
                <a:srgbClr val="FF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1210" y="3792478"/>
            <a:ext cx="715266" cy="715266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20987" y="4507744"/>
            <a:ext cx="235571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 dirty="0"/>
              <a:t>Tim </a:t>
            </a:r>
            <a:r>
              <a:rPr lang="fi-FI" sz="1200" dirty="0" err="1"/>
              <a:t>Pemberian</a:t>
            </a:r>
            <a:r>
              <a:rPr lang="fi-FI" sz="1200" dirty="0"/>
              <a:t> </a:t>
            </a:r>
            <a:r>
              <a:rPr lang="fi-FI" sz="1200" dirty="0" err="1"/>
              <a:t>Rekomendasi</a:t>
            </a:r>
            <a:r>
              <a:rPr lang="fi-FI" sz="1200" dirty="0"/>
              <a:t> LSP </a:t>
            </a:r>
            <a:r>
              <a:rPr lang="fi-FI" sz="1200" dirty="0" err="1"/>
              <a:t>dan</a:t>
            </a:r>
            <a:r>
              <a:rPr lang="fi-FI" sz="1200" dirty="0"/>
              <a:t> </a:t>
            </a:r>
            <a:r>
              <a:rPr lang="fi-FI" sz="1200" dirty="0" err="1"/>
              <a:t>Pencatatan</a:t>
            </a:r>
            <a:r>
              <a:rPr lang="fi-FI" sz="1200" dirty="0"/>
              <a:t> LSP </a:t>
            </a:r>
            <a:r>
              <a:rPr lang="fi-FI" sz="1200" dirty="0" err="1"/>
              <a:t>terlisensi</a:t>
            </a:r>
            <a:r>
              <a:rPr lang="fi-FI" sz="1200" dirty="0"/>
              <a:t> </a:t>
            </a:r>
            <a:r>
              <a:rPr lang="fi-FI" sz="1200" dirty="0" err="1"/>
              <a:t>menerima</a:t>
            </a:r>
            <a:r>
              <a:rPr lang="fi-FI" sz="1200" dirty="0"/>
              <a:t> </a:t>
            </a:r>
            <a:r>
              <a:rPr lang="fi-FI" sz="1200" dirty="0" err="1"/>
              <a:t>permohonan</a:t>
            </a:r>
            <a:r>
              <a:rPr lang="fi-FI" sz="1200" dirty="0"/>
              <a:t> </a:t>
            </a:r>
            <a:r>
              <a:rPr lang="fi-FI" sz="1200" dirty="0" err="1"/>
              <a:t>dan</a:t>
            </a:r>
            <a:r>
              <a:rPr lang="fi-FI" sz="1200" dirty="0"/>
              <a:t> melakukan </a:t>
            </a:r>
            <a:r>
              <a:rPr lang="fi-FI" sz="1200" dirty="0" err="1"/>
              <a:t>pemeriksaan</a:t>
            </a:r>
            <a:r>
              <a:rPr lang="fi-FI" sz="1200" dirty="0"/>
              <a:t> </a:t>
            </a:r>
            <a:r>
              <a:rPr lang="fi-FI" sz="1200" dirty="0" err="1"/>
              <a:t>kelengkapan</a:t>
            </a:r>
            <a:r>
              <a:rPr lang="fi-FI" sz="1200" dirty="0"/>
              <a:t> </a:t>
            </a:r>
            <a:r>
              <a:rPr lang="fi-FI" sz="1200" dirty="0" err="1"/>
              <a:t>dokumen</a:t>
            </a:r>
            <a:r>
              <a:rPr lang="fi-FI" sz="1200" dirty="0"/>
              <a:t> </a:t>
            </a:r>
            <a:r>
              <a:rPr lang="fi-FI" sz="1200" dirty="0" err="1"/>
              <a:t>permohonan</a:t>
            </a:r>
            <a:r>
              <a:rPr lang="fi-FI" sz="1200" dirty="0"/>
              <a:t> </a:t>
            </a:r>
            <a:r>
              <a:rPr lang="fi-FI" sz="1200" dirty="0" err="1"/>
              <a:t>paling</a:t>
            </a:r>
            <a:r>
              <a:rPr lang="fi-FI" sz="1200" dirty="0"/>
              <a:t> lama 3 (</a:t>
            </a:r>
            <a:r>
              <a:rPr lang="fi-FI" sz="1200" dirty="0" err="1"/>
              <a:t>tiga</a:t>
            </a:r>
            <a:r>
              <a:rPr lang="fi-FI" sz="1200" dirty="0"/>
              <a:t>) hari </a:t>
            </a:r>
            <a:r>
              <a:rPr lang="fi-FI" sz="1200" dirty="0" err="1"/>
              <a:t>kerja</a:t>
            </a:r>
            <a:r>
              <a:rPr lang="fi-FI" sz="1200" dirty="0"/>
              <a:t> </a:t>
            </a:r>
            <a:r>
              <a:rPr lang="fi-FI" sz="1200" dirty="0" err="1"/>
              <a:t>dan</a:t>
            </a:r>
            <a:r>
              <a:rPr lang="fi-FI" sz="1200" dirty="0"/>
              <a:t> </a:t>
            </a:r>
            <a:r>
              <a:rPr lang="fi-FI" sz="1200" dirty="0" err="1"/>
              <a:t>dituangkan</a:t>
            </a:r>
            <a:r>
              <a:rPr lang="fi-FI" sz="1200" dirty="0"/>
              <a:t> </a:t>
            </a:r>
            <a:r>
              <a:rPr lang="fi-FI" sz="1200" dirty="0" err="1"/>
              <a:t>dalam</a:t>
            </a:r>
            <a:r>
              <a:rPr lang="fi-FI" sz="1200" dirty="0"/>
              <a:t> </a:t>
            </a:r>
            <a:r>
              <a:rPr lang="fi-FI" sz="1200" dirty="0" err="1"/>
              <a:t>daftar</a:t>
            </a:r>
            <a:r>
              <a:rPr lang="fi-FI" sz="1200" dirty="0"/>
              <a:t> </a:t>
            </a:r>
            <a:r>
              <a:rPr lang="fi-FI" sz="1200" dirty="0" err="1"/>
              <a:t>periksa</a:t>
            </a:r>
            <a:r>
              <a:rPr lang="fi-FI" sz="1200" dirty="0"/>
              <a:t> </a:t>
            </a:r>
            <a:r>
              <a:rPr lang="fi-FI" sz="1200" dirty="0" err="1"/>
              <a:t>kelengkapan</a:t>
            </a:r>
            <a:r>
              <a:rPr lang="fi-FI" sz="1200" dirty="0"/>
              <a:t> </a:t>
            </a:r>
            <a:r>
              <a:rPr lang="fi-FI" sz="1200" dirty="0" err="1"/>
              <a:t>dokumen</a:t>
            </a:r>
            <a:r>
              <a:rPr lang="fi-FI" sz="1200" dirty="0"/>
              <a:t> </a:t>
            </a:r>
            <a:r>
              <a:rPr lang="fi-FI" sz="1200" dirty="0" err="1"/>
              <a:t>permohonan</a:t>
            </a:r>
            <a:r>
              <a:rPr lang="fi-FI" sz="1200" dirty="0"/>
              <a:t> </a:t>
            </a:r>
            <a:r>
              <a:rPr lang="fi-FI" sz="1200" dirty="0" err="1"/>
              <a:t>sesuai</a:t>
            </a:r>
            <a:r>
              <a:rPr lang="fi-FI" sz="1200" dirty="0"/>
              <a:t> </a:t>
            </a:r>
            <a:r>
              <a:rPr lang="fi-FI" sz="1200" dirty="0" err="1"/>
              <a:t>dengan</a:t>
            </a:r>
            <a:r>
              <a:rPr lang="fi-FI" sz="1200" dirty="0"/>
              <a:t> </a:t>
            </a:r>
            <a:r>
              <a:rPr lang="fi-FI" sz="1200" dirty="0" err="1">
                <a:solidFill>
                  <a:srgbClr val="FF0000"/>
                </a:solidFill>
              </a:rPr>
              <a:t>Format</a:t>
            </a:r>
            <a:r>
              <a:rPr lang="fi-FI" sz="1200" dirty="0">
                <a:solidFill>
                  <a:srgbClr val="FF0000"/>
                </a:solidFill>
              </a:rPr>
              <a:t> III </a:t>
            </a:r>
            <a:r>
              <a:rPr lang="fi-FI" sz="1200" dirty="0" err="1"/>
              <a:t>pada</a:t>
            </a:r>
            <a:r>
              <a:rPr lang="fi-FI" sz="1200" dirty="0"/>
              <a:t> </a:t>
            </a:r>
            <a:r>
              <a:rPr lang="fi-FI" sz="1200" dirty="0" err="1"/>
              <a:t>Lampiran</a:t>
            </a:r>
            <a:r>
              <a:rPr lang="fi-FI" sz="1200" dirty="0"/>
              <a:t> </a:t>
            </a:r>
            <a:r>
              <a:rPr lang="fi-FI" sz="1200" dirty="0" err="1"/>
              <a:t>yang</a:t>
            </a:r>
            <a:r>
              <a:rPr lang="fi-FI" sz="1200" dirty="0"/>
              <a:t> </a:t>
            </a:r>
            <a:r>
              <a:rPr lang="fi-FI" sz="1200" dirty="0" err="1"/>
              <a:t>merupakan</a:t>
            </a:r>
            <a:r>
              <a:rPr lang="fi-FI" sz="1200" dirty="0"/>
              <a:t> </a:t>
            </a:r>
            <a:r>
              <a:rPr lang="fi-FI" sz="1200" dirty="0" err="1"/>
              <a:t>bagian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terpisahkan</a:t>
            </a:r>
            <a:r>
              <a:rPr lang="fi-FI" sz="1200" dirty="0"/>
              <a:t> dari Surat </a:t>
            </a:r>
            <a:r>
              <a:rPr lang="fi-FI" sz="1200" dirty="0" err="1"/>
              <a:t>Edaran</a:t>
            </a:r>
            <a:r>
              <a:rPr lang="fi-FI" sz="1200" dirty="0"/>
              <a:t> </a:t>
            </a:r>
            <a:r>
              <a:rPr lang="fi-FI" sz="1200" dirty="0" err="1"/>
              <a:t>ini</a:t>
            </a:r>
            <a:r>
              <a:rPr lang="fi-FI" sz="1200" dirty="0"/>
              <a:t>. 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772448" y="4523991"/>
            <a:ext cx="209603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/>
              <a:t>Dalam</a:t>
            </a:r>
            <a:r>
              <a:rPr lang="fi-FI" sz="1200" dirty="0"/>
              <a:t> </a:t>
            </a:r>
            <a:r>
              <a:rPr lang="fi-FI" sz="1200" dirty="0" err="1"/>
              <a:t>hal</a:t>
            </a:r>
            <a:r>
              <a:rPr lang="fi-FI" sz="1200" dirty="0"/>
              <a:t> </a:t>
            </a:r>
            <a:r>
              <a:rPr lang="fi-FI" sz="1200" dirty="0" err="1"/>
              <a:t>terdapat</a:t>
            </a:r>
            <a:r>
              <a:rPr lang="fi-FI" sz="1200" dirty="0"/>
              <a:t> </a:t>
            </a:r>
            <a:r>
              <a:rPr lang="fi-FI" sz="1200" dirty="0" err="1"/>
              <a:t>dokumen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lengkap</a:t>
            </a:r>
            <a:r>
              <a:rPr lang="fi-FI" sz="1200" dirty="0"/>
              <a:t> </a:t>
            </a:r>
            <a:r>
              <a:rPr lang="fi-FI" sz="1200" dirty="0" err="1"/>
              <a:t>atau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memenuhi</a:t>
            </a:r>
            <a:r>
              <a:rPr lang="fi-FI" sz="1200" dirty="0"/>
              <a:t> </a:t>
            </a:r>
            <a:r>
              <a:rPr lang="fi-FI" sz="1200" dirty="0" err="1"/>
              <a:t>persyaratan</a:t>
            </a:r>
            <a:r>
              <a:rPr lang="fi-FI" sz="1200" dirty="0"/>
              <a:t>, </a:t>
            </a:r>
            <a:r>
              <a:rPr lang="fi-FI" sz="1200" dirty="0" err="1"/>
              <a:t>maka</a:t>
            </a:r>
            <a:r>
              <a:rPr lang="fi-FI" sz="1200" dirty="0"/>
              <a:t> Tim </a:t>
            </a:r>
            <a:r>
              <a:rPr lang="fi-FI" sz="1200" dirty="0" err="1"/>
              <a:t>Pemberian</a:t>
            </a:r>
            <a:r>
              <a:rPr lang="fi-FI" sz="1200" dirty="0"/>
              <a:t> </a:t>
            </a:r>
            <a:r>
              <a:rPr lang="fi-FI" sz="1200" dirty="0" err="1"/>
              <a:t>Rekomendasi</a:t>
            </a:r>
            <a:r>
              <a:rPr lang="fi-FI" sz="1200" dirty="0"/>
              <a:t> LSP </a:t>
            </a:r>
            <a:r>
              <a:rPr lang="fi-FI" sz="1200" dirty="0" err="1"/>
              <a:t>dan</a:t>
            </a:r>
            <a:r>
              <a:rPr lang="fi-FI" sz="1200" dirty="0"/>
              <a:t> </a:t>
            </a:r>
            <a:r>
              <a:rPr lang="fi-FI" sz="1200" dirty="0" err="1"/>
              <a:t>Pencatatan</a:t>
            </a:r>
            <a:r>
              <a:rPr lang="fi-FI" sz="1200" dirty="0"/>
              <a:t> LSP </a:t>
            </a:r>
            <a:r>
              <a:rPr lang="fi-FI" sz="1200" dirty="0" err="1"/>
              <a:t>terlisensi</a:t>
            </a:r>
            <a:r>
              <a:rPr lang="fi-FI" sz="1200" dirty="0"/>
              <a:t> </a:t>
            </a:r>
            <a:r>
              <a:rPr lang="fi-FI" sz="1200" dirty="0" err="1"/>
              <a:t>menyampaikan</a:t>
            </a:r>
            <a:r>
              <a:rPr lang="fi-FI" sz="1200" dirty="0"/>
              <a:t> </a:t>
            </a:r>
            <a:r>
              <a:rPr lang="fi-FI" sz="1200" dirty="0" err="1"/>
              <a:t>pemberitahuan</a:t>
            </a:r>
            <a:r>
              <a:rPr lang="fi-FI" sz="1200" dirty="0"/>
              <a:t> </a:t>
            </a:r>
            <a:r>
              <a:rPr lang="fi-FI" sz="1200" dirty="0" err="1"/>
              <a:t>melalui</a:t>
            </a:r>
            <a:r>
              <a:rPr lang="fi-FI" sz="1200" dirty="0"/>
              <a:t> </a:t>
            </a:r>
            <a:r>
              <a:rPr lang="fi-FI" sz="1200" dirty="0" err="1"/>
              <a:t>aplikasi</a:t>
            </a:r>
            <a:r>
              <a:rPr lang="fi-FI" sz="1200" dirty="0"/>
              <a:t> </a:t>
            </a:r>
            <a:r>
              <a:rPr lang="fi-FI" sz="1200" dirty="0" err="1"/>
              <a:t>Portal</a:t>
            </a:r>
            <a:r>
              <a:rPr lang="fi-FI" sz="1200" dirty="0"/>
              <a:t> </a:t>
            </a:r>
            <a:r>
              <a:rPr lang="fi-FI" sz="1200" dirty="0" err="1"/>
              <a:t>Perizinan</a:t>
            </a:r>
            <a:r>
              <a:rPr lang="fi-FI" sz="1200" dirty="0"/>
              <a:t> PUPR </a:t>
            </a:r>
            <a:r>
              <a:rPr lang="fi-FI" sz="1200" dirty="0" err="1"/>
              <a:t>kepada</a:t>
            </a:r>
            <a:r>
              <a:rPr lang="fi-FI" sz="1200" dirty="0"/>
              <a:t> </a:t>
            </a:r>
            <a:r>
              <a:rPr lang="fi-FI" sz="1200" dirty="0" err="1"/>
              <a:t>pemohon</a:t>
            </a:r>
            <a:r>
              <a:rPr lang="fi-FI" sz="1200" dirty="0"/>
              <a:t> </a:t>
            </a:r>
            <a:r>
              <a:rPr lang="fi-FI" sz="1200" dirty="0" err="1"/>
              <a:t>dengan</a:t>
            </a:r>
            <a:r>
              <a:rPr lang="fi-FI" sz="1200" dirty="0"/>
              <a:t> </a:t>
            </a:r>
            <a:r>
              <a:rPr lang="fi-FI" sz="1200" dirty="0" err="1"/>
              <a:t>melampirkan</a:t>
            </a:r>
            <a:r>
              <a:rPr lang="fi-FI" sz="1200" dirty="0"/>
              <a:t> </a:t>
            </a:r>
            <a:r>
              <a:rPr lang="fi-FI" sz="1200" dirty="0" err="1"/>
              <a:t>rincian</a:t>
            </a:r>
            <a:r>
              <a:rPr lang="fi-FI" sz="1200" dirty="0"/>
              <a:t> </a:t>
            </a:r>
            <a:r>
              <a:rPr lang="fi-FI" sz="1200" dirty="0" err="1"/>
              <a:t>hasil</a:t>
            </a:r>
            <a:r>
              <a:rPr lang="fi-FI" sz="1200" dirty="0"/>
              <a:t> </a:t>
            </a:r>
            <a:r>
              <a:rPr lang="fi-FI" sz="1200" dirty="0" err="1"/>
              <a:t>pemeriksaan</a:t>
            </a:r>
            <a:r>
              <a:rPr lang="fi-FI" sz="1200" dirty="0"/>
              <a:t> </a:t>
            </a:r>
            <a:r>
              <a:rPr lang="fi-FI" sz="1200" dirty="0" err="1"/>
              <a:t>dokumen</a:t>
            </a:r>
            <a:r>
              <a:rPr lang="fi-FI" sz="1200" dirty="0"/>
              <a:t> </a:t>
            </a:r>
            <a:r>
              <a:rPr lang="fi-FI" sz="1200" dirty="0" err="1"/>
              <a:t>permohonan</a:t>
            </a:r>
            <a:r>
              <a:rPr lang="fi-FI" sz="1200" dirty="0"/>
              <a:t>.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919853" y="4523991"/>
            <a:ext cx="20272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 dirty="0" err="1"/>
              <a:t>Dokumen</a:t>
            </a:r>
            <a:r>
              <a:rPr lang="fi-FI" sz="1200" dirty="0"/>
              <a:t> </a:t>
            </a:r>
            <a:r>
              <a:rPr lang="fi-FI" sz="1200" dirty="0" err="1"/>
              <a:t>yang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lengkap</a:t>
            </a:r>
            <a:r>
              <a:rPr lang="fi-FI" sz="1200" dirty="0"/>
              <a:t> </a:t>
            </a:r>
            <a:r>
              <a:rPr lang="fi-FI" sz="1200" dirty="0" err="1"/>
              <a:t>atau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memenuhi</a:t>
            </a:r>
            <a:r>
              <a:rPr lang="fi-FI" sz="1200" dirty="0"/>
              <a:t> </a:t>
            </a:r>
            <a:r>
              <a:rPr lang="fi-FI" sz="1200" dirty="0" err="1"/>
              <a:t>persyaratan</a:t>
            </a:r>
            <a:r>
              <a:rPr lang="fi-FI" sz="1200" dirty="0"/>
              <a:t> sebagaimana </a:t>
            </a:r>
            <a:r>
              <a:rPr lang="fi-FI" sz="1200" dirty="0" err="1"/>
              <a:t>dimaksud</a:t>
            </a:r>
            <a:r>
              <a:rPr lang="fi-FI" sz="1200" dirty="0"/>
              <a:t> </a:t>
            </a:r>
            <a:r>
              <a:rPr lang="fi-FI" sz="1200" dirty="0" err="1"/>
              <a:t>pada</a:t>
            </a:r>
            <a:r>
              <a:rPr lang="fi-FI" sz="1200" dirty="0"/>
              <a:t> </a:t>
            </a:r>
            <a:r>
              <a:rPr lang="fi-FI" sz="1200" dirty="0" err="1"/>
              <a:t>huruf</a:t>
            </a:r>
            <a:r>
              <a:rPr lang="fi-FI" sz="1200" dirty="0"/>
              <a:t> f, </a:t>
            </a:r>
            <a:r>
              <a:rPr lang="fi-FI" sz="1200" dirty="0" err="1"/>
              <a:t>dikembalikan</a:t>
            </a:r>
            <a:r>
              <a:rPr lang="fi-FI" sz="1200" dirty="0"/>
              <a:t> </a:t>
            </a:r>
            <a:r>
              <a:rPr lang="fi-FI" sz="1200" dirty="0" err="1"/>
              <a:t>untuk</a:t>
            </a:r>
            <a:r>
              <a:rPr lang="fi-FI" sz="1200" dirty="0"/>
              <a:t> </a:t>
            </a:r>
            <a:r>
              <a:rPr lang="fi-FI" sz="1200" dirty="0" err="1"/>
              <a:t>dilengkapi</a:t>
            </a:r>
            <a:r>
              <a:rPr lang="fi-FI" sz="1200" dirty="0"/>
              <a:t> </a:t>
            </a:r>
            <a:r>
              <a:rPr lang="fi-FI" sz="1200" dirty="0" err="1"/>
              <a:t>paling</a:t>
            </a:r>
            <a:r>
              <a:rPr lang="fi-FI" sz="1200" dirty="0"/>
              <a:t> </a:t>
            </a:r>
            <a:r>
              <a:rPr lang="fi-FI" sz="1200" dirty="0" err="1"/>
              <a:t>lambat</a:t>
            </a:r>
            <a:r>
              <a:rPr lang="fi-FI" sz="1200" dirty="0"/>
              <a:t> 5 (lima) hari </a:t>
            </a:r>
            <a:r>
              <a:rPr lang="fi-FI" sz="1200" dirty="0" err="1"/>
              <a:t>kerja</a:t>
            </a:r>
            <a:r>
              <a:rPr lang="fi-FI" sz="1200" dirty="0"/>
              <a:t> </a:t>
            </a:r>
            <a:r>
              <a:rPr lang="fi-FI" sz="1200" dirty="0" err="1"/>
              <a:t>sejak</a:t>
            </a:r>
            <a:r>
              <a:rPr lang="fi-FI" sz="1200" dirty="0"/>
              <a:t> </a:t>
            </a:r>
            <a:r>
              <a:rPr lang="fi-FI" sz="1200" dirty="0" err="1"/>
              <a:t>notifikasi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lengkap</a:t>
            </a:r>
            <a:r>
              <a:rPr lang="fi-FI" sz="1200" dirty="0"/>
              <a:t> </a:t>
            </a:r>
            <a:r>
              <a:rPr lang="fi-FI" sz="1200" dirty="0" err="1"/>
              <a:t>atau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memenuhi</a:t>
            </a:r>
            <a:r>
              <a:rPr lang="fi-FI" sz="1200" dirty="0"/>
              <a:t> </a:t>
            </a:r>
            <a:r>
              <a:rPr lang="fi-FI" sz="1200" dirty="0" err="1"/>
              <a:t>persyaratan</a:t>
            </a:r>
            <a:r>
              <a:rPr lang="fi-FI" sz="1200" dirty="0"/>
              <a:t> </a:t>
            </a:r>
            <a:r>
              <a:rPr lang="fi-FI" sz="1200" dirty="0" err="1"/>
              <a:t>diterima</a:t>
            </a:r>
            <a:r>
              <a:rPr lang="fi-FI" sz="1200" dirty="0"/>
              <a:t> </a:t>
            </a:r>
            <a:r>
              <a:rPr lang="fi-FI" sz="1200" dirty="0" err="1"/>
              <a:t>oleh</a:t>
            </a:r>
            <a:r>
              <a:rPr lang="fi-FI" sz="1200" dirty="0"/>
              <a:t> </a:t>
            </a:r>
            <a:r>
              <a:rPr lang="fi-FI" sz="1200" dirty="0" err="1"/>
              <a:t>pemohon</a:t>
            </a:r>
            <a:r>
              <a:rPr lang="fi-FI" sz="1200" dirty="0"/>
              <a:t> </a:t>
            </a:r>
            <a:r>
              <a:rPr lang="fi-FI" sz="1200" dirty="0" err="1"/>
              <a:t>melalui</a:t>
            </a:r>
            <a:r>
              <a:rPr lang="fi-FI" sz="1200" dirty="0"/>
              <a:t> </a:t>
            </a:r>
            <a:r>
              <a:rPr lang="fi-FI" sz="1200" dirty="0" err="1"/>
              <a:t>aplikasi</a:t>
            </a:r>
            <a:r>
              <a:rPr lang="fi-FI" sz="1200" dirty="0"/>
              <a:t> </a:t>
            </a:r>
            <a:r>
              <a:rPr lang="fi-FI" sz="1200" dirty="0" err="1"/>
              <a:t>Portal</a:t>
            </a:r>
            <a:r>
              <a:rPr lang="fi-FI" sz="1200" dirty="0"/>
              <a:t> </a:t>
            </a:r>
            <a:r>
              <a:rPr lang="fi-FI" sz="1200" dirty="0" err="1"/>
              <a:t>Perizinan</a:t>
            </a:r>
            <a:r>
              <a:rPr lang="fi-FI" sz="1200" dirty="0"/>
              <a:t> PUPR.</a:t>
            </a:r>
            <a:endParaRPr lang="en-US" sz="1200" dirty="0">
              <a:solidFill>
                <a:srgbClr val="FF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44458" y="3879788"/>
            <a:ext cx="632297" cy="63229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6834415" y="4527076"/>
            <a:ext cx="18523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 dirty="0" err="1"/>
              <a:t>Pemohon</a:t>
            </a:r>
            <a:r>
              <a:rPr lang="fi-FI" sz="1200" dirty="0"/>
              <a:t> </a:t>
            </a:r>
            <a:r>
              <a:rPr lang="fi-FI" sz="1200" dirty="0" err="1"/>
              <a:t>yang</a:t>
            </a:r>
            <a:r>
              <a:rPr lang="fi-FI" sz="1200" dirty="0"/>
              <a:t> </a:t>
            </a:r>
            <a:r>
              <a:rPr lang="fi-FI" sz="1200" dirty="0" err="1"/>
              <a:t>tidak</a:t>
            </a:r>
            <a:r>
              <a:rPr lang="fi-FI" sz="1200" dirty="0"/>
              <a:t> </a:t>
            </a:r>
            <a:r>
              <a:rPr lang="fi-FI" sz="1200" dirty="0" err="1"/>
              <a:t>menyampaikan</a:t>
            </a:r>
            <a:r>
              <a:rPr lang="fi-FI" sz="1200" dirty="0"/>
              <a:t> </a:t>
            </a:r>
            <a:r>
              <a:rPr lang="fi-FI" sz="1200" dirty="0" err="1"/>
              <a:t>kekurangan</a:t>
            </a:r>
            <a:r>
              <a:rPr lang="fi-FI" sz="1200" dirty="0"/>
              <a:t> </a:t>
            </a:r>
            <a:r>
              <a:rPr lang="fi-FI" sz="1200" dirty="0" err="1"/>
              <a:t>dokumen</a:t>
            </a:r>
            <a:r>
              <a:rPr lang="fi-FI" sz="1200" dirty="0"/>
              <a:t> sebagaimana </a:t>
            </a:r>
            <a:r>
              <a:rPr lang="fi-FI" sz="1200" dirty="0" err="1"/>
              <a:t>dimaksud</a:t>
            </a:r>
            <a:r>
              <a:rPr lang="fi-FI" sz="1200" dirty="0"/>
              <a:t> </a:t>
            </a:r>
            <a:r>
              <a:rPr lang="fi-FI" sz="1200" dirty="0" err="1"/>
              <a:t>pada</a:t>
            </a:r>
            <a:r>
              <a:rPr lang="fi-FI" sz="1200" dirty="0"/>
              <a:t> </a:t>
            </a:r>
            <a:r>
              <a:rPr lang="fi-FI" sz="1200" dirty="0" err="1"/>
              <a:t>huruf</a:t>
            </a:r>
            <a:r>
              <a:rPr lang="fi-FI" sz="1200" dirty="0"/>
              <a:t> g, </a:t>
            </a:r>
            <a:r>
              <a:rPr lang="fi-FI" sz="1200" dirty="0" err="1"/>
              <a:t>permohonannya</a:t>
            </a:r>
            <a:r>
              <a:rPr lang="fi-FI" sz="1200" dirty="0"/>
              <a:t> </a:t>
            </a:r>
            <a:r>
              <a:rPr lang="fi-FI" sz="1200" dirty="0" err="1"/>
              <a:t>dinyatakan</a:t>
            </a:r>
            <a:r>
              <a:rPr lang="fi-FI" sz="1200" dirty="0"/>
              <a:t> </a:t>
            </a:r>
            <a:r>
              <a:rPr lang="fi-FI" sz="1200" dirty="0" err="1"/>
              <a:t>gugur</a:t>
            </a:r>
            <a:r>
              <a:rPr lang="fi-FI" sz="1200" dirty="0"/>
              <a:t>.</a:t>
            </a:r>
            <a:endParaRPr lang="en-US" sz="1200" dirty="0">
              <a:solidFill>
                <a:srgbClr val="FF0000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01713" y="3816580"/>
            <a:ext cx="691164" cy="691164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8521102" y="4537674"/>
            <a:ext cx="160567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 dirty="0"/>
              <a:t>Permohonan yang dinyatakan lengkap dilanjutkan ke tahap verifikasi dan validasi. Jika lengkap, akan diterbitkan surat Rekomendasi Lisensi LSP</a:t>
            </a:r>
            <a:endParaRPr lang="en-US" sz="1200" dirty="0">
              <a:solidFill>
                <a:srgbClr val="FF0000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817835" y="3865514"/>
            <a:ext cx="606323" cy="606323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10180913" y="4527165"/>
            <a:ext cx="185238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200" dirty="0" err="1"/>
              <a:t>Ketentuan</a:t>
            </a:r>
            <a:r>
              <a:rPr lang="fi-FI" sz="1200" dirty="0"/>
              <a:t> </a:t>
            </a:r>
            <a:r>
              <a:rPr lang="fi-FI" sz="1200" dirty="0" err="1"/>
              <a:t>permohonan</a:t>
            </a:r>
            <a:r>
              <a:rPr lang="fi-FI" sz="1200" dirty="0"/>
              <a:t> </a:t>
            </a:r>
            <a:r>
              <a:rPr lang="fi-FI" sz="1200" dirty="0" err="1"/>
              <a:t>Rekomendasi</a:t>
            </a:r>
            <a:r>
              <a:rPr lang="fi-FI" sz="1200" dirty="0"/>
              <a:t> </a:t>
            </a:r>
            <a:r>
              <a:rPr lang="fi-FI" sz="1200" dirty="0" err="1"/>
              <a:t>Lisensi</a:t>
            </a:r>
            <a:r>
              <a:rPr lang="fi-FI" sz="1200" dirty="0"/>
              <a:t> LSP Baru sebagaimana </a:t>
            </a:r>
            <a:r>
              <a:rPr lang="fi-FI" sz="1200" dirty="0" err="1"/>
              <a:t>dimaksud</a:t>
            </a:r>
            <a:r>
              <a:rPr lang="fi-FI" sz="1200" dirty="0"/>
              <a:t> </a:t>
            </a:r>
            <a:r>
              <a:rPr lang="fi-FI" sz="1200" dirty="0" err="1"/>
              <a:t>pada</a:t>
            </a:r>
            <a:r>
              <a:rPr lang="fi-FI" sz="1200" dirty="0"/>
              <a:t> </a:t>
            </a:r>
            <a:r>
              <a:rPr lang="fi-FI" sz="1200" dirty="0" err="1"/>
              <a:t>huruf</a:t>
            </a:r>
            <a:r>
              <a:rPr lang="fi-FI" sz="1200" dirty="0"/>
              <a:t> a </a:t>
            </a:r>
            <a:r>
              <a:rPr lang="fi-FI" sz="1200" dirty="0" err="1"/>
              <a:t>sampai</a:t>
            </a:r>
            <a:r>
              <a:rPr lang="fi-FI" sz="1200" dirty="0"/>
              <a:t> </a:t>
            </a:r>
            <a:r>
              <a:rPr lang="fi-FI" sz="1200" dirty="0" err="1"/>
              <a:t>dengan</a:t>
            </a:r>
            <a:r>
              <a:rPr lang="fi-FI" sz="1200" dirty="0"/>
              <a:t> </a:t>
            </a:r>
            <a:r>
              <a:rPr lang="fi-FI" sz="1200" dirty="0" err="1"/>
              <a:t>huruf</a:t>
            </a:r>
            <a:r>
              <a:rPr lang="fi-FI" sz="1200" dirty="0"/>
              <a:t> h </a:t>
            </a:r>
            <a:r>
              <a:rPr lang="fi-FI" sz="1200" dirty="0" err="1"/>
              <a:t>berlaku</a:t>
            </a:r>
            <a:r>
              <a:rPr lang="fi-FI" sz="1200" dirty="0"/>
              <a:t> </a:t>
            </a:r>
            <a:r>
              <a:rPr lang="fi-FI" sz="1200" dirty="0" err="1"/>
              <a:t>untuk</a:t>
            </a:r>
            <a:r>
              <a:rPr lang="fi-FI" sz="1200" dirty="0"/>
              <a:t> </a:t>
            </a:r>
            <a:r>
              <a:rPr lang="fi-FI" sz="1200" dirty="0" err="1"/>
              <a:t>permohonan</a:t>
            </a:r>
            <a:r>
              <a:rPr lang="fi-FI" sz="1200" dirty="0"/>
              <a:t> </a:t>
            </a:r>
            <a:r>
              <a:rPr lang="fi-FI" sz="1200" dirty="0" err="1"/>
              <a:t>rekomendasi</a:t>
            </a:r>
            <a:r>
              <a:rPr lang="fi-FI" sz="1200" dirty="0"/>
              <a:t> </a:t>
            </a:r>
            <a:r>
              <a:rPr lang="fi-FI" sz="1200" dirty="0" err="1"/>
              <a:t>lisensi</a:t>
            </a:r>
            <a:r>
              <a:rPr lang="fi-FI" sz="1200" dirty="0"/>
              <a:t> </a:t>
            </a:r>
            <a:r>
              <a:rPr lang="fi-FI" sz="1200" dirty="0" err="1"/>
              <a:t>perpanjangan</a:t>
            </a:r>
            <a:r>
              <a:rPr lang="fi-FI" sz="1200" dirty="0"/>
              <a:t>,  </a:t>
            </a:r>
            <a:r>
              <a:rPr lang="fi-FI" sz="1200" dirty="0" err="1"/>
              <a:t>dan</a:t>
            </a:r>
            <a:r>
              <a:rPr lang="fi-FI" sz="1200" dirty="0"/>
              <a:t> </a:t>
            </a:r>
            <a:r>
              <a:rPr lang="fi-FI" sz="1200" dirty="0" err="1"/>
              <a:t>permohonan</a:t>
            </a:r>
            <a:r>
              <a:rPr lang="fi-FI" sz="1200" dirty="0"/>
              <a:t> </a:t>
            </a:r>
            <a:r>
              <a:rPr lang="fi-FI" sz="1200" dirty="0" err="1"/>
              <a:t>rekomendasi</a:t>
            </a:r>
            <a:r>
              <a:rPr lang="fi-FI" sz="1200" dirty="0"/>
              <a:t> </a:t>
            </a:r>
            <a:r>
              <a:rPr lang="fi-FI" sz="1200" dirty="0" err="1"/>
              <a:t>lisensi</a:t>
            </a:r>
            <a:r>
              <a:rPr lang="fi-FI" sz="1200" dirty="0"/>
              <a:t> </a:t>
            </a:r>
            <a:r>
              <a:rPr lang="fi-FI" sz="1200" dirty="0" err="1"/>
              <a:t>penambahan</a:t>
            </a:r>
            <a:r>
              <a:rPr lang="fi-FI" sz="1200" dirty="0"/>
              <a:t> </a:t>
            </a:r>
            <a:r>
              <a:rPr lang="fi-FI" sz="1200" dirty="0" err="1"/>
              <a:t>ruang</a:t>
            </a:r>
            <a:r>
              <a:rPr lang="fi-FI" sz="1200" dirty="0"/>
              <a:t> </a:t>
            </a:r>
            <a:r>
              <a:rPr lang="fi-FI" sz="1200" dirty="0" err="1"/>
              <a:t>lingkup</a:t>
            </a:r>
            <a:r>
              <a:rPr lang="fi-FI" sz="1200" dirty="0"/>
              <a:t>.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748951" y="1690875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</a:t>
            </a:r>
          </a:p>
        </p:txBody>
      </p:sp>
      <p:sp>
        <p:nvSpPr>
          <p:cNvPr id="39" name="Oval 38"/>
          <p:cNvSpPr/>
          <p:nvPr/>
        </p:nvSpPr>
        <p:spPr>
          <a:xfrm>
            <a:off x="3234943" y="1693324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0" name="Oval 39"/>
          <p:cNvSpPr/>
          <p:nvPr/>
        </p:nvSpPr>
        <p:spPr>
          <a:xfrm>
            <a:off x="5595573" y="1675150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</a:t>
            </a:r>
          </a:p>
        </p:txBody>
      </p:sp>
      <p:sp>
        <p:nvSpPr>
          <p:cNvPr id="41" name="Oval 40"/>
          <p:cNvSpPr/>
          <p:nvPr/>
        </p:nvSpPr>
        <p:spPr>
          <a:xfrm>
            <a:off x="7961697" y="1690024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</a:t>
            </a:r>
          </a:p>
        </p:txBody>
      </p:sp>
      <p:sp>
        <p:nvSpPr>
          <p:cNvPr id="42" name="Oval 41"/>
          <p:cNvSpPr/>
          <p:nvPr/>
        </p:nvSpPr>
        <p:spPr>
          <a:xfrm>
            <a:off x="10373487" y="1683531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</a:t>
            </a:r>
          </a:p>
        </p:txBody>
      </p:sp>
      <p:sp>
        <p:nvSpPr>
          <p:cNvPr id="43" name="Oval 42"/>
          <p:cNvSpPr/>
          <p:nvPr/>
        </p:nvSpPr>
        <p:spPr>
          <a:xfrm>
            <a:off x="680370" y="4220231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</a:t>
            </a:r>
          </a:p>
        </p:txBody>
      </p:sp>
      <p:sp>
        <p:nvSpPr>
          <p:cNvPr id="45" name="Oval 44"/>
          <p:cNvSpPr/>
          <p:nvPr/>
        </p:nvSpPr>
        <p:spPr>
          <a:xfrm>
            <a:off x="3309343" y="4230864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</a:t>
            </a:r>
          </a:p>
        </p:txBody>
      </p:sp>
      <p:sp>
        <p:nvSpPr>
          <p:cNvPr id="46" name="Oval 45"/>
          <p:cNvSpPr/>
          <p:nvPr/>
        </p:nvSpPr>
        <p:spPr>
          <a:xfrm>
            <a:off x="5263159" y="4225234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</a:t>
            </a:r>
          </a:p>
        </p:txBody>
      </p:sp>
      <p:sp>
        <p:nvSpPr>
          <p:cNvPr id="47" name="Oval 46"/>
          <p:cNvSpPr/>
          <p:nvPr/>
        </p:nvSpPr>
        <p:spPr>
          <a:xfrm>
            <a:off x="7146351" y="4219163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</a:t>
            </a:r>
          </a:p>
        </p:txBody>
      </p:sp>
      <p:sp>
        <p:nvSpPr>
          <p:cNvPr id="48" name="Oval 47"/>
          <p:cNvSpPr/>
          <p:nvPr/>
        </p:nvSpPr>
        <p:spPr>
          <a:xfrm>
            <a:off x="8850990" y="4219163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j</a:t>
            </a:r>
          </a:p>
        </p:txBody>
      </p:sp>
      <p:sp>
        <p:nvSpPr>
          <p:cNvPr id="49" name="Oval 48"/>
          <p:cNvSpPr/>
          <p:nvPr/>
        </p:nvSpPr>
        <p:spPr>
          <a:xfrm>
            <a:off x="10499091" y="4236633"/>
            <a:ext cx="250723" cy="24571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6AFDE307-B76F-1E1F-0D59-3271D093AE65}"/>
              </a:ext>
            </a:extLst>
          </p:cNvPr>
          <p:cNvSpPr/>
          <p:nvPr/>
        </p:nvSpPr>
        <p:spPr>
          <a:xfrm>
            <a:off x="2371060" y="1683531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26325E5F-0148-C144-1DC3-DF7D7D24C66B}"/>
              </a:ext>
            </a:extLst>
          </p:cNvPr>
          <p:cNvSpPr/>
          <p:nvPr/>
        </p:nvSpPr>
        <p:spPr>
          <a:xfrm>
            <a:off x="4734837" y="1690024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39517768-6D67-8AE2-7F5F-FD5F5C5093A5}"/>
              </a:ext>
            </a:extLst>
          </p:cNvPr>
          <p:cNvSpPr/>
          <p:nvPr/>
        </p:nvSpPr>
        <p:spPr>
          <a:xfrm>
            <a:off x="7158036" y="1656890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CC6C3E80-B98A-2967-6559-E755392C3362}"/>
              </a:ext>
            </a:extLst>
          </p:cNvPr>
          <p:cNvSpPr/>
          <p:nvPr/>
        </p:nvSpPr>
        <p:spPr>
          <a:xfrm>
            <a:off x="9703572" y="1698305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9F60F7C8-C3CD-E7B4-19C1-39E8DBEB819F}"/>
              </a:ext>
            </a:extLst>
          </p:cNvPr>
          <p:cNvSpPr/>
          <p:nvPr/>
        </p:nvSpPr>
        <p:spPr>
          <a:xfrm>
            <a:off x="39212" y="4195936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71FF2681-C241-DD0D-0990-41F6D5703995}"/>
              </a:ext>
            </a:extLst>
          </p:cNvPr>
          <p:cNvSpPr/>
          <p:nvPr/>
        </p:nvSpPr>
        <p:spPr>
          <a:xfrm>
            <a:off x="2533614" y="4219163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37" name="Arrow: Chevron 36">
            <a:extLst>
              <a:ext uri="{FF2B5EF4-FFF2-40B4-BE49-F238E27FC236}">
                <a16:creationId xmlns:a16="http://schemas.microsoft.com/office/drawing/2014/main" id="{22539ED2-DC6F-AC3C-8573-B2736F850C9F}"/>
              </a:ext>
            </a:extLst>
          </p:cNvPr>
          <p:cNvSpPr/>
          <p:nvPr/>
        </p:nvSpPr>
        <p:spPr>
          <a:xfrm>
            <a:off x="4744955" y="4219163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E5B62109-D257-EC28-0463-819CBC381BD3}"/>
              </a:ext>
            </a:extLst>
          </p:cNvPr>
          <p:cNvSpPr/>
          <p:nvPr/>
        </p:nvSpPr>
        <p:spPr>
          <a:xfrm>
            <a:off x="6766119" y="4233468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6F3FAE8B-9C7F-0E93-4F21-80527BCDC4C8}"/>
              </a:ext>
            </a:extLst>
          </p:cNvPr>
          <p:cNvSpPr/>
          <p:nvPr/>
        </p:nvSpPr>
        <p:spPr>
          <a:xfrm>
            <a:off x="8509337" y="4219163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9C91BB04-20A2-3B4B-9103-80685FA5D064}"/>
              </a:ext>
            </a:extLst>
          </p:cNvPr>
          <p:cNvSpPr/>
          <p:nvPr/>
        </p:nvSpPr>
        <p:spPr>
          <a:xfrm>
            <a:off x="10126773" y="4219163"/>
            <a:ext cx="299129" cy="3337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pic>
        <p:nvPicPr>
          <p:cNvPr id="51" name="Google Shape;94;p13">
            <a:extLst>
              <a:ext uri="{FF2B5EF4-FFF2-40B4-BE49-F238E27FC236}">
                <a16:creationId xmlns:a16="http://schemas.microsoft.com/office/drawing/2014/main" id="{EBE2B684-3C83-047B-3AA0-D98A11615D93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83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 dir="u"/>
      </p:transition>
    </mc:Choice>
    <mc:Fallback xmlns="">
      <p:transition spd="slow">
        <p:pull dir="u"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>
            <a:cxnSpLocks/>
          </p:cNvCxnSpPr>
          <p:nvPr/>
        </p:nvCxnSpPr>
        <p:spPr>
          <a:xfrm flipV="1">
            <a:off x="-16326" y="1077623"/>
            <a:ext cx="2032000" cy="7164"/>
          </a:xfrm>
          <a:prstGeom prst="line">
            <a:avLst/>
          </a:prstGeom>
          <a:ln w="762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>
            <a:off x="76356" y="168182"/>
            <a:ext cx="1012056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23">
              <a:tabLst>
                <a:tab pos="347671" algn="l"/>
              </a:tabLst>
              <a:defRPr/>
            </a:pPr>
            <a:r>
              <a:rPr lang="en-US" sz="2800" b="1" dirty="0">
                <a:solidFill>
                  <a:srgbClr val="0E4F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</a:rPr>
              <a:t>ALUR PENCATATAN LSP TERLISENSI SETELAH MENDAPATKAN LISENSI</a:t>
            </a:r>
          </a:p>
        </p:txBody>
      </p:sp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57154957-68AB-414D-8F5B-A49D3A261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83B144-EF52-4775-B8B1-0D0A47F389DC}"/>
              </a:ext>
            </a:extLst>
          </p:cNvPr>
          <p:cNvSpPr/>
          <p:nvPr/>
        </p:nvSpPr>
        <p:spPr>
          <a:xfrm>
            <a:off x="659793" y="3733311"/>
            <a:ext cx="4057259" cy="1470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16326" y="1772570"/>
            <a:ext cx="12208326" cy="16401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136950" y="2024314"/>
            <a:ext cx="271507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>
                <a:solidFill>
                  <a:srgbClr val="0070C0"/>
                </a:solidFill>
              </a:rPr>
              <a:t>LSP </a:t>
            </a:r>
            <a:r>
              <a:rPr lang="fi-FI" sz="1400" dirty="0" err="1">
                <a:solidFill>
                  <a:srgbClr val="0070C0"/>
                </a:solidFill>
              </a:rPr>
              <a:t>yang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telah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mendapat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rekomendasi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lisensi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dan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telah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mendapat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lisensi</a:t>
            </a:r>
            <a:r>
              <a:rPr lang="fi-FI" sz="1400" dirty="0">
                <a:solidFill>
                  <a:srgbClr val="0070C0"/>
                </a:solidFill>
              </a:rPr>
              <a:t> dari BNSP harus </a:t>
            </a:r>
            <a:r>
              <a:rPr lang="fi-FI" sz="1400" dirty="0" err="1">
                <a:solidFill>
                  <a:srgbClr val="0070C0"/>
                </a:solidFill>
              </a:rPr>
              <a:t>mengajukan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permohonan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pencatatan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kepada</a:t>
            </a:r>
            <a:r>
              <a:rPr lang="fi-FI" sz="1400" dirty="0">
                <a:solidFill>
                  <a:srgbClr val="0070C0"/>
                </a:solidFill>
              </a:rPr>
              <a:t> LPJK </a:t>
            </a:r>
            <a:r>
              <a:rPr lang="fi-FI" sz="1400" dirty="0" err="1">
                <a:solidFill>
                  <a:srgbClr val="0070C0"/>
                </a:solidFill>
              </a:rPr>
              <a:t>melalui</a:t>
            </a:r>
            <a:r>
              <a:rPr lang="fi-FI" sz="1400" dirty="0">
                <a:solidFill>
                  <a:srgbClr val="0070C0"/>
                </a:solidFill>
              </a:rPr>
              <a:t> laman </a:t>
            </a:r>
            <a:r>
              <a:rPr lang="fi-FI" sz="1400" dirty="0" err="1">
                <a:solidFill>
                  <a:srgbClr val="0070C0"/>
                </a:solidFill>
              </a:rPr>
              <a:t>aplikasi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Portal</a:t>
            </a:r>
            <a:r>
              <a:rPr lang="fi-FI" sz="1400" dirty="0">
                <a:solidFill>
                  <a:srgbClr val="0070C0"/>
                </a:solidFill>
              </a:rPr>
              <a:t> </a:t>
            </a:r>
            <a:r>
              <a:rPr lang="fi-FI" sz="1400" dirty="0" err="1">
                <a:solidFill>
                  <a:srgbClr val="0070C0"/>
                </a:solidFill>
              </a:rPr>
              <a:t>Perizinan</a:t>
            </a:r>
            <a:r>
              <a:rPr lang="fi-FI" sz="1400" dirty="0">
                <a:solidFill>
                  <a:srgbClr val="0070C0"/>
                </a:solidFill>
              </a:rPr>
              <a:t> PUPR;</a:t>
            </a:r>
            <a:endParaRPr lang="en-US" sz="1400" dirty="0">
              <a:solidFill>
                <a:srgbClr val="0070C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-8163" y="4318328"/>
            <a:ext cx="12208326" cy="16401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119" y="1315727"/>
            <a:ext cx="626732" cy="62673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280" y="1289357"/>
            <a:ext cx="679470" cy="67947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5937226" y="2034730"/>
            <a:ext cx="271357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/>
              <a:t>Tim </a:t>
            </a:r>
            <a:r>
              <a:rPr lang="fi-FI" sz="1400" dirty="0" err="1"/>
              <a:t>Pemberian</a:t>
            </a:r>
            <a:r>
              <a:rPr lang="fi-FI" sz="1400" dirty="0"/>
              <a:t> </a:t>
            </a:r>
            <a:r>
              <a:rPr lang="fi-FI" sz="1400" dirty="0" err="1"/>
              <a:t>Rekomendasi</a:t>
            </a:r>
            <a:r>
              <a:rPr lang="fi-FI" sz="1400" dirty="0"/>
              <a:t> LSP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/>
              <a:t>Pencatatan</a:t>
            </a:r>
            <a:r>
              <a:rPr lang="fi-FI" sz="1400" dirty="0"/>
              <a:t> LSP </a:t>
            </a:r>
            <a:r>
              <a:rPr lang="fi-FI" sz="1400" dirty="0" err="1"/>
              <a:t>terlisensi</a:t>
            </a:r>
            <a:r>
              <a:rPr lang="fi-FI" sz="1400" dirty="0"/>
              <a:t> melakukan </a:t>
            </a:r>
            <a:r>
              <a:rPr lang="fi-FI" sz="1400" dirty="0" err="1"/>
              <a:t>verifikasi</a:t>
            </a:r>
            <a:r>
              <a:rPr lang="fi-FI" sz="1400" dirty="0"/>
              <a:t>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/>
              <a:t>validasi</a:t>
            </a:r>
            <a:r>
              <a:rPr lang="fi-FI" sz="1400" dirty="0"/>
              <a:t> </a:t>
            </a:r>
            <a:r>
              <a:rPr lang="fi-FI" sz="1400" dirty="0" err="1"/>
              <a:t>terhadap</a:t>
            </a:r>
            <a:r>
              <a:rPr lang="fi-FI" sz="1400" dirty="0"/>
              <a:t> </a:t>
            </a:r>
            <a:r>
              <a:rPr lang="fi-FI" sz="1400" dirty="0" err="1"/>
              <a:t>kesesuaian</a:t>
            </a:r>
            <a:r>
              <a:rPr lang="fi-FI" sz="1400" dirty="0"/>
              <a:t> data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/>
              <a:t>dokumen</a:t>
            </a:r>
            <a:r>
              <a:rPr lang="fi-FI" sz="1400" dirty="0"/>
              <a:t> </a:t>
            </a:r>
            <a:r>
              <a:rPr lang="fi-FI" sz="1400" dirty="0" err="1"/>
              <a:t>persyaratan</a:t>
            </a:r>
            <a:r>
              <a:rPr lang="fi-FI" sz="1400" dirty="0"/>
              <a:t> </a:t>
            </a:r>
            <a:r>
              <a:rPr lang="fi-FI" sz="1400" dirty="0" err="1"/>
              <a:t>pencatatan</a:t>
            </a:r>
            <a:r>
              <a:rPr lang="fi-FI" sz="1400" dirty="0"/>
              <a:t> </a:t>
            </a:r>
            <a:r>
              <a:rPr lang="fi-FI" sz="1400" dirty="0" err="1"/>
              <a:t>melalui</a:t>
            </a:r>
            <a:r>
              <a:rPr lang="fi-FI" sz="1400" dirty="0"/>
              <a:t> SIJK </a:t>
            </a:r>
            <a:r>
              <a:rPr lang="fi-FI" sz="1400" dirty="0" err="1"/>
              <a:t>terintegrasi</a:t>
            </a:r>
            <a:r>
              <a:rPr lang="fi-FI" sz="1400" dirty="0"/>
              <a:t> </a:t>
            </a:r>
            <a:r>
              <a:rPr lang="fi-FI" sz="1400" dirty="0" err="1"/>
              <a:t>dan</a:t>
            </a:r>
            <a:r>
              <a:rPr lang="fi-FI" sz="1400" dirty="0"/>
              <a:t> laman </a:t>
            </a:r>
            <a:r>
              <a:rPr lang="fi-FI" sz="1400" dirty="0" err="1"/>
              <a:t>https</a:t>
            </a:r>
            <a:r>
              <a:rPr lang="fi-FI" sz="1400" dirty="0"/>
              <a:t>://</a:t>
            </a:r>
            <a:r>
              <a:rPr lang="fi-FI" sz="1400" dirty="0" err="1"/>
              <a:t>www.bnsp.go.id</a:t>
            </a:r>
            <a:r>
              <a:rPr lang="fi-FI" sz="1400" dirty="0"/>
              <a:t>;</a:t>
            </a:r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0425" y="1336584"/>
            <a:ext cx="585017" cy="58501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36417" y="1259854"/>
            <a:ext cx="729374" cy="708973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2975399" y="2042139"/>
            <a:ext cx="2715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/>
              <a:t>LSP </a:t>
            </a:r>
            <a:r>
              <a:rPr lang="fi-FI" sz="1400" dirty="0" err="1"/>
              <a:t>melengkapi</a:t>
            </a:r>
            <a:r>
              <a:rPr lang="fi-FI" sz="1400" dirty="0"/>
              <a:t> data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/>
              <a:t>melampirkan</a:t>
            </a:r>
            <a:r>
              <a:rPr lang="fi-FI" sz="1400" dirty="0"/>
              <a:t> </a:t>
            </a:r>
            <a:r>
              <a:rPr lang="fi-FI" sz="1400" dirty="0" err="1"/>
              <a:t>dokumen</a:t>
            </a:r>
            <a:r>
              <a:rPr lang="fi-FI" sz="1400" dirty="0"/>
              <a:t> </a:t>
            </a:r>
            <a:r>
              <a:rPr lang="fi-FI" sz="1400" dirty="0" err="1"/>
              <a:t>permohonan</a:t>
            </a:r>
            <a:r>
              <a:rPr lang="fi-FI" sz="1400" dirty="0"/>
              <a:t> </a:t>
            </a:r>
            <a:r>
              <a:rPr lang="fi-FI" sz="1400" dirty="0" err="1"/>
              <a:t>pencatatan</a:t>
            </a:r>
            <a:r>
              <a:rPr lang="fi-FI" sz="1400" dirty="0"/>
              <a:t> </a:t>
            </a:r>
            <a:r>
              <a:rPr lang="fi-FI" sz="1400" dirty="0" err="1"/>
              <a:t>sesuai</a:t>
            </a:r>
            <a:r>
              <a:rPr lang="fi-FI" sz="1400" dirty="0"/>
              <a:t> </a:t>
            </a:r>
            <a:r>
              <a:rPr lang="fi-FI" sz="1400" dirty="0" err="1"/>
              <a:t>dengan</a:t>
            </a:r>
            <a:r>
              <a:rPr lang="fi-FI" sz="1400" dirty="0"/>
              <a:t> </a:t>
            </a:r>
            <a:r>
              <a:rPr lang="fi-FI" sz="1400" dirty="0" err="1">
                <a:solidFill>
                  <a:srgbClr val="FF0000"/>
                </a:solidFill>
              </a:rPr>
              <a:t>Format</a:t>
            </a:r>
            <a:r>
              <a:rPr lang="fi-FI" sz="1400" dirty="0">
                <a:solidFill>
                  <a:srgbClr val="FF0000"/>
                </a:solidFill>
              </a:rPr>
              <a:t> X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>
                <a:solidFill>
                  <a:srgbClr val="FF0000"/>
                </a:solidFill>
              </a:rPr>
              <a:t>Format</a:t>
            </a:r>
            <a:r>
              <a:rPr lang="fi-FI" sz="1400" dirty="0">
                <a:solidFill>
                  <a:srgbClr val="FF0000"/>
                </a:solidFill>
              </a:rPr>
              <a:t> XI;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100179" y="2024314"/>
            <a:ext cx="280185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/>
              <a:t>Tim </a:t>
            </a:r>
            <a:r>
              <a:rPr lang="fi-FI" sz="1400" dirty="0" err="1"/>
              <a:t>Pemberian</a:t>
            </a:r>
            <a:r>
              <a:rPr lang="fi-FI" sz="1400" dirty="0"/>
              <a:t> </a:t>
            </a:r>
            <a:r>
              <a:rPr lang="fi-FI" sz="1400" dirty="0" err="1"/>
              <a:t>Rekomendasi</a:t>
            </a:r>
            <a:r>
              <a:rPr lang="fi-FI" sz="1400" dirty="0"/>
              <a:t> </a:t>
            </a:r>
            <a:r>
              <a:rPr lang="fi-FI" sz="1400" dirty="0" err="1"/>
              <a:t>Lisensi</a:t>
            </a:r>
            <a:r>
              <a:rPr lang="fi-FI" sz="1400" dirty="0"/>
              <a:t> LSP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/>
              <a:t>Pencatatan</a:t>
            </a:r>
            <a:r>
              <a:rPr lang="fi-FI" sz="1400" dirty="0"/>
              <a:t> LSP </a:t>
            </a:r>
            <a:r>
              <a:rPr lang="fi-FI" sz="1400" dirty="0" err="1"/>
              <a:t>terlisensi</a:t>
            </a:r>
            <a:r>
              <a:rPr lang="fi-FI" sz="1400" dirty="0"/>
              <a:t>  melakukan </a:t>
            </a:r>
            <a:r>
              <a:rPr lang="fi-FI" sz="1400" dirty="0" err="1"/>
              <a:t>pemeriksaan</a:t>
            </a:r>
            <a:r>
              <a:rPr lang="fi-FI" sz="1400" dirty="0"/>
              <a:t> sebagaimana </a:t>
            </a:r>
            <a:r>
              <a:rPr lang="fi-FI" sz="1400" dirty="0" err="1"/>
              <a:t>tercantum</a:t>
            </a:r>
            <a:r>
              <a:rPr lang="fi-FI" sz="1400" dirty="0"/>
              <a:t> </a:t>
            </a:r>
            <a:r>
              <a:rPr lang="fi-FI" sz="1400" dirty="0" err="1"/>
              <a:t>pada</a:t>
            </a:r>
            <a:r>
              <a:rPr lang="fi-FI" sz="1400" dirty="0"/>
              <a:t> </a:t>
            </a:r>
            <a:r>
              <a:rPr lang="fi-FI" sz="1400" dirty="0" err="1"/>
              <a:t>angka</a:t>
            </a:r>
            <a:r>
              <a:rPr lang="fi-FI" sz="1400" dirty="0"/>
              <a:t> 2 </a:t>
            </a:r>
            <a:r>
              <a:rPr lang="fi-FI" sz="1400" dirty="0" err="1"/>
              <a:t>paling</a:t>
            </a:r>
            <a:r>
              <a:rPr lang="fi-FI" sz="1400" dirty="0"/>
              <a:t> lama 2 (</a:t>
            </a:r>
            <a:r>
              <a:rPr lang="fi-FI" sz="1400" dirty="0" err="1"/>
              <a:t>dua</a:t>
            </a:r>
            <a:r>
              <a:rPr lang="fi-FI" sz="1400" dirty="0"/>
              <a:t>) hari </a:t>
            </a:r>
            <a:r>
              <a:rPr lang="fi-FI" sz="1400" dirty="0" err="1"/>
              <a:t>kerja</a:t>
            </a:r>
            <a:r>
              <a:rPr lang="fi-FI" sz="1400" dirty="0"/>
              <a:t>, </a:t>
            </a:r>
            <a:r>
              <a:rPr lang="fi-FI" sz="1400" dirty="0" err="1"/>
              <a:t>dituangkan</a:t>
            </a:r>
            <a:r>
              <a:rPr lang="fi-FI" sz="1400" dirty="0"/>
              <a:t> </a:t>
            </a:r>
            <a:r>
              <a:rPr lang="fi-FI" sz="1400" dirty="0" err="1"/>
              <a:t>dalam</a:t>
            </a:r>
            <a:r>
              <a:rPr lang="fi-FI" sz="1400" dirty="0"/>
              <a:t> </a:t>
            </a:r>
            <a:r>
              <a:rPr lang="fi-FI" sz="1400" dirty="0" err="1"/>
              <a:t>daftar</a:t>
            </a:r>
            <a:r>
              <a:rPr lang="fi-FI" sz="1400" dirty="0"/>
              <a:t> </a:t>
            </a:r>
            <a:r>
              <a:rPr lang="fi-FI" sz="1400" dirty="0" err="1"/>
              <a:t>periksa</a:t>
            </a:r>
            <a:r>
              <a:rPr lang="fi-FI" sz="1400" dirty="0"/>
              <a:t> </a:t>
            </a:r>
            <a:r>
              <a:rPr lang="fi-FI" sz="1400" dirty="0" err="1"/>
              <a:t>sesuai</a:t>
            </a:r>
            <a:r>
              <a:rPr lang="fi-FI" sz="1400" dirty="0"/>
              <a:t> </a:t>
            </a:r>
            <a:r>
              <a:rPr lang="fi-FI" sz="1400" dirty="0" err="1"/>
              <a:t>dengan</a:t>
            </a:r>
            <a:r>
              <a:rPr lang="fi-FI" sz="1400" dirty="0"/>
              <a:t> </a:t>
            </a:r>
            <a:r>
              <a:rPr lang="fi-FI" sz="1400" dirty="0" err="1"/>
              <a:t>Format</a:t>
            </a:r>
            <a:r>
              <a:rPr lang="fi-FI" sz="1400" dirty="0"/>
              <a:t> XI</a:t>
            </a:r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2329" y="3803154"/>
            <a:ext cx="665522" cy="665522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00013" y="4538519"/>
            <a:ext cx="2926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 err="1"/>
              <a:t>Dalam</a:t>
            </a:r>
            <a:r>
              <a:rPr lang="fi-FI" sz="1400" dirty="0"/>
              <a:t> </a:t>
            </a:r>
            <a:r>
              <a:rPr lang="fi-FI" sz="1400" dirty="0" err="1"/>
              <a:t>hal</a:t>
            </a:r>
            <a:r>
              <a:rPr lang="fi-FI" sz="1400" dirty="0"/>
              <a:t> </a:t>
            </a:r>
            <a:r>
              <a:rPr lang="fi-FI" sz="1400" dirty="0" err="1"/>
              <a:t>terdapat</a:t>
            </a:r>
            <a:r>
              <a:rPr lang="fi-FI" sz="1400" dirty="0"/>
              <a:t> data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/>
              <a:t>dokumen</a:t>
            </a:r>
            <a:r>
              <a:rPr lang="fi-FI" sz="1400" dirty="0"/>
              <a:t> </a:t>
            </a:r>
            <a:r>
              <a:rPr lang="fi-FI" sz="1400" dirty="0" err="1"/>
              <a:t>tidak</a:t>
            </a:r>
            <a:r>
              <a:rPr lang="fi-FI" sz="1400" dirty="0"/>
              <a:t> </a:t>
            </a:r>
            <a:r>
              <a:rPr lang="fi-FI" sz="1400" dirty="0" err="1"/>
              <a:t>lengkap</a:t>
            </a:r>
            <a:r>
              <a:rPr lang="fi-FI" sz="1400" dirty="0"/>
              <a:t> </a:t>
            </a:r>
            <a:r>
              <a:rPr lang="fi-FI" sz="1400" dirty="0" err="1"/>
              <a:t>atau</a:t>
            </a:r>
            <a:r>
              <a:rPr lang="fi-FI" sz="1400" dirty="0"/>
              <a:t> </a:t>
            </a:r>
            <a:r>
              <a:rPr lang="fi-FI" sz="1400" dirty="0" err="1"/>
              <a:t>tidak</a:t>
            </a:r>
            <a:r>
              <a:rPr lang="fi-FI" sz="1400" dirty="0"/>
              <a:t> </a:t>
            </a:r>
            <a:r>
              <a:rPr lang="fi-FI" sz="1400" dirty="0" err="1"/>
              <a:t>memenuhi</a:t>
            </a:r>
            <a:r>
              <a:rPr lang="fi-FI" sz="1400" dirty="0"/>
              <a:t> </a:t>
            </a:r>
            <a:r>
              <a:rPr lang="fi-FI" sz="1400" dirty="0" err="1"/>
              <a:t>persyaratan</a:t>
            </a:r>
            <a:r>
              <a:rPr lang="fi-FI" sz="1400" dirty="0"/>
              <a:t>, </a:t>
            </a:r>
            <a:r>
              <a:rPr lang="fi-FI" sz="1400" dirty="0" err="1"/>
              <a:t>maka</a:t>
            </a:r>
            <a:r>
              <a:rPr lang="fi-FI" sz="1400" dirty="0"/>
              <a:t> Tim </a:t>
            </a:r>
            <a:r>
              <a:rPr lang="fi-FI" sz="1400" dirty="0" err="1"/>
              <a:t>Pemberian</a:t>
            </a:r>
            <a:r>
              <a:rPr lang="fi-FI" sz="1400" dirty="0"/>
              <a:t> </a:t>
            </a:r>
            <a:r>
              <a:rPr lang="fi-FI" sz="1400" dirty="0" err="1"/>
              <a:t>Rekomendasi</a:t>
            </a:r>
            <a:r>
              <a:rPr lang="fi-FI" sz="1400" dirty="0"/>
              <a:t> LSP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/>
              <a:t>Pencatatan</a:t>
            </a:r>
            <a:r>
              <a:rPr lang="fi-FI" sz="1400" dirty="0"/>
              <a:t> LSP </a:t>
            </a:r>
            <a:r>
              <a:rPr lang="fi-FI" sz="1400" dirty="0" err="1"/>
              <a:t>terlisensi</a:t>
            </a:r>
            <a:r>
              <a:rPr lang="fi-FI" sz="1400" dirty="0"/>
              <a:t> </a:t>
            </a:r>
            <a:r>
              <a:rPr lang="fi-FI" sz="1400" dirty="0" err="1"/>
              <a:t>menyampaikan</a:t>
            </a:r>
            <a:r>
              <a:rPr lang="fi-FI" sz="1400" dirty="0"/>
              <a:t> </a:t>
            </a:r>
            <a:r>
              <a:rPr lang="fi-FI" sz="1400" dirty="0" err="1"/>
              <a:t>pemberitahuan</a:t>
            </a:r>
            <a:r>
              <a:rPr lang="fi-FI" sz="1400" dirty="0"/>
              <a:t> </a:t>
            </a:r>
            <a:r>
              <a:rPr lang="fi-FI" sz="1400" dirty="0" err="1"/>
              <a:t>melalui</a:t>
            </a:r>
            <a:r>
              <a:rPr lang="fi-FI" sz="1400" dirty="0"/>
              <a:t> </a:t>
            </a:r>
            <a:r>
              <a:rPr lang="fi-FI" sz="1400" dirty="0" err="1"/>
              <a:t>aplikasi</a:t>
            </a:r>
            <a:r>
              <a:rPr lang="fi-FI" sz="1400" dirty="0"/>
              <a:t> </a:t>
            </a:r>
            <a:r>
              <a:rPr lang="fi-FI" sz="1400" dirty="0" err="1"/>
              <a:t>Portal</a:t>
            </a:r>
            <a:r>
              <a:rPr lang="fi-FI" sz="1400" dirty="0"/>
              <a:t> </a:t>
            </a:r>
            <a:r>
              <a:rPr lang="fi-FI" sz="1400" dirty="0" err="1"/>
              <a:t>Perizinan</a:t>
            </a:r>
            <a:r>
              <a:rPr lang="fi-FI" sz="1400" dirty="0"/>
              <a:t> PUPR </a:t>
            </a:r>
            <a:r>
              <a:rPr lang="fi-FI" sz="1400" dirty="0" err="1"/>
              <a:t>kepada</a:t>
            </a:r>
            <a:r>
              <a:rPr lang="fi-FI" sz="1400" dirty="0"/>
              <a:t> </a:t>
            </a:r>
            <a:r>
              <a:rPr lang="fi-FI" sz="1400" dirty="0" err="1"/>
              <a:t>pemohon</a:t>
            </a:r>
            <a:r>
              <a:rPr lang="fi-FI" sz="1400" dirty="0"/>
              <a:t> </a:t>
            </a:r>
            <a:r>
              <a:rPr lang="fi-FI" sz="1400" dirty="0" err="1"/>
              <a:t>beserta</a:t>
            </a:r>
            <a:r>
              <a:rPr lang="fi-FI" sz="1400" dirty="0"/>
              <a:t> </a:t>
            </a:r>
            <a:r>
              <a:rPr lang="fi-FI" sz="1400" dirty="0" err="1"/>
              <a:t>daftar</a:t>
            </a:r>
            <a:r>
              <a:rPr lang="fi-FI" sz="1400" dirty="0"/>
              <a:t> </a:t>
            </a:r>
            <a:r>
              <a:rPr lang="fi-FI" sz="1400" dirty="0" err="1"/>
              <a:t>periksa</a:t>
            </a:r>
            <a:r>
              <a:rPr lang="fi-FI" sz="1400" dirty="0"/>
              <a:t> </a:t>
            </a:r>
            <a:r>
              <a:rPr lang="fi-FI" sz="1400" dirty="0" err="1"/>
              <a:t>sesuai</a:t>
            </a:r>
            <a:r>
              <a:rPr lang="fi-FI" sz="1400" dirty="0"/>
              <a:t> </a:t>
            </a:r>
            <a:r>
              <a:rPr lang="fi-FI" sz="1400" dirty="0" err="1"/>
              <a:t>dengan</a:t>
            </a:r>
            <a:r>
              <a:rPr lang="fi-FI" sz="1400" dirty="0"/>
              <a:t> </a:t>
            </a:r>
            <a:r>
              <a:rPr lang="fi-FI" sz="1400" dirty="0" err="1">
                <a:solidFill>
                  <a:srgbClr val="FF0000"/>
                </a:solidFill>
              </a:rPr>
              <a:t>Format</a:t>
            </a:r>
            <a:r>
              <a:rPr lang="fi-FI" sz="1400" dirty="0">
                <a:solidFill>
                  <a:srgbClr val="FF0000"/>
                </a:solidFill>
              </a:rPr>
              <a:t> XII;</a:t>
            </a:r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00996" y="3793039"/>
            <a:ext cx="704312" cy="704312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147863" y="4551710"/>
            <a:ext cx="221057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>
                <a:solidFill>
                  <a:srgbClr val="0070C0"/>
                </a:solidFill>
              </a:rPr>
              <a:t>Tim Pemberian Rekomendasi LSP dan Pencatatan LSP terlisensi melakukan pencatatan melalui laman aplikasi Portal Perizinan PUPR;</a:t>
            </a:r>
            <a:endParaRPr lang="en-US" sz="1400" dirty="0">
              <a:solidFill>
                <a:srgbClr val="0070C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21763" y="3766105"/>
            <a:ext cx="739620" cy="739620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5358441" y="4582402"/>
            <a:ext cx="187182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/>
              <a:t>LSP </a:t>
            </a:r>
            <a:r>
              <a:rPr lang="fi-FI" sz="1400" dirty="0" err="1"/>
              <a:t>terlisensi</a:t>
            </a:r>
            <a:r>
              <a:rPr lang="fi-FI" sz="1400" dirty="0"/>
              <a:t> </a:t>
            </a:r>
            <a:r>
              <a:rPr lang="fi-FI" sz="1400" dirty="0" err="1"/>
              <a:t>dan</a:t>
            </a:r>
            <a:r>
              <a:rPr lang="fi-FI" sz="1400" dirty="0"/>
              <a:t> </a:t>
            </a:r>
            <a:r>
              <a:rPr lang="fi-FI" sz="1400" dirty="0" err="1"/>
              <a:t>tercatat</a:t>
            </a:r>
            <a:r>
              <a:rPr lang="fi-FI" sz="1400" dirty="0"/>
              <a:t> </a:t>
            </a:r>
            <a:r>
              <a:rPr lang="fi-FI" sz="1400" dirty="0" err="1"/>
              <a:t>diberikan</a:t>
            </a:r>
            <a:r>
              <a:rPr lang="fi-FI" sz="1400" dirty="0"/>
              <a:t> Surat </a:t>
            </a:r>
            <a:r>
              <a:rPr lang="fi-FI" sz="1400" dirty="0" err="1"/>
              <a:t>Tanda</a:t>
            </a:r>
            <a:r>
              <a:rPr lang="fi-FI" sz="1400" dirty="0"/>
              <a:t> </a:t>
            </a:r>
            <a:r>
              <a:rPr lang="fi-FI" sz="1400" dirty="0" err="1"/>
              <a:t>Pencatatan</a:t>
            </a:r>
            <a:r>
              <a:rPr lang="fi-FI" sz="1400" dirty="0"/>
              <a:t> </a:t>
            </a:r>
            <a:r>
              <a:rPr lang="fi-FI" sz="1400" dirty="0" err="1"/>
              <a:t>sesuai</a:t>
            </a:r>
            <a:r>
              <a:rPr lang="fi-FI" sz="1400" dirty="0"/>
              <a:t> </a:t>
            </a:r>
            <a:r>
              <a:rPr lang="fi-FI" sz="1400" dirty="0" err="1"/>
              <a:t>dengan</a:t>
            </a:r>
            <a:r>
              <a:rPr lang="fi-FI" sz="1400" dirty="0"/>
              <a:t> </a:t>
            </a:r>
            <a:r>
              <a:rPr lang="fi-FI" sz="1400" dirty="0" err="1">
                <a:solidFill>
                  <a:srgbClr val="FF0000"/>
                </a:solidFill>
              </a:rPr>
              <a:t>Format</a:t>
            </a:r>
            <a:r>
              <a:rPr lang="fi-FI" sz="1400" dirty="0">
                <a:solidFill>
                  <a:srgbClr val="FF0000"/>
                </a:solidFill>
              </a:rPr>
              <a:t> XIII;</a:t>
            </a:r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19715" y="3655629"/>
            <a:ext cx="896081" cy="89608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7353059" y="4582402"/>
            <a:ext cx="2404399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>
                <a:solidFill>
                  <a:srgbClr val="0070C0"/>
                </a:solidFill>
              </a:rPr>
              <a:t>SIJK Terintegrasi menotifikasi OSS RBA dan Pemegang Hak Akses Kementerian PUPR dan mengirimkan Data Lisensi LSP ke </a:t>
            </a:r>
            <a:r>
              <a:rPr lang="fi-FI" sz="1400" b="1" dirty="0">
                <a:solidFill>
                  <a:schemeClr val="accent2"/>
                </a:solidFill>
              </a:rPr>
              <a:t>OSS;</a:t>
            </a:r>
          </a:p>
          <a:p>
            <a:pPr algn="ctr"/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at</a:t>
            </a:r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i</a:t>
            </a:r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sih</a:t>
            </a:r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ilakukan</a:t>
            </a:r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gunggah</a:t>
            </a:r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okumen</a:t>
            </a:r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isensi</a:t>
            </a:r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lang="en-US" altLang="en-US" sz="14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chemeClr val="accent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SS</a:t>
            </a:r>
            <a:r>
              <a:rPr lang="en-US" altLang="en-US" sz="1400" b="1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 err="1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Verifika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Persetuju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SS)</a:t>
            </a:r>
          </a:p>
          <a:p>
            <a:pPr algn="ctr"/>
            <a:endParaRPr lang="en-US" sz="1400" dirty="0">
              <a:solidFill>
                <a:srgbClr val="0070C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58471" y="3821669"/>
            <a:ext cx="647007" cy="64700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9890952" y="4634211"/>
            <a:ext cx="216755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/>
              <a:t>Setelah SS terverifikasi terbit, Daftar LSP terlisensi dan tercatat ditayangkan pada laman </a:t>
            </a:r>
            <a:r>
              <a:rPr lang="fi-FI" sz="1400" dirty="0">
                <a:hlinkClick r:id="rId11"/>
              </a:rPr>
              <a:t>http://lisensijakon.pu.go.id</a:t>
            </a:r>
            <a:r>
              <a:rPr lang="fi-FI" sz="1400" dirty="0"/>
              <a:t> dan tayang pada Portal Perijinan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45A5A0F-33B2-B34D-8013-2779994B22B9}"/>
              </a:ext>
            </a:extLst>
          </p:cNvPr>
          <p:cNvSpPr txBox="1"/>
          <p:nvPr/>
        </p:nvSpPr>
        <p:spPr>
          <a:xfrm>
            <a:off x="200013" y="1130054"/>
            <a:ext cx="1337745" cy="46166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ill Sans MT" panose="020B0502020104020203"/>
                <a:cs typeface="Arial" pitchFamily="34" charset="0"/>
              </a:rPr>
              <a:t>1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 panose="020B0502020104020203"/>
              <a:cs typeface="Arial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45A5A0F-33B2-B34D-8013-2779994B22B9}"/>
              </a:ext>
            </a:extLst>
          </p:cNvPr>
          <p:cNvSpPr txBox="1"/>
          <p:nvPr/>
        </p:nvSpPr>
        <p:spPr>
          <a:xfrm>
            <a:off x="2997879" y="1138515"/>
            <a:ext cx="1337745" cy="46166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ill Sans MT" panose="020B0502020104020203"/>
                <a:cs typeface="Arial" pitchFamily="34" charset="0"/>
              </a:rPr>
              <a:t>2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 panose="020B0502020104020203"/>
              <a:cs typeface="Arial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45A5A0F-33B2-B34D-8013-2779994B22B9}"/>
              </a:ext>
            </a:extLst>
          </p:cNvPr>
          <p:cNvSpPr txBox="1"/>
          <p:nvPr/>
        </p:nvSpPr>
        <p:spPr>
          <a:xfrm>
            <a:off x="6015314" y="1124932"/>
            <a:ext cx="1337745" cy="46166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400" b="1" dirty="0">
                <a:solidFill>
                  <a:srgbClr val="C00000"/>
                </a:solidFill>
                <a:latin typeface="Gill Sans MT" panose="020B0502020104020203"/>
                <a:cs typeface="Arial" pitchFamily="34" charset="0"/>
              </a:rPr>
              <a:t>3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 panose="020B0502020104020203"/>
              <a:cs typeface="Arial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45A5A0F-33B2-B34D-8013-2779994B22B9}"/>
              </a:ext>
            </a:extLst>
          </p:cNvPr>
          <p:cNvSpPr txBox="1"/>
          <p:nvPr/>
        </p:nvSpPr>
        <p:spPr>
          <a:xfrm>
            <a:off x="9155560" y="1124381"/>
            <a:ext cx="1337745" cy="46166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400" b="1" dirty="0">
                <a:solidFill>
                  <a:srgbClr val="C00000"/>
                </a:solidFill>
                <a:latin typeface="Gill Sans MT" panose="020B0502020104020203"/>
                <a:cs typeface="Arial" pitchFamily="34" charset="0"/>
              </a:rPr>
              <a:t>4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 panose="020B0502020104020203"/>
              <a:cs typeface="Arial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45A5A0F-33B2-B34D-8013-2779994B22B9}"/>
              </a:ext>
            </a:extLst>
          </p:cNvPr>
          <p:cNvSpPr txBox="1"/>
          <p:nvPr/>
        </p:nvSpPr>
        <p:spPr>
          <a:xfrm>
            <a:off x="135397" y="3671526"/>
            <a:ext cx="1337745" cy="46166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400" b="1" dirty="0">
                <a:solidFill>
                  <a:srgbClr val="C00000"/>
                </a:solidFill>
                <a:latin typeface="Gill Sans MT" panose="020B0502020104020203"/>
                <a:cs typeface="Arial" pitchFamily="34" charset="0"/>
              </a:rPr>
              <a:t>5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 panose="020B0502020104020203"/>
              <a:cs typeface="Arial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45A5A0F-33B2-B34D-8013-2779994B22B9}"/>
              </a:ext>
            </a:extLst>
          </p:cNvPr>
          <p:cNvSpPr txBox="1"/>
          <p:nvPr/>
        </p:nvSpPr>
        <p:spPr>
          <a:xfrm>
            <a:off x="2969926" y="3669799"/>
            <a:ext cx="1337745" cy="46166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400" b="1" dirty="0">
                <a:solidFill>
                  <a:srgbClr val="C00000"/>
                </a:solidFill>
                <a:latin typeface="Gill Sans MT" panose="020B0502020104020203"/>
                <a:cs typeface="Arial" pitchFamily="34" charset="0"/>
              </a:rPr>
              <a:t>6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 panose="020B0502020104020203"/>
              <a:cs typeface="Arial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45A5A0F-33B2-B34D-8013-2779994B22B9}"/>
              </a:ext>
            </a:extLst>
          </p:cNvPr>
          <p:cNvSpPr txBox="1"/>
          <p:nvPr/>
        </p:nvSpPr>
        <p:spPr>
          <a:xfrm>
            <a:off x="5063071" y="3665860"/>
            <a:ext cx="1337745" cy="46166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400" b="1" dirty="0">
                <a:solidFill>
                  <a:srgbClr val="C00000"/>
                </a:solidFill>
                <a:latin typeface="Gill Sans MT" panose="020B0502020104020203"/>
                <a:cs typeface="Arial" pitchFamily="34" charset="0"/>
              </a:rPr>
              <a:t>7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 panose="020B0502020104020203"/>
              <a:cs typeface="Arial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45A5A0F-33B2-B34D-8013-2779994B22B9}"/>
              </a:ext>
            </a:extLst>
          </p:cNvPr>
          <p:cNvSpPr txBox="1"/>
          <p:nvPr/>
        </p:nvSpPr>
        <p:spPr>
          <a:xfrm>
            <a:off x="9528046" y="3686750"/>
            <a:ext cx="1337745" cy="46166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400" b="1">
                <a:solidFill>
                  <a:srgbClr val="C00000"/>
                </a:solidFill>
                <a:latin typeface="Gill Sans MT" panose="020B0502020104020203"/>
                <a:cs typeface="Arial" pitchFamily="34" charset="0"/>
              </a:rPr>
              <a:t>9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 panose="020B0502020104020203"/>
              <a:cs typeface="Arial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45A5A0F-33B2-B34D-8013-2779994B22B9}"/>
              </a:ext>
            </a:extLst>
          </p:cNvPr>
          <p:cNvSpPr txBox="1"/>
          <p:nvPr/>
        </p:nvSpPr>
        <p:spPr>
          <a:xfrm>
            <a:off x="7230263" y="3677138"/>
            <a:ext cx="1337745" cy="46166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400" b="1" dirty="0">
                <a:solidFill>
                  <a:srgbClr val="C00000"/>
                </a:solidFill>
                <a:latin typeface="Gill Sans MT" panose="020B0502020104020203"/>
                <a:cs typeface="Arial" pitchFamily="34" charset="0"/>
              </a:rPr>
              <a:t>8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 panose="020B0502020104020203"/>
              <a:cs typeface="Arial" pitchFamily="34" charset="0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5B9C696C-2238-5992-CDEC-6FB43B1F8777}"/>
              </a:ext>
            </a:extLst>
          </p:cNvPr>
          <p:cNvSpPr/>
          <p:nvPr/>
        </p:nvSpPr>
        <p:spPr>
          <a:xfrm>
            <a:off x="2371060" y="1683531"/>
            <a:ext cx="299129" cy="33373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82A24422-96E6-5BF8-0379-0981E40F16C6}"/>
              </a:ext>
            </a:extLst>
          </p:cNvPr>
          <p:cNvSpPr/>
          <p:nvPr/>
        </p:nvSpPr>
        <p:spPr>
          <a:xfrm>
            <a:off x="5540905" y="1690400"/>
            <a:ext cx="299129" cy="33373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AD09DB29-B697-3118-6F50-F1944262B1A9}"/>
              </a:ext>
            </a:extLst>
          </p:cNvPr>
          <p:cNvSpPr/>
          <p:nvPr/>
        </p:nvSpPr>
        <p:spPr>
          <a:xfrm>
            <a:off x="8897560" y="1684219"/>
            <a:ext cx="299129" cy="33373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85C418A8-13F6-97E1-621A-5F7BCBB1F3B2}"/>
              </a:ext>
            </a:extLst>
          </p:cNvPr>
          <p:cNvSpPr/>
          <p:nvPr/>
        </p:nvSpPr>
        <p:spPr>
          <a:xfrm>
            <a:off x="18404" y="4233468"/>
            <a:ext cx="299129" cy="33373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9808EFB4-8E7A-AF4C-6BF9-EC23BC97B3DF}"/>
              </a:ext>
            </a:extLst>
          </p:cNvPr>
          <p:cNvSpPr/>
          <p:nvPr/>
        </p:nvSpPr>
        <p:spPr>
          <a:xfrm>
            <a:off x="2994512" y="4226715"/>
            <a:ext cx="299129" cy="33373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4FF6FAEE-F080-0C07-BD30-F4C90F3A3A91}"/>
              </a:ext>
            </a:extLst>
          </p:cNvPr>
          <p:cNvSpPr/>
          <p:nvPr/>
        </p:nvSpPr>
        <p:spPr>
          <a:xfrm>
            <a:off x="5091443" y="4227894"/>
            <a:ext cx="299129" cy="33373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040BD987-E279-9C68-2587-06D49DE0EEDD}"/>
              </a:ext>
            </a:extLst>
          </p:cNvPr>
          <p:cNvSpPr/>
          <p:nvPr/>
        </p:nvSpPr>
        <p:spPr>
          <a:xfrm>
            <a:off x="7355373" y="4217972"/>
            <a:ext cx="299129" cy="33373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2F26EEA8-460E-21DC-8C3D-CC6470F090E5}"/>
              </a:ext>
            </a:extLst>
          </p:cNvPr>
          <p:cNvSpPr/>
          <p:nvPr/>
        </p:nvSpPr>
        <p:spPr>
          <a:xfrm>
            <a:off x="9525303" y="4207496"/>
            <a:ext cx="299129" cy="33373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pic>
        <p:nvPicPr>
          <p:cNvPr id="36" name="Google Shape;94;p13">
            <a:extLst>
              <a:ext uri="{FF2B5EF4-FFF2-40B4-BE49-F238E27FC236}">
                <a16:creationId xmlns:a16="http://schemas.microsoft.com/office/drawing/2014/main" id="{7C0E116D-85DB-DA53-9D08-80004738A523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07723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 dir="u"/>
      </p:transition>
    </mc:Choice>
    <mc:Fallback xmlns="">
      <p:transition spd="slow">
        <p:pull dir="u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50FEDC4D-A483-4D67-820B-8BF61E512323}"/>
              </a:ext>
            </a:extLst>
          </p:cNvPr>
          <p:cNvSpPr/>
          <p:nvPr/>
        </p:nvSpPr>
        <p:spPr>
          <a:xfrm>
            <a:off x="809626" y="529056"/>
            <a:ext cx="5029200" cy="5633638"/>
          </a:xfrm>
          <a:custGeom>
            <a:avLst/>
            <a:gdLst>
              <a:gd name="connsiteX0" fmla="*/ 2251214 w 4546203"/>
              <a:gd name="connsiteY0" fmla="*/ 4846657 h 5092591"/>
              <a:gd name="connsiteX1" fmla="*/ 2251214 w 4546203"/>
              <a:gd name="connsiteY1" fmla="*/ 4907544 h 5092591"/>
              <a:gd name="connsiteX2" fmla="*/ 2330407 w 4546203"/>
              <a:gd name="connsiteY2" fmla="*/ 4907544 h 5092591"/>
              <a:gd name="connsiteX3" fmla="*/ 2330407 w 4546203"/>
              <a:gd name="connsiteY3" fmla="*/ 4846657 h 5092591"/>
              <a:gd name="connsiteX4" fmla="*/ 2251214 w 4546203"/>
              <a:gd name="connsiteY4" fmla="*/ 4846657 h 5092591"/>
              <a:gd name="connsiteX5" fmla="*/ 2445813 w 4546203"/>
              <a:gd name="connsiteY5" fmla="*/ 4838698 h 5092591"/>
              <a:gd name="connsiteX6" fmla="*/ 2365824 w 4546203"/>
              <a:gd name="connsiteY6" fmla="*/ 4843474 h 5092591"/>
              <a:gd name="connsiteX7" fmla="*/ 2369008 w 4546203"/>
              <a:gd name="connsiteY7" fmla="*/ 4907146 h 5092591"/>
              <a:gd name="connsiteX8" fmla="*/ 2450588 w 4546203"/>
              <a:gd name="connsiteY8" fmla="*/ 4902370 h 5092591"/>
              <a:gd name="connsiteX9" fmla="*/ 2445813 w 4546203"/>
              <a:gd name="connsiteY9" fmla="*/ 4838698 h 5092591"/>
              <a:gd name="connsiteX10" fmla="*/ 2019208 w 4546203"/>
              <a:gd name="connsiteY10" fmla="*/ 4832729 h 5092591"/>
              <a:gd name="connsiteX11" fmla="*/ 2012841 w 4546203"/>
              <a:gd name="connsiteY11" fmla="*/ 4895605 h 5092591"/>
              <a:gd name="connsiteX12" fmla="*/ 2094421 w 4546203"/>
              <a:gd name="connsiteY12" fmla="*/ 4902768 h 5092591"/>
              <a:gd name="connsiteX13" fmla="*/ 2099196 w 4546203"/>
              <a:gd name="connsiteY13" fmla="*/ 4839494 h 5092591"/>
              <a:gd name="connsiteX14" fmla="*/ 2019208 w 4546203"/>
              <a:gd name="connsiteY14" fmla="*/ 4832729 h 5092591"/>
              <a:gd name="connsiteX15" fmla="*/ 2251612 w 4546203"/>
              <a:gd name="connsiteY15" fmla="*/ 4753934 h 5092591"/>
              <a:gd name="connsiteX16" fmla="*/ 2251612 w 4546203"/>
              <a:gd name="connsiteY16" fmla="*/ 4814821 h 5092591"/>
              <a:gd name="connsiteX17" fmla="*/ 2328019 w 4546203"/>
              <a:gd name="connsiteY17" fmla="*/ 4814821 h 5092591"/>
              <a:gd name="connsiteX18" fmla="*/ 2328019 w 4546203"/>
              <a:gd name="connsiteY18" fmla="*/ 4753934 h 5092591"/>
              <a:gd name="connsiteX19" fmla="*/ 2251612 w 4546203"/>
              <a:gd name="connsiteY19" fmla="*/ 4753934 h 5092591"/>
              <a:gd name="connsiteX20" fmla="*/ 2029157 w 4546203"/>
              <a:gd name="connsiteY20" fmla="*/ 4740404 h 5092591"/>
              <a:gd name="connsiteX21" fmla="*/ 2022392 w 4546203"/>
              <a:gd name="connsiteY21" fmla="*/ 4803678 h 5092591"/>
              <a:gd name="connsiteX22" fmla="*/ 2101186 w 4546203"/>
              <a:gd name="connsiteY22" fmla="*/ 4811239 h 5092591"/>
              <a:gd name="connsiteX23" fmla="*/ 2105564 w 4546203"/>
              <a:gd name="connsiteY23" fmla="*/ 4747965 h 5092591"/>
              <a:gd name="connsiteX24" fmla="*/ 2029157 w 4546203"/>
              <a:gd name="connsiteY24" fmla="*/ 4740404 h 5092591"/>
              <a:gd name="connsiteX25" fmla="*/ 2252408 w 4546203"/>
              <a:gd name="connsiteY25" fmla="*/ 4661609 h 5092591"/>
              <a:gd name="connsiteX26" fmla="*/ 2252408 w 4546203"/>
              <a:gd name="connsiteY26" fmla="*/ 4722894 h 5092591"/>
              <a:gd name="connsiteX27" fmla="*/ 2324835 w 4546203"/>
              <a:gd name="connsiteY27" fmla="*/ 4722894 h 5092591"/>
              <a:gd name="connsiteX28" fmla="*/ 2324835 w 4546203"/>
              <a:gd name="connsiteY28" fmla="*/ 4661609 h 5092591"/>
              <a:gd name="connsiteX29" fmla="*/ 2252408 w 4546203"/>
              <a:gd name="connsiteY29" fmla="*/ 4661609 h 5092591"/>
              <a:gd name="connsiteX30" fmla="*/ 2144961 w 4546203"/>
              <a:gd name="connsiteY30" fmla="*/ 4660017 h 5092591"/>
              <a:gd name="connsiteX31" fmla="*/ 2141777 w 4546203"/>
              <a:gd name="connsiteY31" fmla="*/ 4721302 h 5092591"/>
              <a:gd name="connsiteX32" fmla="*/ 2217388 w 4546203"/>
              <a:gd name="connsiteY32" fmla="*/ 4721302 h 5092591"/>
              <a:gd name="connsiteX33" fmla="*/ 2217388 w 4546203"/>
              <a:gd name="connsiteY33" fmla="*/ 4660017 h 5092591"/>
              <a:gd name="connsiteX34" fmla="*/ 2144961 w 4546203"/>
              <a:gd name="connsiteY34" fmla="*/ 4660017 h 5092591"/>
              <a:gd name="connsiteX35" fmla="*/ 2431088 w 4546203"/>
              <a:gd name="connsiteY35" fmla="*/ 4654844 h 5092591"/>
              <a:gd name="connsiteX36" fmla="*/ 2357467 w 4546203"/>
              <a:gd name="connsiteY36" fmla="*/ 4660017 h 5092591"/>
              <a:gd name="connsiteX37" fmla="*/ 2361049 w 4546203"/>
              <a:gd name="connsiteY37" fmla="*/ 4723292 h 5092591"/>
              <a:gd name="connsiteX38" fmla="*/ 2436660 w 4546203"/>
              <a:gd name="connsiteY38" fmla="*/ 4718119 h 5092591"/>
              <a:gd name="connsiteX39" fmla="*/ 2431088 w 4546203"/>
              <a:gd name="connsiteY39" fmla="*/ 4654844 h 5092591"/>
              <a:gd name="connsiteX40" fmla="*/ 2150930 w 4546203"/>
              <a:gd name="connsiteY40" fmla="*/ 4567295 h 5092591"/>
              <a:gd name="connsiteX41" fmla="*/ 2146951 w 4546203"/>
              <a:gd name="connsiteY41" fmla="*/ 4628580 h 5092591"/>
              <a:gd name="connsiteX42" fmla="*/ 2219378 w 4546203"/>
              <a:gd name="connsiteY42" fmla="*/ 4631763 h 5092591"/>
              <a:gd name="connsiteX43" fmla="*/ 2219378 w 4546203"/>
              <a:gd name="connsiteY43" fmla="*/ 4567295 h 5092591"/>
              <a:gd name="connsiteX44" fmla="*/ 2150930 w 4546203"/>
              <a:gd name="connsiteY44" fmla="*/ 4567295 h 5092591"/>
              <a:gd name="connsiteX45" fmla="*/ 2424323 w 4546203"/>
              <a:gd name="connsiteY45" fmla="*/ 4562918 h 5092591"/>
              <a:gd name="connsiteX46" fmla="*/ 2353488 w 4546203"/>
              <a:gd name="connsiteY46" fmla="*/ 4567295 h 5092591"/>
              <a:gd name="connsiteX47" fmla="*/ 2357467 w 4546203"/>
              <a:gd name="connsiteY47" fmla="*/ 4630967 h 5092591"/>
              <a:gd name="connsiteX48" fmla="*/ 2429497 w 4546203"/>
              <a:gd name="connsiteY48" fmla="*/ 4626192 h 5092591"/>
              <a:gd name="connsiteX49" fmla="*/ 2424323 w 4546203"/>
              <a:gd name="connsiteY49" fmla="*/ 4562918 h 5092591"/>
              <a:gd name="connsiteX50" fmla="*/ 2049452 w 4546203"/>
              <a:gd name="connsiteY50" fmla="*/ 4556550 h 5092591"/>
              <a:gd name="connsiteX51" fmla="*/ 2042687 w 4546203"/>
              <a:gd name="connsiteY51" fmla="*/ 4619427 h 5092591"/>
              <a:gd name="connsiteX52" fmla="*/ 2114717 w 4546203"/>
              <a:gd name="connsiteY52" fmla="*/ 4626590 h 5092591"/>
              <a:gd name="connsiteX53" fmla="*/ 2119492 w 4546203"/>
              <a:gd name="connsiteY53" fmla="*/ 4563315 h 5092591"/>
              <a:gd name="connsiteX54" fmla="*/ 2049452 w 4546203"/>
              <a:gd name="connsiteY54" fmla="*/ 4556550 h 5092591"/>
              <a:gd name="connsiteX55" fmla="*/ 2897488 w 4546203"/>
              <a:gd name="connsiteY55" fmla="*/ 4513571 h 5092591"/>
              <a:gd name="connsiteX56" fmla="*/ 2847744 w 4546203"/>
              <a:gd name="connsiteY56" fmla="*/ 4528693 h 5092591"/>
              <a:gd name="connsiteX57" fmla="*/ 2859683 w 4546203"/>
              <a:gd name="connsiteY57" fmla="*/ 4567295 h 5092591"/>
              <a:gd name="connsiteX58" fmla="*/ 2910223 w 4546203"/>
              <a:gd name="connsiteY58" fmla="*/ 4551775 h 5092591"/>
              <a:gd name="connsiteX59" fmla="*/ 2897488 w 4546203"/>
              <a:gd name="connsiteY59" fmla="*/ 4513571 h 5092591"/>
              <a:gd name="connsiteX60" fmla="*/ 1790386 w 4546203"/>
              <a:gd name="connsiteY60" fmla="*/ 4506408 h 5092591"/>
              <a:gd name="connsiteX61" fmla="*/ 1779641 w 4546203"/>
              <a:gd name="connsiteY61" fmla="*/ 4549785 h 5092591"/>
              <a:gd name="connsiteX62" fmla="*/ 1872364 w 4546203"/>
              <a:gd name="connsiteY62" fmla="*/ 4570080 h 5092591"/>
              <a:gd name="connsiteX63" fmla="*/ 1881119 w 4546203"/>
              <a:gd name="connsiteY63" fmla="*/ 4525908 h 5092591"/>
              <a:gd name="connsiteX64" fmla="*/ 1790386 w 4546203"/>
              <a:gd name="connsiteY64" fmla="*/ 4506408 h 5092591"/>
              <a:gd name="connsiteX65" fmla="*/ 3136658 w 4546203"/>
              <a:gd name="connsiteY65" fmla="*/ 4499245 h 5092591"/>
              <a:gd name="connsiteX66" fmla="*/ 3148995 w 4546203"/>
              <a:gd name="connsiteY66" fmla="*/ 4525908 h 5092591"/>
              <a:gd name="connsiteX67" fmla="*/ 3106414 w 4546203"/>
              <a:gd name="connsiteY67" fmla="*/ 4531877 h 5092591"/>
              <a:gd name="connsiteX68" fmla="*/ 3096863 w 4546203"/>
              <a:gd name="connsiteY68" fmla="*/ 4534662 h 5092591"/>
              <a:gd name="connsiteX69" fmla="*/ 2926936 w 4546203"/>
              <a:gd name="connsiteY69" fmla="*/ 4597142 h 5092591"/>
              <a:gd name="connsiteX70" fmla="*/ 2917784 w 4546203"/>
              <a:gd name="connsiteY70" fmla="*/ 4602714 h 5092591"/>
              <a:gd name="connsiteX71" fmla="*/ 2920569 w 4546203"/>
              <a:gd name="connsiteY71" fmla="*/ 4609479 h 5092591"/>
              <a:gd name="connsiteX72" fmla="*/ 3112383 w 4546203"/>
              <a:gd name="connsiteY72" fmla="*/ 4539439 h 5092591"/>
              <a:gd name="connsiteX73" fmla="*/ 3126311 w 4546203"/>
              <a:gd name="connsiteY73" fmla="*/ 4570877 h 5092591"/>
              <a:gd name="connsiteX74" fmla="*/ 2931314 w 4546203"/>
              <a:gd name="connsiteY74" fmla="*/ 4642907 h 5092591"/>
              <a:gd name="connsiteX75" fmla="*/ 2918977 w 4546203"/>
              <a:gd name="connsiteY75" fmla="*/ 4609876 h 5092591"/>
              <a:gd name="connsiteX76" fmla="*/ 2888335 w 4546203"/>
              <a:gd name="connsiteY76" fmla="*/ 4617040 h 5092591"/>
              <a:gd name="connsiteX77" fmla="*/ 2881570 w 4546203"/>
              <a:gd name="connsiteY77" fmla="*/ 4593560 h 5092591"/>
              <a:gd name="connsiteX78" fmla="*/ 3136658 w 4546203"/>
              <a:gd name="connsiteY78" fmla="*/ 4499245 h 5092591"/>
              <a:gd name="connsiteX79" fmla="*/ 2955987 w 4546203"/>
              <a:gd name="connsiteY79" fmla="*/ 4494470 h 5092591"/>
              <a:gd name="connsiteX80" fmla="*/ 2905845 w 4546203"/>
              <a:gd name="connsiteY80" fmla="*/ 4511184 h 5092591"/>
              <a:gd name="connsiteX81" fmla="*/ 2919376 w 4546203"/>
              <a:gd name="connsiteY81" fmla="*/ 4549387 h 5092591"/>
              <a:gd name="connsiteX82" fmla="*/ 2969119 w 4546203"/>
              <a:gd name="connsiteY82" fmla="*/ 4532275 h 5092591"/>
              <a:gd name="connsiteX83" fmla="*/ 2955987 w 4546203"/>
              <a:gd name="connsiteY83" fmla="*/ 4494470 h 5092591"/>
              <a:gd name="connsiteX84" fmla="*/ 2254398 w 4546203"/>
              <a:gd name="connsiteY84" fmla="*/ 4476562 h 5092591"/>
              <a:gd name="connsiteX85" fmla="*/ 2254398 w 4546203"/>
              <a:gd name="connsiteY85" fmla="*/ 4538244 h 5092591"/>
              <a:gd name="connsiteX86" fmla="*/ 2320060 w 4546203"/>
              <a:gd name="connsiteY86" fmla="*/ 4538244 h 5092591"/>
              <a:gd name="connsiteX87" fmla="*/ 2320060 w 4546203"/>
              <a:gd name="connsiteY87" fmla="*/ 4476562 h 5092591"/>
              <a:gd name="connsiteX88" fmla="*/ 2254398 w 4546203"/>
              <a:gd name="connsiteY88" fmla="*/ 4476562 h 5092591"/>
              <a:gd name="connsiteX89" fmla="*/ 3013292 w 4546203"/>
              <a:gd name="connsiteY89" fmla="*/ 4472980 h 5092591"/>
              <a:gd name="connsiteX90" fmla="*/ 2964344 w 4546203"/>
              <a:gd name="connsiteY90" fmla="*/ 4491286 h 5092591"/>
              <a:gd name="connsiteX91" fmla="*/ 2977874 w 4546203"/>
              <a:gd name="connsiteY91" fmla="*/ 4529489 h 5092591"/>
              <a:gd name="connsiteX92" fmla="*/ 3028016 w 4546203"/>
              <a:gd name="connsiteY92" fmla="*/ 4510388 h 5092591"/>
              <a:gd name="connsiteX93" fmla="*/ 3013292 w 4546203"/>
              <a:gd name="connsiteY93" fmla="*/ 4472980 h 5092591"/>
              <a:gd name="connsiteX94" fmla="*/ 2156104 w 4546203"/>
              <a:gd name="connsiteY94" fmla="*/ 4472582 h 5092591"/>
              <a:gd name="connsiteX95" fmla="*/ 2152920 w 4546203"/>
              <a:gd name="connsiteY95" fmla="*/ 4537051 h 5092591"/>
              <a:gd name="connsiteX96" fmla="*/ 2222164 w 4546203"/>
              <a:gd name="connsiteY96" fmla="*/ 4537051 h 5092591"/>
              <a:gd name="connsiteX97" fmla="*/ 2222164 w 4546203"/>
              <a:gd name="connsiteY97" fmla="*/ 4475766 h 5092591"/>
              <a:gd name="connsiteX98" fmla="*/ 2156104 w 4546203"/>
              <a:gd name="connsiteY98" fmla="*/ 4472582 h 5092591"/>
              <a:gd name="connsiteX99" fmla="*/ 2059401 w 4546203"/>
              <a:gd name="connsiteY99" fmla="*/ 4465021 h 5092591"/>
              <a:gd name="connsiteX100" fmla="*/ 2052636 w 4546203"/>
              <a:gd name="connsiteY100" fmla="*/ 4528295 h 5092591"/>
              <a:gd name="connsiteX101" fmla="*/ 2121482 w 4546203"/>
              <a:gd name="connsiteY101" fmla="*/ 4534265 h 5092591"/>
              <a:gd name="connsiteX102" fmla="*/ 2126257 w 4546203"/>
              <a:gd name="connsiteY102" fmla="*/ 4470990 h 5092591"/>
              <a:gd name="connsiteX103" fmla="*/ 2059401 w 4546203"/>
              <a:gd name="connsiteY103" fmla="*/ 4465021 h 5092591"/>
              <a:gd name="connsiteX104" fmla="*/ 2881172 w 4546203"/>
              <a:gd name="connsiteY104" fmla="*/ 4462236 h 5092591"/>
              <a:gd name="connsiteX105" fmla="*/ 2833020 w 4546203"/>
              <a:gd name="connsiteY105" fmla="*/ 4477358 h 5092591"/>
              <a:gd name="connsiteX106" fmla="*/ 2842571 w 4546203"/>
              <a:gd name="connsiteY106" fmla="*/ 4511184 h 5092591"/>
              <a:gd name="connsiteX107" fmla="*/ 2891917 w 4546203"/>
              <a:gd name="connsiteY107" fmla="*/ 4496061 h 5092591"/>
              <a:gd name="connsiteX108" fmla="*/ 2881172 w 4546203"/>
              <a:gd name="connsiteY108" fmla="*/ 4462236 h 5092591"/>
              <a:gd name="connsiteX109" fmla="*/ 3070199 w 4546203"/>
              <a:gd name="connsiteY109" fmla="*/ 4449899 h 5092591"/>
              <a:gd name="connsiteX110" fmla="*/ 3021649 w 4546203"/>
              <a:gd name="connsiteY110" fmla="*/ 4470195 h 5092591"/>
              <a:gd name="connsiteX111" fmla="*/ 3036373 w 4546203"/>
              <a:gd name="connsiteY111" fmla="*/ 4507602 h 5092591"/>
              <a:gd name="connsiteX112" fmla="*/ 3085719 w 4546203"/>
              <a:gd name="connsiteY112" fmla="*/ 4486908 h 5092591"/>
              <a:gd name="connsiteX113" fmla="*/ 3070199 w 4546203"/>
              <a:gd name="connsiteY113" fmla="*/ 4449899 h 5092591"/>
              <a:gd name="connsiteX114" fmla="*/ 2937283 w 4546203"/>
              <a:gd name="connsiteY114" fmla="*/ 4443134 h 5092591"/>
              <a:gd name="connsiteX115" fmla="*/ 2889131 w 4546203"/>
              <a:gd name="connsiteY115" fmla="*/ 4460644 h 5092591"/>
              <a:gd name="connsiteX116" fmla="*/ 2900672 w 4546203"/>
              <a:gd name="connsiteY116" fmla="*/ 4493276 h 5092591"/>
              <a:gd name="connsiteX117" fmla="*/ 2949620 w 4546203"/>
              <a:gd name="connsiteY117" fmla="*/ 4476562 h 5092591"/>
              <a:gd name="connsiteX118" fmla="*/ 2937283 w 4546203"/>
              <a:gd name="connsiteY118" fmla="*/ 4443134 h 5092591"/>
              <a:gd name="connsiteX119" fmla="*/ 1805906 w 4546203"/>
              <a:gd name="connsiteY119" fmla="*/ 4442736 h 5092591"/>
              <a:gd name="connsiteX120" fmla="*/ 1795161 w 4546203"/>
              <a:gd name="connsiteY120" fmla="*/ 4486510 h 5092591"/>
              <a:gd name="connsiteX121" fmla="*/ 1885098 w 4546203"/>
              <a:gd name="connsiteY121" fmla="*/ 4506010 h 5092591"/>
              <a:gd name="connsiteX122" fmla="*/ 1893455 w 4546203"/>
              <a:gd name="connsiteY122" fmla="*/ 4461838 h 5092591"/>
              <a:gd name="connsiteX123" fmla="*/ 1805906 w 4546203"/>
              <a:gd name="connsiteY123" fmla="*/ 4442736 h 5092591"/>
              <a:gd name="connsiteX124" fmla="*/ 3125515 w 4546203"/>
              <a:gd name="connsiteY124" fmla="*/ 4426022 h 5092591"/>
              <a:gd name="connsiteX125" fmla="*/ 3078158 w 4546203"/>
              <a:gd name="connsiteY125" fmla="*/ 4447113 h 5092591"/>
              <a:gd name="connsiteX126" fmla="*/ 3093678 w 4546203"/>
              <a:gd name="connsiteY126" fmla="*/ 4484123 h 5092591"/>
              <a:gd name="connsiteX127" fmla="*/ 3142626 w 4546203"/>
              <a:gd name="connsiteY127" fmla="*/ 4461838 h 5092591"/>
              <a:gd name="connsiteX128" fmla="*/ 3125515 w 4546203"/>
              <a:gd name="connsiteY128" fmla="*/ 4426022 h 5092591"/>
              <a:gd name="connsiteX129" fmla="*/ 1534503 w 4546203"/>
              <a:gd name="connsiteY129" fmla="*/ 4425226 h 5092591"/>
              <a:gd name="connsiteX130" fmla="*/ 1518187 w 4546203"/>
              <a:gd name="connsiteY130" fmla="*/ 4467011 h 5092591"/>
              <a:gd name="connsiteX131" fmla="*/ 1607328 w 4546203"/>
              <a:gd name="connsiteY131" fmla="*/ 4499643 h 5092591"/>
              <a:gd name="connsiteX132" fmla="*/ 1621654 w 4546203"/>
              <a:gd name="connsiteY132" fmla="*/ 4457062 h 5092591"/>
              <a:gd name="connsiteX133" fmla="*/ 1534503 w 4546203"/>
              <a:gd name="connsiteY133" fmla="*/ 4425226 h 5092591"/>
              <a:gd name="connsiteX134" fmla="*/ 2993394 w 4546203"/>
              <a:gd name="connsiteY134" fmla="*/ 4422440 h 5092591"/>
              <a:gd name="connsiteX135" fmla="*/ 2945640 w 4546203"/>
              <a:gd name="connsiteY135" fmla="*/ 4440746 h 5092591"/>
              <a:gd name="connsiteX136" fmla="*/ 2958375 w 4546203"/>
              <a:gd name="connsiteY136" fmla="*/ 4473378 h 5092591"/>
              <a:gd name="connsiteX137" fmla="*/ 3006527 w 4546203"/>
              <a:gd name="connsiteY137" fmla="*/ 4455072 h 5092591"/>
              <a:gd name="connsiteX138" fmla="*/ 2993394 w 4546203"/>
              <a:gd name="connsiteY138" fmla="*/ 4422440 h 5092591"/>
              <a:gd name="connsiteX139" fmla="*/ 1680949 w 4546203"/>
              <a:gd name="connsiteY139" fmla="*/ 4407318 h 5092591"/>
              <a:gd name="connsiteX140" fmla="*/ 1667817 w 4546203"/>
              <a:gd name="connsiteY140" fmla="*/ 4450297 h 5092591"/>
              <a:gd name="connsiteX141" fmla="*/ 1755764 w 4546203"/>
              <a:gd name="connsiteY141" fmla="*/ 4475766 h 5092591"/>
              <a:gd name="connsiteX142" fmla="*/ 1767305 w 4546203"/>
              <a:gd name="connsiteY142" fmla="*/ 4431991 h 5092591"/>
              <a:gd name="connsiteX143" fmla="*/ 1680949 w 4546203"/>
              <a:gd name="connsiteY143" fmla="*/ 4407318 h 5092591"/>
              <a:gd name="connsiteX144" fmla="*/ 3048710 w 4546203"/>
              <a:gd name="connsiteY144" fmla="*/ 4400155 h 5092591"/>
              <a:gd name="connsiteX145" fmla="*/ 3001752 w 4546203"/>
              <a:gd name="connsiteY145" fmla="*/ 4420451 h 5092591"/>
              <a:gd name="connsiteX146" fmla="*/ 3014884 w 4546203"/>
              <a:gd name="connsiteY146" fmla="*/ 4452685 h 5092591"/>
              <a:gd name="connsiteX147" fmla="*/ 3062638 w 4546203"/>
              <a:gd name="connsiteY147" fmla="*/ 4433185 h 5092591"/>
              <a:gd name="connsiteX148" fmla="*/ 3048710 w 4546203"/>
              <a:gd name="connsiteY148" fmla="*/ 4400155 h 5092591"/>
              <a:gd name="connsiteX149" fmla="*/ 2161277 w 4546203"/>
              <a:gd name="connsiteY149" fmla="*/ 4383043 h 5092591"/>
              <a:gd name="connsiteX150" fmla="*/ 2158094 w 4546203"/>
              <a:gd name="connsiteY150" fmla="*/ 4444328 h 5092591"/>
              <a:gd name="connsiteX151" fmla="*/ 2224153 w 4546203"/>
              <a:gd name="connsiteY151" fmla="*/ 4444328 h 5092591"/>
              <a:gd name="connsiteX152" fmla="*/ 2224153 w 4546203"/>
              <a:gd name="connsiteY152" fmla="*/ 4383043 h 5092591"/>
              <a:gd name="connsiteX153" fmla="*/ 2161277 w 4546203"/>
              <a:gd name="connsiteY153" fmla="*/ 4383043 h 5092591"/>
              <a:gd name="connsiteX154" fmla="*/ 2411191 w 4546203"/>
              <a:gd name="connsiteY154" fmla="*/ 4378666 h 5092591"/>
              <a:gd name="connsiteX155" fmla="*/ 2346723 w 4546203"/>
              <a:gd name="connsiteY155" fmla="*/ 4382247 h 5092591"/>
              <a:gd name="connsiteX156" fmla="*/ 2349906 w 4546203"/>
              <a:gd name="connsiteY156" fmla="*/ 4445920 h 5092591"/>
              <a:gd name="connsiteX157" fmla="*/ 2415170 w 4546203"/>
              <a:gd name="connsiteY157" fmla="*/ 4441940 h 5092591"/>
              <a:gd name="connsiteX158" fmla="*/ 2411191 w 4546203"/>
              <a:gd name="connsiteY158" fmla="*/ 4378666 h 5092591"/>
              <a:gd name="connsiteX159" fmla="*/ 3103229 w 4546203"/>
              <a:gd name="connsiteY159" fmla="*/ 4376676 h 5092591"/>
              <a:gd name="connsiteX160" fmla="*/ 3056669 w 4546203"/>
              <a:gd name="connsiteY160" fmla="*/ 4397369 h 5092591"/>
              <a:gd name="connsiteX161" fmla="*/ 3070995 w 4546203"/>
              <a:gd name="connsiteY161" fmla="*/ 4430001 h 5092591"/>
              <a:gd name="connsiteX162" fmla="*/ 3118351 w 4546203"/>
              <a:gd name="connsiteY162" fmla="*/ 4408512 h 5092591"/>
              <a:gd name="connsiteX163" fmla="*/ 3103229 w 4546203"/>
              <a:gd name="connsiteY163" fmla="*/ 4376676 h 5092591"/>
              <a:gd name="connsiteX164" fmla="*/ 1411933 w 4546203"/>
              <a:gd name="connsiteY164" fmla="*/ 4372696 h 5092591"/>
              <a:gd name="connsiteX165" fmla="*/ 1392832 w 4546203"/>
              <a:gd name="connsiteY165" fmla="*/ 4413287 h 5092591"/>
              <a:gd name="connsiteX166" fmla="*/ 1479187 w 4546203"/>
              <a:gd name="connsiteY166" fmla="*/ 4451491 h 5092591"/>
              <a:gd name="connsiteX167" fmla="*/ 1496697 w 4546203"/>
              <a:gd name="connsiteY167" fmla="*/ 4410104 h 5092591"/>
              <a:gd name="connsiteX168" fmla="*/ 1411933 w 4546203"/>
              <a:gd name="connsiteY168" fmla="*/ 4372696 h 5092591"/>
              <a:gd name="connsiteX169" fmla="*/ 1558778 w 4546203"/>
              <a:gd name="connsiteY169" fmla="*/ 4364339 h 5092591"/>
              <a:gd name="connsiteX170" fmla="*/ 1542462 w 4546203"/>
              <a:gd name="connsiteY170" fmla="*/ 4406522 h 5092591"/>
              <a:gd name="connsiteX171" fmla="*/ 1628817 w 4546203"/>
              <a:gd name="connsiteY171" fmla="*/ 4437961 h 5092591"/>
              <a:gd name="connsiteX172" fmla="*/ 1642746 w 4546203"/>
              <a:gd name="connsiteY172" fmla="*/ 4394982 h 5092591"/>
              <a:gd name="connsiteX173" fmla="*/ 1558778 w 4546203"/>
              <a:gd name="connsiteY173" fmla="*/ 4364339 h 5092591"/>
              <a:gd name="connsiteX174" fmla="*/ 2904253 w 4546203"/>
              <a:gd name="connsiteY174" fmla="*/ 4347227 h 5092591"/>
              <a:gd name="connsiteX175" fmla="*/ 2858489 w 4546203"/>
              <a:gd name="connsiteY175" fmla="*/ 4362350 h 5092591"/>
              <a:gd name="connsiteX176" fmla="*/ 2887539 w 4546203"/>
              <a:gd name="connsiteY176" fmla="*/ 4452287 h 5092591"/>
              <a:gd name="connsiteX177" fmla="*/ 2935691 w 4546203"/>
              <a:gd name="connsiteY177" fmla="*/ 4435573 h 5092591"/>
              <a:gd name="connsiteX178" fmla="*/ 2904253 w 4546203"/>
              <a:gd name="connsiteY178" fmla="*/ 4347227 h 5092591"/>
              <a:gd name="connsiteX179" fmla="*/ 2956783 w 4546203"/>
              <a:gd name="connsiteY179" fmla="*/ 4327330 h 5092591"/>
              <a:gd name="connsiteX180" fmla="*/ 2911416 w 4546203"/>
              <a:gd name="connsiteY180" fmla="*/ 4344442 h 5092591"/>
              <a:gd name="connsiteX181" fmla="*/ 2943253 w 4546203"/>
              <a:gd name="connsiteY181" fmla="*/ 4433185 h 5092591"/>
              <a:gd name="connsiteX182" fmla="*/ 2991007 w 4546203"/>
              <a:gd name="connsiteY182" fmla="*/ 4415277 h 5092591"/>
              <a:gd name="connsiteX183" fmla="*/ 2956783 w 4546203"/>
              <a:gd name="connsiteY183" fmla="*/ 4327330 h 5092591"/>
              <a:gd name="connsiteX184" fmla="*/ 1836150 w 4546203"/>
              <a:gd name="connsiteY184" fmla="*/ 4315789 h 5092591"/>
              <a:gd name="connsiteX185" fmla="*/ 1826599 w 4546203"/>
              <a:gd name="connsiteY185" fmla="*/ 4359564 h 5092591"/>
              <a:gd name="connsiteX186" fmla="*/ 1909771 w 4546203"/>
              <a:gd name="connsiteY186" fmla="*/ 4377870 h 5092591"/>
              <a:gd name="connsiteX187" fmla="*/ 1918128 w 4546203"/>
              <a:gd name="connsiteY187" fmla="*/ 4333299 h 5092591"/>
              <a:gd name="connsiteX188" fmla="*/ 1836150 w 4546203"/>
              <a:gd name="connsiteY188" fmla="*/ 4315789 h 5092591"/>
              <a:gd name="connsiteX189" fmla="*/ 3009313 w 4546203"/>
              <a:gd name="connsiteY189" fmla="*/ 4306239 h 5092591"/>
              <a:gd name="connsiteX190" fmla="*/ 2964344 w 4546203"/>
              <a:gd name="connsiteY190" fmla="*/ 4324544 h 5092591"/>
              <a:gd name="connsiteX191" fmla="*/ 2998966 w 4546203"/>
              <a:gd name="connsiteY191" fmla="*/ 4412094 h 5092591"/>
              <a:gd name="connsiteX192" fmla="*/ 3045924 w 4546203"/>
              <a:gd name="connsiteY192" fmla="*/ 4392992 h 5092591"/>
              <a:gd name="connsiteX193" fmla="*/ 3009313 w 4546203"/>
              <a:gd name="connsiteY193" fmla="*/ 4306239 h 5092591"/>
              <a:gd name="connsiteX194" fmla="*/ 2166848 w 4546203"/>
              <a:gd name="connsiteY194" fmla="*/ 4291116 h 5092591"/>
              <a:gd name="connsiteX195" fmla="*/ 2163267 w 4546203"/>
              <a:gd name="connsiteY195" fmla="*/ 4352003 h 5092591"/>
              <a:gd name="connsiteX196" fmla="*/ 2226143 w 4546203"/>
              <a:gd name="connsiteY196" fmla="*/ 4352003 h 5092591"/>
              <a:gd name="connsiteX197" fmla="*/ 2225745 w 4546203"/>
              <a:gd name="connsiteY197" fmla="*/ 4291116 h 5092591"/>
              <a:gd name="connsiteX198" fmla="*/ 2166848 w 4546203"/>
              <a:gd name="connsiteY198" fmla="*/ 4291116 h 5092591"/>
              <a:gd name="connsiteX199" fmla="*/ 2297619 w 4546203"/>
              <a:gd name="connsiteY199" fmla="*/ 4290519 h 5092591"/>
              <a:gd name="connsiteX200" fmla="*/ 2259173 w 4546203"/>
              <a:gd name="connsiteY200" fmla="*/ 4292310 h 5092591"/>
              <a:gd name="connsiteX201" fmla="*/ 2255592 w 4546203"/>
              <a:gd name="connsiteY201" fmla="*/ 4293902 h 5092591"/>
              <a:gd name="connsiteX202" fmla="*/ 2255592 w 4546203"/>
              <a:gd name="connsiteY202" fmla="*/ 4353197 h 5092591"/>
              <a:gd name="connsiteX203" fmla="*/ 2316478 w 4546203"/>
              <a:gd name="connsiteY203" fmla="*/ 4353197 h 5092591"/>
              <a:gd name="connsiteX204" fmla="*/ 2297619 w 4546203"/>
              <a:gd name="connsiteY204" fmla="*/ 4290519 h 5092591"/>
              <a:gd name="connsiteX205" fmla="*/ 3061046 w 4546203"/>
              <a:gd name="connsiteY205" fmla="*/ 4283555 h 5092591"/>
              <a:gd name="connsiteX206" fmla="*/ 3016874 w 4546203"/>
              <a:gd name="connsiteY206" fmla="*/ 4303453 h 5092591"/>
              <a:gd name="connsiteX207" fmla="*/ 3053883 w 4546203"/>
              <a:gd name="connsiteY207" fmla="*/ 4390206 h 5092591"/>
              <a:gd name="connsiteX208" fmla="*/ 3100046 w 4546203"/>
              <a:gd name="connsiteY208" fmla="*/ 4369115 h 5092591"/>
              <a:gd name="connsiteX209" fmla="*/ 3061046 w 4546203"/>
              <a:gd name="connsiteY209" fmla="*/ 4283555 h 5092591"/>
              <a:gd name="connsiteX210" fmla="*/ 1719948 w 4546203"/>
              <a:gd name="connsiteY210" fmla="*/ 4283157 h 5092591"/>
              <a:gd name="connsiteX211" fmla="*/ 1706816 w 4546203"/>
              <a:gd name="connsiteY211" fmla="*/ 4326136 h 5092591"/>
              <a:gd name="connsiteX212" fmla="*/ 1788794 w 4546203"/>
              <a:gd name="connsiteY212" fmla="*/ 4350013 h 5092591"/>
              <a:gd name="connsiteX213" fmla="*/ 1800733 w 4546203"/>
              <a:gd name="connsiteY213" fmla="*/ 4306239 h 5092591"/>
              <a:gd name="connsiteX214" fmla="*/ 1719948 w 4546203"/>
              <a:gd name="connsiteY214" fmla="*/ 4283157 h 5092591"/>
              <a:gd name="connsiteX215" fmla="*/ 2079299 w 4546203"/>
              <a:gd name="connsiteY215" fmla="*/ 4281167 h 5092591"/>
              <a:gd name="connsiteX216" fmla="*/ 2072534 w 4546203"/>
              <a:gd name="connsiteY216" fmla="*/ 4344442 h 5092591"/>
              <a:gd name="connsiteX217" fmla="*/ 2135012 w 4546203"/>
              <a:gd name="connsiteY217" fmla="*/ 4350013 h 5092591"/>
              <a:gd name="connsiteX218" fmla="*/ 2139390 w 4546203"/>
              <a:gd name="connsiteY218" fmla="*/ 4287137 h 5092591"/>
              <a:gd name="connsiteX219" fmla="*/ 2079299 w 4546203"/>
              <a:gd name="connsiteY219" fmla="*/ 4281167 h 5092591"/>
              <a:gd name="connsiteX220" fmla="*/ 2819489 w 4546203"/>
              <a:gd name="connsiteY220" fmla="*/ 4267637 h 5092591"/>
              <a:gd name="connsiteX221" fmla="*/ 2775715 w 4546203"/>
              <a:gd name="connsiteY221" fmla="*/ 4281167 h 5092591"/>
              <a:gd name="connsiteX222" fmla="*/ 2801980 w 4546203"/>
              <a:gd name="connsiteY222" fmla="*/ 4371104 h 5092591"/>
              <a:gd name="connsiteX223" fmla="*/ 2848142 w 4546203"/>
              <a:gd name="connsiteY223" fmla="*/ 4357574 h 5092591"/>
              <a:gd name="connsiteX224" fmla="*/ 2819489 w 4546203"/>
              <a:gd name="connsiteY224" fmla="*/ 4267637 h 5092591"/>
              <a:gd name="connsiteX225" fmla="*/ 1467647 w 4546203"/>
              <a:gd name="connsiteY225" fmla="*/ 4254106 h 5092591"/>
              <a:gd name="connsiteX226" fmla="*/ 1448545 w 4546203"/>
              <a:gd name="connsiteY226" fmla="*/ 4295096 h 5092591"/>
              <a:gd name="connsiteX227" fmla="*/ 1529727 w 4546203"/>
              <a:gd name="connsiteY227" fmla="*/ 4330911 h 5092591"/>
              <a:gd name="connsiteX228" fmla="*/ 1546839 w 4546203"/>
              <a:gd name="connsiteY228" fmla="*/ 4289524 h 5092591"/>
              <a:gd name="connsiteX229" fmla="*/ 1467647 w 4546203"/>
              <a:gd name="connsiteY229" fmla="*/ 4254106 h 5092591"/>
              <a:gd name="connsiteX230" fmla="*/ 1851670 w 4546203"/>
              <a:gd name="connsiteY230" fmla="*/ 4251719 h 5092591"/>
              <a:gd name="connsiteX231" fmla="*/ 1842120 w 4546203"/>
              <a:gd name="connsiteY231" fmla="*/ 4295494 h 5092591"/>
              <a:gd name="connsiteX232" fmla="*/ 1922108 w 4546203"/>
              <a:gd name="connsiteY232" fmla="*/ 4313401 h 5092591"/>
              <a:gd name="connsiteX233" fmla="*/ 1930863 w 4546203"/>
              <a:gd name="connsiteY233" fmla="*/ 4268831 h 5092591"/>
              <a:gd name="connsiteX234" fmla="*/ 1851670 w 4546203"/>
              <a:gd name="connsiteY234" fmla="*/ 4251719 h 5092591"/>
              <a:gd name="connsiteX235" fmla="*/ 2870029 w 4546203"/>
              <a:gd name="connsiteY235" fmla="*/ 4250525 h 5092591"/>
              <a:gd name="connsiteX236" fmla="*/ 2826653 w 4546203"/>
              <a:gd name="connsiteY236" fmla="*/ 4265647 h 5092591"/>
              <a:gd name="connsiteX237" fmla="*/ 2856101 w 4546203"/>
              <a:gd name="connsiteY237" fmla="*/ 4355186 h 5092591"/>
              <a:gd name="connsiteX238" fmla="*/ 2901468 w 4546203"/>
              <a:gd name="connsiteY238" fmla="*/ 4338870 h 5092591"/>
              <a:gd name="connsiteX239" fmla="*/ 2870029 w 4546203"/>
              <a:gd name="connsiteY239" fmla="*/ 4250525 h 5092591"/>
              <a:gd name="connsiteX240" fmla="*/ 1606134 w 4546203"/>
              <a:gd name="connsiteY240" fmla="*/ 4242964 h 5092591"/>
              <a:gd name="connsiteX241" fmla="*/ 1589818 w 4546203"/>
              <a:gd name="connsiteY241" fmla="*/ 4284749 h 5092591"/>
              <a:gd name="connsiteX242" fmla="*/ 1670204 w 4546203"/>
              <a:gd name="connsiteY242" fmla="*/ 4314198 h 5092591"/>
              <a:gd name="connsiteX243" fmla="*/ 1684929 w 4546203"/>
              <a:gd name="connsiteY243" fmla="*/ 4271616 h 5092591"/>
              <a:gd name="connsiteX244" fmla="*/ 1606134 w 4546203"/>
              <a:gd name="connsiteY244" fmla="*/ 4242964 h 5092591"/>
              <a:gd name="connsiteX245" fmla="*/ 2919773 w 4546203"/>
              <a:gd name="connsiteY245" fmla="*/ 4232219 h 5092591"/>
              <a:gd name="connsiteX246" fmla="*/ 2877192 w 4546203"/>
              <a:gd name="connsiteY246" fmla="*/ 4248137 h 5092591"/>
              <a:gd name="connsiteX247" fmla="*/ 2909029 w 4546203"/>
              <a:gd name="connsiteY247" fmla="*/ 4336881 h 5092591"/>
              <a:gd name="connsiteX248" fmla="*/ 2953997 w 4546203"/>
              <a:gd name="connsiteY248" fmla="*/ 4320167 h 5092591"/>
              <a:gd name="connsiteX249" fmla="*/ 2919773 w 4546203"/>
              <a:gd name="connsiteY249" fmla="*/ 4232219 h 5092591"/>
              <a:gd name="connsiteX250" fmla="*/ 1739846 w 4546203"/>
              <a:gd name="connsiteY250" fmla="*/ 4221077 h 5092591"/>
              <a:gd name="connsiteX251" fmla="*/ 1726315 w 4546203"/>
              <a:gd name="connsiteY251" fmla="*/ 4264055 h 5092591"/>
              <a:gd name="connsiteX252" fmla="*/ 1806304 w 4546203"/>
              <a:gd name="connsiteY252" fmla="*/ 4286341 h 5092591"/>
              <a:gd name="connsiteX253" fmla="*/ 1817446 w 4546203"/>
              <a:gd name="connsiteY253" fmla="*/ 4242964 h 5092591"/>
              <a:gd name="connsiteX254" fmla="*/ 1739846 w 4546203"/>
              <a:gd name="connsiteY254" fmla="*/ 4221077 h 5092591"/>
              <a:gd name="connsiteX255" fmla="*/ 2969915 w 4546203"/>
              <a:gd name="connsiteY255" fmla="*/ 4211924 h 5092591"/>
              <a:gd name="connsiteX256" fmla="*/ 2927732 w 4546203"/>
              <a:gd name="connsiteY256" fmla="*/ 4229831 h 5092591"/>
              <a:gd name="connsiteX257" fmla="*/ 2961956 w 4546203"/>
              <a:gd name="connsiteY257" fmla="*/ 4317381 h 5092591"/>
              <a:gd name="connsiteX258" fmla="*/ 3006527 w 4546203"/>
              <a:gd name="connsiteY258" fmla="*/ 4298677 h 5092591"/>
              <a:gd name="connsiteX259" fmla="*/ 2969915 w 4546203"/>
              <a:gd name="connsiteY259" fmla="*/ 4211924 h 5092591"/>
              <a:gd name="connsiteX260" fmla="*/ 2171624 w 4546203"/>
              <a:gd name="connsiteY260" fmla="*/ 4197995 h 5092591"/>
              <a:gd name="connsiteX261" fmla="*/ 2168838 w 4546203"/>
              <a:gd name="connsiteY261" fmla="*/ 4259678 h 5092591"/>
              <a:gd name="connsiteX262" fmla="*/ 2228133 w 4546203"/>
              <a:gd name="connsiteY262" fmla="*/ 4259678 h 5092591"/>
              <a:gd name="connsiteX263" fmla="*/ 2227735 w 4546203"/>
              <a:gd name="connsiteY263" fmla="*/ 4197995 h 5092591"/>
              <a:gd name="connsiteX264" fmla="*/ 2171624 w 4546203"/>
              <a:gd name="connsiteY264" fmla="*/ 4197995 h 5092591"/>
              <a:gd name="connsiteX265" fmla="*/ 2396069 w 4546203"/>
              <a:gd name="connsiteY265" fmla="*/ 4194016 h 5092591"/>
              <a:gd name="connsiteX266" fmla="*/ 2341947 w 4546203"/>
              <a:gd name="connsiteY266" fmla="*/ 4197995 h 5092591"/>
              <a:gd name="connsiteX267" fmla="*/ 2341549 w 4546203"/>
              <a:gd name="connsiteY267" fmla="*/ 4261270 h 5092591"/>
              <a:gd name="connsiteX268" fmla="*/ 2401640 w 4546203"/>
              <a:gd name="connsiteY268" fmla="*/ 4257688 h 5092591"/>
              <a:gd name="connsiteX269" fmla="*/ 2396069 w 4546203"/>
              <a:gd name="connsiteY269" fmla="*/ 4194016 h 5092591"/>
              <a:gd name="connsiteX270" fmla="*/ 2089248 w 4546203"/>
              <a:gd name="connsiteY270" fmla="*/ 4189638 h 5092591"/>
              <a:gd name="connsiteX271" fmla="*/ 2082483 w 4546203"/>
              <a:gd name="connsiteY271" fmla="*/ 4252515 h 5092591"/>
              <a:gd name="connsiteX272" fmla="*/ 2141777 w 4546203"/>
              <a:gd name="connsiteY272" fmla="*/ 4258086 h 5092591"/>
              <a:gd name="connsiteX273" fmla="*/ 2146155 w 4546203"/>
              <a:gd name="connsiteY273" fmla="*/ 4194812 h 5092591"/>
              <a:gd name="connsiteX274" fmla="*/ 2089248 w 4546203"/>
              <a:gd name="connsiteY274" fmla="*/ 4189638 h 5092591"/>
              <a:gd name="connsiteX275" fmla="*/ 2687767 w 4546203"/>
              <a:gd name="connsiteY275" fmla="*/ 4183669 h 5092591"/>
              <a:gd name="connsiteX276" fmla="*/ 2649962 w 4546203"/>
              <a:gd name="connsiteY276" fmla="*/ 4193618 h 5092591"/>
              <a:gd name="connsiteX277" fmla="*/ 2659911 w 4546203"/>
              <a:gd name="connsiteY277" fmla="*/ 4233811 h 5092591"/>
              <a:gd name="connsiteX278" fmla="*/ 2697716 w 4546203"/>
              <a:gd name="connsiteY278" fmla="*/ 4224260 h 5092591"/>
              <a:gd name="connsiteX279" fmla="*/ 2687767 w 4546203"/>
              <a:gd name="connsiteY279" fmla="*/ 4183669 h 5092591"/>
              <a:gd name="connsiteX280" fmla="*/ 1630011 w 4546203"/>
              <a:gd name="connsiteY280" fmla="*/ 4182077 h 5092591"/>
              <a:gd name="connsiteX281" fmla="*/ 1614093 w 4546203"/>
              <a:gd name="connsiteY281" fmla="*/ 4223862 h 5092591"/>
              <a:gd name="connsiteX282" fmla="*/ 1691296 w 4546203"/>
              <a:gd name="connsiteY282" fmla="*/ 4252515 h 5092591"/>
              <a:gd name="connsiteX283" fmla="*/ 1706020 w 4546203"/>
              <a:gd name="connsiteY283" fmla="*/ 4209934 h 5092591"/>
              <a:gd name="connsiteX284" fmla="*/ 1630011 w 4546203"/>
              <a:gd name="connsiteY284" fmla="*/ 4182077 h 5092591"/>
              <a:gd name="connsiteX285" fmla="*/ 2788449 w 4546203"/>
              <a:gd name="connsiteY285" fmla="*/ 4170139 h 5092591"/>
              <a:gd name="connsiteX286" fmla="*/ 2747062 w 4546203"/>
              <a:gd name="connsiteY286" fmla="*/ 4183271 h 5092591"/>
              <a:gd name="connsiteX287" fmla="*/ 2773725 w 4546203"/>
              <a:gd name="connsiteY287" fmla="*/ 4273208 h 5092591"/>
              <a:gd name="connsiteX288" fmla="*/ 2817102 w 4546203"/>
              <a:gd name="connsiteY288" fmla="*/ 4259678 h 5092591"/>
              <a:gd name="connsiteX289" fmla="*/ 2788449 w 4546203"/>
              <a:gd name="connsiteY289" fmla="*/ 4170139 h 5092591"/>
              <a:gd name="connsiteX290" fmla="*/ 2836203 w 4546203"/>
              <a:gd name="connsiteY290" fmla="*/ 4154220 h 5092591"/>
              <a:gd name="connsiteX291" fmla="*/ 2794817 w 4546203"/>
              <a:gd name="connsiteY291" fmla="*/ 4167751 h 5092591"/>
              <a:gd name="connsiteX292" fmla="*/ 2824265 w 4546203"/>
              <a:gd name="connsiteY292" fmla="*/ 4257688 h 5092591"/>
              <a:gd name="connsiteX293" fmla="*/ 2867244 w 4546203"/>
              <a:gd name="connsiteY293" fmla="*/ 4242168 h 5092591"/>
              <a:gd name="connsiteX294" fmla="*/ 2836203 w 4546203"/>
              <a:gd name="connsiteY294" fmla="*/ 4154220 h 5092591"/>
              <a:gd name="connsiteX295" fmla="*/ 2599820 w 4546203"/>
              <a:gd name="connsiteY295" fmla="*/ 4145864 h 5092591"/>
              <a:gd name="connsiteX296" fmla="*/ 2563209 w 4546203"/>
              <a:gd name="connsiteY296" fmla="*/ 4152629 h 5092591"/>
              <a:gd name="connsiteX297" fmla="*/ 2571168 w 4546203"/>
              <a:gd name="connsiteY297" fmla="*/ 4194016 h 5092591"/>
              <a:gd name="connsiteX298" fmla="*/ 2608575 w 4546203"/>
              <a:gd name="connsiteY298" fmla="*/ 4186454 h 5092591"/>
              <a:gd name="connsiteX299" fmla="*/ 2599820 w 4546203"/>
              <a:gd name="connsiteY299" fmla="*/ 4145864 h 5092591"/>
              <a:gd name="connsiteX300" fmla="*/ 1522962 w 4546203"/>
              <a:gd name="connsiteY300" fmla="*/ 4135915 h 5092591"/>
              <a:gd name="connsiteX301" fmla="*/ 1504258 w 4546203"/>
              <a:gd name="connsiteY301" fmla="*/ 4176506 h 5092591"/>
              <a:gd name="connsiteX302" fmla="*/ 1579471 w 4546203"/>
              <a:gd name="connsiteY302" fmla="*/ 4209934 h 5092591"/>
              <a:gd name="connsiteX303" fmla="*/ 1596981 w 4546203"/>
              <a:gd name="connsiteY303" fmla="*/ 4168547 h 5092591"/>
              <a:gd name="connsiteX304" fmla="*/ 1522962 w 4546203"/>
              <a:gd name="connsiteY304" fmla="*/ 4135915 h 5092591"/>
              <a:gd name="connsiteX305" fmla="*/ 2773725 w 4546203"/>
              <a:gd name="connsiteY305" fmla="*/ 4125568 h 5092591"/>
              <a:gd name="connsiteX306" fmla="*/ 2734328 w 4546203"/>
              <a:gd name="connsiteY306" fmla="*/ 4138700 h 5092591"/>
              <a:gd name="connsiteX307" fmla="*/ 2745073 w 4546203"/>
              <a:gd name="connsiteY307" fmla="*/ 4175312 h 5092591"/>
              <a:gd name="connsiteX308" fmla="*/ 2786062 w 4546203"/>
              <a:gd name="connsiteY308" fmla="*/ 4162976 h 5092591"/>
              <a:gd name="connsiteX309" fmla="*/ 2773725 w 4546203"/>
              <a:gd name="connsiteY309" fmla="*/ 4125568 h 5092591"/>
              <a:gd name="connsiteX310" fmla="*/ 1883507 w 4546203"/>
              <a:gd name="connsiteY310" fmla="*/ 4125170 h 5092591"/>
              <a:gd name="connsiteX311" fmla="*/ 1872762 w 4546203"/>
              <a:gd name="connsiteY311" fmla="*/ 4168945 h 5092591"/>
              <a:gd name="connsiteX312" fmla="*/ 1947577 w 4546203"/>
              <a:gd name="connsiteY312" fmla="*/ 4185659 h 5092591"/>
              <a:gd name="connsiteX313" fmla="*/ 1956332 w 4546203"/>
              <a:gd name="connsiteY313" fmla="*/ 4141088 h 5092591"/>
              <a:gd name="connsiteX314" fmla="*/ 1883507 w 4546203"/>
              <a:gd name="connsiteY314" fmla="*/ 4125170 h 5092591"/>
              <a:gd name="connsiteX315" fmla="*/ 1996525 w 4546203"/>
              <a:gd name="connsiteY315" fmla="*/ 4124374 h 5092591"/>
              <a:gd name="connsiteX316" fmla="*/ 1982199 w 4546203"/>
              <a:gd name="connsiteY316" fmla="*/ 4207546 h 5092591"/>
              <a:gd name="connsiteX317" fmla="*/ 2047463 w 4546203"/>
              <a:gd name="connsiteY317" fmla="*/ 4217097 h 5092591"/>
              <a:gd name="connsiteX318" fmla="*/ 2058605 w 4546203"/>
              <a:gd name="connsiteY318" fmla="*/ 4133527 h 5092591"/>
              <a:gd name="connsiteX319" fmla="*/ 1996525 w 4546203"/>
              <a:gd name="connsiteY319" fmla="*/ 4124374 h 5092591"/>
              <a:gd name="connsiteX320" fmla="*/ 1653888 w 4546203"/>
              <a:gd name="connsiteY320" fmla="*/ 4120792 h 5092591"/>
              <a:gd name="connsiteX321" fmla="*/ 1637572 w 4546203"/>
              <a:gd name="connsiteY321" fmla="*/ 4162976 h 5092591"/>
              <a:gd name="connsiteX322" fmla="*/ 1712785 w 4546203"/>
              <a:gd name="connsiteY322" fmla="*/ 4190036 h 5092591"/>
              <a:gd name="connsiteX323" fmla="*/ 1726713 w 4546203"/>
              <a:gd name="connsiteY323" fmla="*/ 4147455 h 5092591"/>
              <a:gd name="connsiteX324" fmla="*/ 1653888 w 4546203"/>
              <a:gd name="connsiteY324" fmla="*/ 4120792 h 5092591"/>
              <a:gd name="connsiteX325" fmla="*/ 2930518 w 4546203"/>
              <a:gd name="connsiteY325" fmla="*/ 4117609 h 5092591"/>
              <a:gd name="connsiteX326" fmla="*/ 2890325 w 4546203"/>
              <a:gd name="connsiteY326" fmla="*/ 4133925 h 5092591"/>
              <a:gd name="connsiteX327" fmla="*/ 2924549 w 4546203"/>
              <a:gd name="connsiteY327" fmla="*/ 4221872 h 5092591"/>
              <a:gd name="connsiteX328" fmla="*/ 2967130 w 4546203"/>
              <a:gd name="connsiteY328" fmla="*/ 4204362 h 5092591"/>
              <a:gd name="connsiteX329" fmla="*/ 2930518 w 4546203"/>
              <a:gd name="connsiteY329" fmla="*/ 4117609 h 5092591"/>
              <a:gd name="connsiteX330" fmla="*/ 2820683 w 4546203"/>
              <a:gd name="connsiteY330" fmla="*/ 4110446 h 5092591"/>
              <a:gd name="connsiteX331" fmla="*/ 2780888 w 4546203"/>
              <a:gd name="connsiteY331" fmla="*/ 4123976 h 5092591"/>
              <a:gd name="connsiteX332" fmla="*/ 2792827 w 4546203"/>
              <a:gd name="connsiteY332" fmla="*/ 4160588 h 5092591"/>
              <a:gd name="connsiteX333" fmla="*/ 2833418 w 4546203"/>
              <a:gd name="connsiteY333" fmla="*/ 4146261 h 5092591"/>
              <a:gd name="connsiteX334" fmla="*/ 2820683 w 4546203"/>
              <a:gd name="connsiteY334" fmla="*/ 4110446 h 5092591"/>
              <a:gd name="connsiteX335" fmla="*/ 2256786 w 4546203"/>
              <a:gd name="connsiteY335" fmla="*/ 4107660 h 5092591"/>
              <a:gd name="connsiteX336" fmla="*/ 2256786 w 4546203"/>
              <a:gd name="connsiteY336" fmla="*/ 4168547 h 5092591"/>
              <a:gd name="connsiteX337" fmla="*/ 2310111 w 4546203"/>
              <a:gd name="connsiteY337" fmla="*/ 4168547 h 5092591"/>
              <a:gd name="connsiteX338" fmla="*/ 2310111 w 4546203"/>
              <a:gd name="connsiteY338" fmla="*/ 4107660 h 5092591"/>
              <a:gd name="connsiteX339" fmla="*/ 2256786 w 4546203"/>
              <a:gd name="connsiteY339" fmla="*/ 4107660 h 5092591"/>
              <a:gd name="connsiteX340" fmla="*/ 2177593 w 4546203"/>
              <a:gd name="connsiteY340" fmla="*/ 4104079 h 5092591"/>
              <a:gd name="connsiteX341" fmla="*/ 2173613 w 4546203"/>
              <a:gd name="connsiteY341" fmla="*/ 4167751 h 5092591"/>
              <a:gd name="connsiteX342" fmla="*/ 2230123 w 4546203"/>
              <a:gd name="connsiteY342" fmla="*/ 4167751 h 5092591"/>
              <a:gd name="connsiteX343" fmla="*/ 2230123 w 4546203"/>
              <a:gd name="connsiteY343" fmla="*/ 4106466 h 5092591"/>
              <a:gd name="connsiteX344" fmla="*/ 2177593 w 4546203"/>
              <a:gd name="connsiteY344" fmla="*/ 4104079 h 5092591"/>
              <a:gd name="connsiteX345" fmla="*/ 2389701 w 4546203"/>
              <a:gd name="connsiteY345" fmla="*/ 4102089 h 5092591"/>
              <a:gd name="connsiteX346" fmla="*/ 2335580 w 4546203"/>
              <a:gd name="connsiteY346" fmla="*/ 4105671 h 5092591"/>
              <a:gd name="connsiteX347" fmla="*/ 2338764 w 4546203"/>
              <a:gd name="connsiteY347" fmla="*/ 4169343 h 5092591"/>
              <a:gd name="connsiteX348" fmla="*/ 2394875 w 4546203"/>
              <a:gd name="connsiteY348" fmla="*/ 4165363 h 5092591"/>
              <a:gd name="connsiteX349" fmla="*/ 2389701 w 4546203"/>
              <a:gd name="connsiteY349" fmla="*/ 4102089 h 5092591"/>
              <a:gd name="connsiteX350" fmla="*/ 2514260 w 4546203"/>
              <a:gd name="connsiteY350" fmla="*/ 4101293 h 5092591"/>
              <a:gd name="connsiteX351" fmla="*/ 2478843 w 4546203"/>
              <a:gd name="connsiteY351" fmla="*/ 4105671 h 5092591"/>
              <a:gd name="connsiteX352" fmla="*/ 2485210 w 4546203"/>
              <a:gd name="connsiteY352" fmla="*/ 4147455 h 5092591"/>
              <a:gd name="connsiteX353" fmla="*/ 2521025 w 4546203"/>
              <a:gd name="connsiteY353" fmla="*/ 4141486 h 5092591"/>
              <a:gd name="connsiteX354" fmla="*/ 2514260 w 4546203"/>
              <a:gd name="connsiteY354" fmla="*/ 4101293 h 5092591"/>
              <a:gd name="connsiteX355" fmla="*/ 1067705 w 4546203"/>
              <a:gd name="connsiteY355" fmla="*/ 4101293 h 5092591"/>
              <a:gd name="connsiteX356" fmla="*/ 1037859 w 4546203"/>
              <a:gd name="connsiteY356" fmla="*/ 4140292 h 5092591"/>
              <a:gd name="connsiteX357" fmla="*/ 1081235 w 4546203"/>
              <a:gd name="connsiteY357" fmla="*/ 4172128 h 5092591"/>
              <a:gd name="connsiteX358" fmla="*/ 1109888 w 4546203"/>
              <a:gd name="connsiteY358" fmla="*/ 4133129 h 5092591"/>
              <a:gd name="connsiteX359" fmla="*/ 1067705 w 4546203"/>
              <a:gd name="connsiteY359" fmla="*/ 4101293 h 5092591"/>
              <a:gd name="connsiteX360" fmla="*/ 2975885 w 4546203"/>
              <a:gd name="connsiteY360" fmla="*/ 4097711 h 5092591"/>
              <a:gd name="connsiteX361" fmla="*/ 2936487 w 4546203"/>
              <a:gd name="connsiteY361" fmla="*/ 4115619 h 5092591"/>
              <a:gd name="connsiteX362" fmla="*/ 2973497 w 4546203"/>
              <a:gd name="connsiteY362" fmla="*/ 4201975 h 5092591"/>
              <a:gd name="connsiteX363" fmla="*/ 3015282 w 4546203"/>
              <a:gd name="connsiteY363" fmla="*/ 4183271 h 5092591"/>
              <a:gd name="connsiteX364" fmla="*/ 2975885 w 4546203"/>
              <a:gd name="connsiteY364" fmla="*/ 4097711 h 5092591"/>
              <a:gd name="connsiteX365" fmla="*/ 1779243 w 4546203"/>
              <a:gd name="connsiteY365" fmla="*/ 4096120 h 5092591"/>
              <a:gd name="connsiteX366" fmla="*/ 1766111 w 4546203"/>
              <a:gd name="connsiteY366" fmla="*/ 4139099 h 5092591"/>
              <a:gd name="connsiteX367" fmla="*/ 1839732 w 4546203"/>
              <a:gd name="connsiteY367" fmla="*/ 4159792 h 5092591"/>
              <a:gd name="connsiteX368" fmla="*/ 1850875 w 4546203"/>
              <a:gd name="connsiteY368" fmla="*/ 4116415 h 5092591"/>
              <a:gd name="connsiteX369" fmla="*/ 1779243 w 4546203"/>
              <a:gd name="connsiteY369" fmla="*/ 4096120 h 5092591"/>
              <a:gd name="connsiteX370" fmla="*/ 2866050 w 4546203"/>
              <a:gd name="connsiteY370" fmla="*/ 4093334 h 5092591"/>
              <a:gd name="connsiteX371" fmla="*/ 2827448 w 4546203"/>
              <a:gd name="connsiteY371" fmla="*/ 4108058 h 5092591"/>
              <a:gd name="connsiteX372" fmla="*/ 2840581 w 4546203"/>
              <a:gd name="connsiteY372" fmla="*/ 4144272 h 5092591"/>
              <a:gd name="connsiteX373" fmla="*/ 2880774 w 4546203"/>
              <a:gd name="connsiteY373" fmla="*/ 4128354 h 5092591"/>
              <a:gd name="connsiteX374" fmla="*/ 2866050 w 4546203"/>
              <a:gd name="connsiteY374" fmla="*/ 4093334 h 5092591"/>
              <a:gd name="connsiteX375" fmla="*/ 3548537 w 4546203"/>
              <a:gd name="connsiteY375" fmla="*/ 4083783 h 5092591"/>
              <a:gd name="connsiteX376" fmla="*/ 3509538 w 4546203"/>
              <a:gd name="connsiteY376" fmla="*/ 4115619 h 5092591"/>
              <a:gd name="connsiteX377" fmla="*/ 3533017 w 4546203"/>
              <a:gd name="connsiteY377" fmla="*/ 4145068 h 5092591"/>
              <a:gd name="connsiteX378" fmla="*/ 3572813 w 4546203"/>
              <a:gd name="connsiteY378" fmla="*/ 4112436 h 5092591"/>
              <a:gd name="connsiteX379" fmla="*/ 3548537 w 4546203"/>
              <a:gd name="connsiteY379" fmla="*/ 4083783 h 5092591"/>
              <a:gd name="connsiteX380" fmla="*/ 1550819 w 4546203"/>
              <a:gd name="connsiteY380" fmla="*/ 4077018 h 5092591"/>
              <a:gd name="connsiteX381" fmla="*/ 1531717 w 4546203"/>
              <a:gd name="connsiteY381" fmla="*/ 4117211 h 5092591"/>
              <a:gd name="connsiteX382" fmla="*/ 1604542 w 4546203"/>
              <a:gd name="connsiteY382" fmla="*/ 4149843 h 5092591"/>
              <a:gd name="connsiteX383" fmla="*/ 1622052 w 4546203"/>
              <a:gd name="connsiteY383" fmla="*/ 4108058 h 5092591"/>
              <a:gd name="connsiteX384" fmla="*/ 1550819 w 4546203"/>
              <a:gd name="connsiteY384" fmla="*/ 4077018 h 5092591"/>
              <a:gd name="connsiteX385" fmla="*/ 2911814 w 4546203"/>
              <a:gd name="connsiteY385" fmla="*/ 4075028 h 5092591"/>
              <a:gd name="connsiteX386" fmla="*/ 2873213 w 4546203"/>
              <a:gd name="connsiteY386" fmla="*/ 4090946 h 5092591"/>
              <a:gd name="connsiteX387" fmla="*/ 2887539 w 4546203"/>
              <a:gd name="connsiteY387" fmla="*/ 4127160 h 5092591"/>
              <a:gd name="connsiteX388" fmla="*/ 2926936 w 4546203"/>
              <a:gd name="connsiteY388" fmla="*/ 4110446 h 5092591"/>
              <a:gd name="connsiteX389" fmla="*/ 2911814 w 4546203"/>
              <a:gd name="connsiteY389" fmla="*/ 4075028 h 5092591"/>
              <a:gd name="connsiteX390" fmla="*/ 2757409 w 4546203"/>
              <a:gd name="connsiteY390" fmla="*/ 4073038 h 5092591"/>
              <a:gd name="connsiteX391" fmla="*/ 2718808 w 4546203"/>
              <a:gd name="connsiteY391" fmla="*/ 4084977 h 5092591"/>
              <a:gd name="connsiteX392" fmla="*/ 2729155 w 4546203"/>
              <a:gd name="connsiteY392" fmla="*/ 4119997 h 5092591"/>
              <a:gd name="connsiteX393" fmla="*/ 2768552 w 4546203"/>
              <a:gd name="connsiteY393" fmla="*/ 4108058 h 5092591"/>
              <a:gd name="connsiteX394" fmla="*/ 2757409 w 4546203"/>
              <a:gd name="connsiteY394" fmla="*/ 4073038 h 5092591"/>
              <a:gd name="connsiteX395" fmla="*/ 2801980 w 4546203"/>
              <a:gd name="connsiteY395" fmla="*/ 4057916 h 5092591"/>
              <a:gd name="connsiteX396" fmla="*/ 2763776 w 4546203"/>
              <a:gd name="connsiteY396" fmla="*/ 4071447 h 5092591"/>
              <a:gd name="connsiteX397" fmla="*/ 2775715 w 4546203"/>
              <a:gd name="connsiteY397" fmla="*/ 4106068 h 5092591"/>
              <a:gd name="connsiteX398" fmla="*/ 2814316 w 4546203"/>
              <a:gd name="connsiteY398" fmla="*/ 4092538 h 5092591"/>
              <a:gd name="connsiteX399" fmla="*/ 2801980 w 4546203"/>
              <a:gd name="connsiteY399" fmla="*/ 4057916 h 5092591"/>
              <a:gd name="connsiteX400" fmla="*/ 2956783 w 4546203"/>
              <a:gd name="connsiteY400" fmla="*/ 4055528 h 5092591"/>
              <a:gd name="connsiteX401" fmla="*/ 2918580 w 4546203"/>
              <a:gd name="connsiteY401" fmla="*/ 4072640 h 5092591"/>
              <a:gd name="connsiteX402" fmla="*/ 2934100 w 4546203"/>
              <a:gd name="connsiteY402" fmla="*/ 4107660 h 5092591"/>
              <a:gd name="connsiteX403" fmla="*/ 2973497 w 4546203"/>
              <a:gd name="connsiteY403" fmla="*/ 4090548 h 5092591"/>
              <a:gd name="connsiteX404" fmla="*/ 2956783 w 4546203"/>
              <a:gd name="connsiteY404" fmla="*/ 4055528 h 5092591"/>
              <a:gd name="connsiteX405" fmla="*/ 1008410 w 4546203"/>
              <a:gd name="connsiteY405" fmla="*/ 4053539 h 5092591"/>
              <a:gd name="connsiteX406" fmla="*/ 977370 w 4546203"/>
              <a:gd name="connsiteY406" fmla="*/ 4091344 h 5092591"/>
              <a:gd name="connsiteX407" fmla="*/ 1019155 w 4546203"/>
              <a:gd name="connsiteY407" fmla="*/ 4125170 h 5092591"/>
              <a:gd name="connsiteX408" fmla="*/ 1049399 w 4546203"/>
              <a:gd name="connsiteY408" fmla="*/ 4086966 h 5092591"/>
              <a:gd name="connsiteX409" fmla="*/ 1008410 w 4546203"/>
              <a:gd name="connsiteY409" fmla="*/ 4053539 h 5092591"/>
              <a:gd name="connsiteX410" fmla="*/ 1111082 w 4546203"/>
              <a:gd name="connsiteY410" fmla="*/ 4045182 h 5092591"/>
              <a:gd name="connsiteX411" fmla="*/ 1081235 w 4546203"/>
              <a:gd name="connsiteY411" fmla="*/ 4084181 h 5092591"/>
              <a:gd name="connsiteX412" fmla="*/ 1123020 w 4546203"/>
              <a:gd name="connsiteY412" fmla="*/ 4115221 h 5092591"/>
              <a:gd name="connsiteX413" fmla="*/ 1151673 w 4546203"/>
              <a:gd name="connsiteY413" fmla="*/ 4075824 h 5092591"/>
              <a:gd name="connsiteX414" fmla="*/ 1111082 w 4546203"/>
              <a:gd name="connsiteY414" fmla="*/ 4045182 h 5092591"/>
              <a:gd name="connsiteX415" fmla="*/ 2846152 w 4546203"/>
              <a:gd name="connsiteY415" fmla="*/ 4041600 h 5092591"/>
              <a:gd name="connsiteX416" fmla="*/ 2808745 w 4546203"/>
              <a:gd name="connsiteY416" fmla="*/ 4056722 h 5092591"/>
              <a:gd name="connsiteX417" fmla="*/ 2821081 w 4546203"/>
              <a:gd name="connsiteY417" fmla="*/ 4090946 h 5092591"/>
              <a:gd name="connsiteX418" fmla="*/ 2860081 w 4546203"/>
              <a:gd name="connsiteY418" fmla="*/ 4076222 h 5092591"/>
              <a:gd name="connsiteX419" fmla="*/ 2846152 w 4546203"/>
              <a:gd name="connsiteY419" fmla="*/ 4041600 h 5092591"/>
              <a:gd name="connsiteX420" fmla="*/ 3512722 w 4546203"/>
              <a:gd name="connsiteY420" fmla="*/ 4040008 h 5092591"/>
              <a:gd name="connsiteX421" fmla="*/ 3474518 w 4546203"/>
              <a:gd name="connsiteY421" fmla="*/ 4071447 h 5092591"/>
              <a:gd name="connsiteX422" fmla="*/ 3495610 w 4546203"/>
              <a:gd name="connsiteY422" fmla="*/ 4097314 h 5092591"/>
              <a:gd name="connsiteX423" fmla="*/ 3534211 w 4546203"/>
              <a:gd name="connsiteY423" fmla="*/ 4065875 h 5092591"/>
              <a:gd name="connsiteX424" fmla="*/ 3512722 w 4546203"/>
              <a:gd name="connsiteY424" fmla="*/ 4040008 h 5092591"/>
              <a:gd name="connsiteX425" fmla="*/ 2889927 w 4546203"/>
              <a:gd name="connsiteY425" fmla="*/ 4024090 h 5092591"/>
              <a:gd name="connsiteX426" fmla="*/ 2852917 w 4546203"/>
              <a:gd name="connsiteY426" fmla="*/ 4039610 h 5092591"/>
              <a:gd name="connsiteX427" fmla="*/ 2866448 w 4546203"/>
              <a:gd name="connsiteY427" fmla="*/ 4073834 h 5092591"/>
              <a:gd name="connsiteX428" fmla="*/ 2904651 w 4546203"/>
              <a:gd name="connsiteY428" fmla="*/ 4057518 h 5092591"/>
              <a:gd name="connsiteX429" fmla="*/ 2889927 w 4546203"/>
              <a:gd name="connsiteY429" fmla="*/ 4024090 h 5092591"/>
              <a:gd name="connsiteX430" fmla="*/ 2629667 w 4546203"/>
              <a:gd name="connsiteY430" fmla="*/ 4019713 h 5092591"/>
              <a:gd name="connsiteX431" fmla="*/ 2595841 w 4546203"/>
              <a:gd name="connsiteY431" fmla="*/ 4027672 h 5092591"/>
              <a:gd name="connsiteX432" fmla="*/ 2605391 w 4546203"/>
              <a:gd name="connsiteY432" fmla="*/ 4067865 h 5092591"/>
              <a:gd name="connsiteX433" fmla="*/ 2639615 w 4546203"/>
              <a:gd name="connsiteY433" fmla="*/ 4060304 h 5092591"/>
              <a:gd name="connsiteX434" fmla="*/ 2629667 w 4546203"/>
              <a:gd name="connsiteY434" fmla="*/ 4019713 h 5092591"/>
              <a:gd name="connsiteX435" fmla="*/ 2183562 w 4546203"/>
              <a:gd name="connsiteY435" fmla="*/ 4012152 h 5092591"/>
              <a:gd name="connsiteX436" fmla="*/ 2179583 w 4546203"/>
              <a:gd name="connsiteY436" fmla="*/ 4075426 h 5092591"/>
              <a:gd name="connsiteX437" fmla="*/ 2232908 w 4546203"/>
              <a:gd name="connsiteY437" fmla="*/ 4078212 h 5092591"/>
              <a:gd name="connsiteX438" fmla="*/ 2232908 w 4546203"/>
              <a:gd name="connsiteY438" fmla="*/ 4014539 h 5092591"/>
              <a:gd name="connsiteX439" fmla="*/ 2183562 w 4546203"/>
              <a:gd name="connsiteY439" fmla="*/ 4012152 h 5092591"/>
              <a:gd name="connsiteX440" fmla="*/ 2382538 w 4546203"/>
              <a:gd name="connsiteY440" fmla="*/ 4010162 h 5092591"/>
              <a:gd name="connsiteX441" fmla="*/ 2334386 w 4546203"/>
              <a:gd name="connsiteY441" fmla="*/ 4013346 h 5092591"/>
              <a:gd name="connsiteX442" fmla="*/ 2334386 w 4546203"/>
              <a:gd name="connsiteY442" fmla="*/ 4076620 h 5092591"/>
              <a:gd name="connsiteX443" fmla="*/ 2387712 w 4546203"/>
              <a:gd name="connsiteY443" fmla="*/ 4073834 h 5092591"/>
              <a:gd name="connsiteX444" fmla="*/ 2382538 w 4546203"/>
              <a:gd name="connsiteY444" fmla="*/ 4010162 h 5092591"/>
              <a:gd name="connsiteX445" fmla="*/ 2109145 w 4546203"/>
              <a:gd name="connsiteY445" fmla="*/ 4005387 h 5092591"/>
              <a:gd name="connsiteX446" fmla="*/ 2102380 w 4546203"/>
              <a:gd name="connsiteY446" fmla="*/ 4068661 h 5092591"/>
              <a:gd name="connsiteX447" fmla="*/ 2155308 w 4546203"/>
              <a:gd name="connsiteY447" fmla="*/ 4073436 h 5092591"/>
              <a:gd name="connsiteX448" fmla="*/ 2159685 w 4546203"/>
              <a:gd name="connsiteY448" fmla="*/ 4010162 h 5092591"/>
              <a:gd name="connsiteX449" fmla="*/ 2109145 w 4546203"/>
              <a:gd name="connsiteY449" fmla="*/ 4005387 h 5092591"/>
              <a:gd name="connsiteX450" fmla="*/ 2933702 w 4546203"/>
              <a:gd name="connsiteY450" fmla="*/ 4004988 h 5092591"/>
              <a:gd name="connsiteX451" fmla="*/ 2897090 w 4546203"/>
              <a:gd name="connsiteY451" fmla="*/ 4021305 h 5092591"/>
              <a:gd name="connsiteX452" fmla="*/ 2912212 w 4546203"/>
              <a:gd name="connsiteY452" fmla="*/ 4055528 h 5092591"/>
              <a:gd name="connsiteX453" fmla="*/ 2949620 w 4546203"/>
              <a:gd name="connsiteY453" fmla="*/ 4037621 h 5092591"/>
              <a:gd name="connsiteX454" fmla="*/ 2933702 w 4546203"/>
              <a:gd name="connsiteY454" fmla="*/ 4004988 h 5092591"/>
              <a:gd name="connsiteX455" fmla="*/ 951503 w 4546203"/>
              <a:gd name="connsiteY455" fmla="*/ 4003397 h 5092591"/>
              <a:gd name="connsiteX456" fmla="*/ 918473 w 4546203"/>
              <a:gd name="connsiteY456" fmla="*/ 4039610 h 5092591"/>
              <a:gd name="connsiteX457" fmla="*/ 959064 w 4546203"/>
              <a:gd name="connsiteY457" fmla="*/ 4075426 h 5092591"/>
              <a:gd name="connsiteX458" fmla="*/ 990900 w 4546203"/>
              <a:gd name="connsiteY458" fmla="*/ 4037621 h 5092591"/>
              <a:gd name="connsiteX459" fmla="*/ 951503 w 4546203"/>
              <a:gd name="connsiteY459" fmla="*/ 4003397 h 5092591"/>
              <a:gd name="connsiteX460" fmla="*/ 1701643 w 4546203"/>
              <a:gd name="connsiteY460" fmla="*/ 3999815 h 5092591"/>
              <a:gd name="connsiteX461" fmla="*/ 1685724 w 4546203"/>
              <a:gd name="connsiteY461" fmla="*/ 4041600 h 5092591"/>
              <a:gd name="connsiteX462" fmla="*/ 1754570 w 4546203"/>
              <a:gd name="connsiteY462" fmla="*/ 4066671 h 5092591"/>
              <a:gd name="connsiteX463" fmla="*/ 1768896 w 4546203"/>
              <a:gd name="connsiteY463" fmla="*/ 4024090 h 5092591"/>
              <a:gd name="connsiteX464" fmla="*/ 1701643 w 4546203"/>
              <a:gd name="connsiteY464" fmla="*/ 3999815 h 5092591"/>
              <a:gd name="connsiteX465" fmla="*/ 1054175 w 4546203"/>
              <a:gd name="connsiteY465" fmla="*/ 3999019 h 5092591"/>
              <a:gd name="connsiteX466" fmla="*/ 1022737 w 4546203"/>
              <a:gd name="connsiteY466" fmla="*/ 4036825 h 5092591"/>
              <a:gd name="connsiteX467" fmla="*/ 1062930 w 4546203"/>
              <a:gd name="connsiteY467" fmla="*/ 4069457 h 5092591"/>
              <a:gd name="connsiteX468" fmla="*/ 1093572 w 4546203"/>
              <a:gd name="connsiteY468" fmla="*/ 4031253 h 5092591"/>
              <a:gd name="connsiteX469" fmla="*/ 1054175 w 4546203"/>
              <a:gd name="connsiteY469" fmla="*/ 3999019 h 5092591"/>
              <a:gd name="connsiteX470" fmla="*/ 1914149 w 4546203"/>
              <a:gd name="connsiteY470" fmla="*/ 3997825 h 5092591"/>
              <a:gd name="connsiteX471" fmla="*/ 1903404 w 4546203"/>
              <a:gd name="connsiteY471" fmla="*/ 4041998 h 5092591"/>
              <a:gd name="connsiteX472" fmla="*/ 1972648 w 4546203"/>
              <a:gd name="connsiteY472" fmla="*/ 4056722 h 5092591"/>
              <a:gd name="connsiteX473" fmla="*/ 1980607 w 4546203"/>
              <a:gd name="connsiteY473" fmla="*/ 4012550 h 5092591"/>
              <a:gd name="connsiteX474" fmla="*/ 1914149 w 4546203"/>
              <a:gd name="connsiteY474" fmla="*/ 3997825 h 5092591"/>
              <a:gd name="connsiteX475" fmla="*/ 2515056 w 4546203"/>
              <a:gd name="connsiteY475" fmla="*/ 3993846 h 5092591"/>
              <a:gd name="connsiteX476" fmla="*/ 2482026 w 4546203"/>
              <a:gd name="connsiteY476" fmla="*/ 3999417 h 5092591"/>
              <a:gd name="connsiteX477" fmla="*/ 2487996 w 4546203"/>
              <a:gd name="connsiteY477" fmla="*/ 4040008 h 5092591"/>
              <a:gd name="connsiteX478" fmla="*/ 2521821 w 4546203"/>
              <a:gd name="connsiteY478" fmla="*/ 4035233 h 5092591"/>
              <a:gd name="connsiteX479" fmla="*/ 2515056 w 4546203"/>
              <a:gd name="connsiteY479" fmla="*/ 3993846 h 5092591"/>
              <a:gd name="connsiteX480" fmla="*/ 1266681 w 4546203"/>
              <a:gd name="connsiteY480" fmla="*/ 3993050 h 5092591"/>
              <a:gd name="connsiteX481" fmla="*/ 1253947 w 4546203"/>
              <a:gd name="connsiteY481" fmla="*/ 4010958 h 5092591"/>
              <a:gd name="connsiteX482" fmla="*/ 1340302 w 4546203"/>
              <a:gd name="connsiteY482" fmla="*/ 4067069 h 5092591"/>
              <a:gd name="connsiteX483" fmla="*/ 1350251 w 4546203"/>
              <a:gd name="connsiteY483" fmla="*/ 4047569 h 5092591"/>
              <a:gd name="connsiteX484" fmla="*/ 1266681 w 4546203"/>
              <a:gd name="connsiteY484" fmla="*/ 3993050 h 5092591"/>
              <a:gd name="connsiteX485" fmla="*/ 3163718 w 4546203"/>
              <a:gd name="connsiteY485" fmla="*/ 3989866 h 5092591"/>
              <a:gd name="connsiteX486" fmla="*/ 3135861 w 4546203"/>
              <a:gd name="connsiteY486" fmla="*/ 4006978 h 5092591"/>
              <a:gd name="connsiteX487" fmla="*/ 3154565 w 4546203"/>
              <a:gd name="connsiteY487" fmla="*/ 4038019 h 5092591"/>
              <a:gd name="connsiteX488" fmla="*/ 3183218 w 4546203"/>
              <a:gd name="connsiteY488" fmla="*/ 4020509 h 5092591"/>
              <a:gd name="connsiteX489" fmla="*/ 3163718 w 4546203"/>
              <a:gd name="connsiteY489" fmla="*/ 3989866 h 5092591"/>
              <a:gd name="connsiteX490" fmla="*/ 1154459 w 4546203"/>
              <a:gd name="connsiteY490" fmla="*/ 3989070 h 5092591"/>
              <a:gd name="connsiteX491" fmla="*/ 1125010 w 4546203"/>
              <a:gd name="connsiteY491" fmla="*/ 4027672 h 5092591"/>
              <a:gd name="connsiteX492" fmla="*/ 1164805 w 4546203"/>
              <a:gd name="connsiteY492" fmla="*/ 4057518 h 5092591"/>
              <a:gd name="connsiteX493" fmla="*/ 1193458 w 4546203"/>
              <a:gd name="connsiteY493" fmla="*/ 4018519 h 5092591"/>
              <a:gd name="connsiteX494" fmla="*/ 1154459 w 4546203"/>
              <a:gd name="connsiteY494" fmla="*/ 3989070 h 5092591"/>
              <a:gd name="connsiteX495" fmla="*/ 2726369 w 4546203"/>
              <a:gd name="connsiteY495" fmla="*/ 3975938 h 5092591"/>
              <a:gd name="connsiteX496" fmla="*/ 2690155 w 4546203"/>
              <a:gd name="connsiteY496" fmla="*/ 3987479 h 5092591"/>
              <a:gd name="connsiteX497" fmla="*/ 2716818 w 4546203"/>
              <a:gd name="connsiteY497" fmla="*/ 4077416 h 5092591"/>
              <a:gd name="connsiteX498" fmla="*/ 2755419 w 4546203"/>
              <a:gd name="connsiteY498" fmla="*/ 4065875 h 5092591"/>
              <a:gd name="connsiteX499" fmla="*/ 2726369 w 4546203"/>
              <a:gd name="connsiteY499" fmla="*/ 3975938 h 5092591"/>
              <a:gd name="connsiteX500" fmla="*/ 1818640 w 4546203"/>
              <a:gd name="connsiteY500" fmla="*/ 3971561 h 5092591"/>
              <a:gd name="connsiteX501" fmla="*/ 1805508 w 4546203"/>
              <a:gd name="connsiteY501" fmla="*/ 4014142 h 5092591"/>
              <a:gd name="connsiteX502" fmla="*/ 1873160 w 4546203"/>
              <a:gd name="connsiteY502" fmla="*/ 4033641 h 5092591"/>
              <a:gd name="connsiteX503" fmla="*/ 1884700 w 4546203"/>
              <a:gd name="connsiteY503" fmla="*/ 3990264 h 5092591"/>
              <a:gd name="connsiteX504" fmla="*/ 1818640 w 4546203"/>
              <a:gd name="connsiteY504" fmla="*/ 3971561 h 5092591"/>
              <a:gd name="connsiteX505" fmla="*/ 3108801 w 4546203"/>
              <a:gd name="connsiteY505" fmla="*/ 3966387 h 5092591"/>
              <a:gd name="connsiteX506" fmla="*/ 3081342 w 4546203"/>
              <a:gd name="connsiteY506" fmla="*/ 3983101 h 5092591"/>
              <a:gd name="connsiteX507" fmla="*/ 3099648 w 4546203"/>
              <a:gd name="connsiteY507" fmla="*/ 4014142 h 5092591"/>
              <a:gd name="connsiteX508" fmla="*/ 3127106 w 4546203"/>
              <a:gd name="connsiteY508" fmla="*/ 3997825 h 5092591"/>
              <a:gd name="connsiteX509" fmla="*/ 3108801 w 4546203"/>
              <a:gd name="connsiteY509" fmla="*/ 3966387 h 5092591"/>
              <a:gd name="connsiteX510" fmla="*/ 2768154 w 4546203"/>
              <a:gd name="connsiteY510" fmla="*/ 3961612 h 5092591"/>
              <a:gd name="connsiteX511" fmla="*/ 2732338 w 4546203"/>
              <a:gd name="connsiteY511" fmla="*/ 3973948 h 5092591"/>
              <a:gd name="connsiteX512" fmla="*/ 2761389 w 4546203"/>
              <a:gd name="connsiteY512" fmla="*/ 4063487 h 5092591"/>
              <a:gd name="connsiteX513" fmla="*/ 2799592 w 4546203"/>
              <a:gd name="connsiteY513" fmla="*/ 4050753 h 5092591"/>
              <a:gd name="connsiteX514" fmla="*/ 2768154 w 4546203"/>
              <a:gd name="connsiteY514" fmla="*/ 3961612 h 5092591"/>
              <a:gd name="connsiteX515" fmla="*/ 1606532 w 4546203"/>
              <a:gd name="connsiteY515" fmla="*/ 3958428 h 5092591"/>
              <a:gd name="connsiteX516" fmla="*/ 1587430 w 4546203"/>
              <a:gd name="connsiteY516" fmla="*/ 3999019 h 5092591"/>
              <a:gd name="connsiteX517" fmla="*/ 1654684 w 4546203"/>
              <a:gd name="connsiteY517" fmla="*/ 4028866 h 5092591"/>
              <a:gd name="connsiteX518" fmla="*/ 1672194 w 4546203"/>
              <a:gd name="connsiteY518" fmla="*/ 3987479 h 5092591"/>
              <a:gd name="connsiteX519" fmla="*/ 1606532 w 4546203"/>
              <a:gd name="connsiteY519" fmla="*/ 3958428 h 5092591"/>
              <a:gd name="connsiteX520" fmla="*/ 897780 w 4546203"/>
              <a:gd name="connsiteY520" fmla="*/ 3953653 h 5092591"/>
              <a:gd name="connsiteX521" fmla="*/ 861566 w 4546203"/>
              <a:gd name="connsiteY521" fmla="*/ 3986683 h 5092591"/>
              <a:gd name="connsiteX522" fmla="*/ 900565 w 4546203"/>
              <a:gd name="connsiteY522" fmla="*/ 4022896 h 5092591"/>
              <a:gd name="connsiteX523" fmla="*/ 933595 w 4546203"/>
              <a:gd name="connsiteY523" fmla="*/ 3987479 h 5092591"/>
              <a:gd name="connsiteX524" fmla="*/ 897780 w 4546203"/>
              <a:gd name="connsiteY524" fmla="*/ 3953653 h 5092591"/>
              <a:gd name="connsiteX525" fmla="*/ 998859 w 4546203"/>
              <a:gd name="connsiteY525" fmla="*/ 3950867 h 5092591"/>
              <a:gd name="connsiteX526" fmla="*/ 966227 w 4546203"/>
              <a:gd name="connsiteY526" fmla="*/ 3987479 h 5092591"/>
              <a:gd name="connsiteX527" fmla="*/ 1004829 w 4546203"/>
              <a:gd name="connsiteY527" fmla="*/ 4021703 h 5092591"/>
              <a:gd name="connsiteX528" fmla="*/ 1037063 w 4546203"/>
              <a:gd name="connsiteY528" fmla="*/ 3984693 h 5092591"/>
              <a:gd name="connsiteX529" fmla="*/ 998859 w 4546203"/>
              <a:gd name="connsiteY529" fmla="*/ 3950867 h 5092591"/>
              <a:gd name="connsiteX530" fmla="*/ 1099541 w 4546203"/>
              <a:gd name="connsiteY530" fmla="*/ 3944898 h 5092591"/>
              <a:gd name="connsiteX531" fmla="*/ 1068103 w 4546203"/>
              <a:gd name="connsiteY531" fmla="*/ 3982305 h 5092591"/>
              <a:gd name="connsiteX532" fmla="*/ 1107102 w 4546203"/>
              <a:gd name="connsiteY532" fmla="*/ 4013743 h 5092591"/>
              <a:gd name="connsiteX533" fmla="*/ 1137347 w 4546203"/>
              <a:gd name="connsiteY533" fmla="*/ 3975540 h 5092591"/>
              <a:gd name="connsiteX534" fmla="*/ 1099541 w 4546203"/>
              <a:gd name="connsiteY534" fmla="*/ 3944898 h 5092591"/>
              <a:gd name="connsiteX535" fmla="*/ 3234553 w 4546203"/>
              <a:gd name="connsiteY535" fmla="*/ 3943704 h 5092591"/>
              <a:gd name="connsiteX536" fmla="*/ 3207493 w 4546203"/>
              <a:gd name="connsiteY536" fmla="*/ 3962010 h 5092591"/>
              <a:gd name="connsiteX537" fmla="*/ 3227788 w 4546203"/>
              <a:gd name="connsiteY537" fmla="*/ 3992652 h 5092591"/>
              <a:gd name="connsiteX538" fmla="*/ 3254849 w 4546203"/>
              <a:gd name="connsiteY538" fmla="*/ 3971959 h 5092591"/>
              <a:gd name="connsiteX539" fmla="*/ 3234553 w 4546203"/>
              <a:gd name="connsiteY539" fmla="*/ 3943704 h 5092591"/>
              <a:gd name="connsiteX540" fmla="*/ 2712441 w 4546203"/>
              <a:gd name="connsiteY540" fmla="*/ 3932959 h 5092591"/>
              <a:gd name="connsiteX541" fmla="*/ 2677819 w 4546203"/>
              <a:gd name="connsiteY541" fmla="*/ 3943704 h 5092591"/>
              <a:gd name="connsiteX542" fmla="*/ 2688165 w 4546203"/>
              <a:gd name="connsiteY542" fmla="*/ 3979122 h 5092591"/>
              <a:gd name="connsiteX543" fmla="*/ 2723981 w 4546203"/>
              <a:gd name="connsiteY543" fmla="*/ 3967979 h 5092591"/>
              <a:gd name="connsiteX544" fmla="*/ 2712441 w 4546203"/>
              <a:gd name="connsiteY544" fmla="*/ 3932959 h 5092591"/>
              <a:gd name="connsiteX545" fmla="*/ 1197835 w 4546203"/>
              <a:gd name="connsiteY545" fmla="*/ 3932561 h 5092591"/>
              <a:gd name="connsiteX546" fmla="*/ 1168387 w 4546203"/>
              <a:gd name="connsiteY546" fmla="*/ 3971561 h 5092591"/>
              <a:gd name="connsiteX547" fmla="*/ 1206590 w 4546203"/>
              <a:gd name="connsiteY547" fmla="*/ 4000611 h 5092591"/>
              <a:gd name="connsiteX548" fmla="*/ 1235243 w 4546203"/>
              <a:gd name="connsiteY548" fmla="*/ 3960816 h 5092591"/>
              <a:gd name="connsiteX549" fmla="*/ 1197835 w 4546203"/>
              <a:gd name="connsiteY549" fmla="*/ 3932561 h 5092591"/>
              <a:gd name="connsiteX550" fmla="*/ 2850928 w 4546203"/>
              <a:gd name="connsiteY550" fmla="*/ 3929378 h 5092591"/>
              <a:gd name="connsiteX551" fmla="*/ 2815908 w 4546203"/>
              <a:gd name="connsiteY551" fmla="*/ 3944500 h 5092591"/>
              <a:gd name="connsiteX552" fmla="*/ 2850132 w 4546203"/>
              <a:gd name="connsiteY552" fmla="*/ 4032049 h 5092591"/>
              <a:gd name="connsiteX553" fmla="*/ 2887539 w 4546203"/>
              <a:gd name="connsiteY553" fmla="*/ 4016131 h 5092591"/>
              <a:gd name="connsiteX554" fmla="*/ 2850928 w 4546203"/>
              <a:gd name="connsiteY554" fmla="*/ 3929378 h 5092591"/>
              <a:gd name="connsiteX555" fmla="*/ 3171677 w 4546203"/>
              <a:gd name="connsiteY555" fmla="*/ 3928184 h 5092591"/>
              <a:gd name="connsiteX556" fmla="*/ 3145014 w 4546203"/>
              <a:gd name="connsiteY556" fmla="*/ 3945296 h 5092591"/>
              <a:gd name="connsiteX557" fmla="*/ 3164514 w 4546203"/>
              <a:gd name="connsiteY557" fmla="*/ 3975938 h 5092591"/>
              <a:gd name="connsiteX558" fmla="*/ 3191973 w 4546203"/>
              <a:gd name="connsiteY558" fmla="*/ 3958030 h 5092591"/>
              <a:gd name="connsiteX559" fmla="*/ 3171677 w 4546203"/>
              <a:gd name="connsiteY559" fmla="*/ 3928184 h 5092591"/>
              <a:gd name="connsiteX560" fmla="*/ 3480488 w 4546203"/>
              <a:gd name="connsiteY560" fmla="*/ 3921817 h 5092591"/>
              <a:gd name="connsiteX561" fmla="*/ 3445468 w 4546203"/>
              <a:gd name="connsiteY561" fmla="*/ 3952061 h 5092591"/>
              <a:gd name="connsiteX562" fmla="*/ 3468151 w 4546203"/>
              <a:gd name="connsiteY562" fmla="*/ 3979520 h 5092591"/>
              <a:gd name="connsiteX563" fmla="*/ 3504365 w 4546203"/>
              <a:gd name="connsiteY563" fmla="*/ 3948877 h 5092591"/>
              <a:gd name="connsiteX564" fmla="*/ 3480488 w 4546203"/>
              <a:gd name="connsiteY564" fmla="*/ 3921817 h 5092591"/>
              <a:gd name="connsiteX565" fmla="*/ 3055873 w 4546203"/>
              <a:gd name="connsiteY565" fmla="*/ 3919827 h 5092591"/>
              <a:gd name="connsiteX566" fmla="*/ 3029210 w 4546203"/>
              <a:gd name="connsiteY566" fmla="*/ 3934551 h 5092591"/>
              <a:gd name="connsiteX567" fmla="*/ 3047516 w 4546203"/>
              <a:gd name="connsiteY567" fmla="*/ 3966387 h 5092591"/>
              <a:gd name="connsiteX568" fmla="*/ 3074179 w 4546203"/>
              <a:gd name="connsiteY568" fmla="*/ 3950469 h 5092591"/>
              <a:gd name="connsiteX569" fmla="*/ 3055873 w 4546203"/>
              <a:gd name="connsiteY569" fmla="*/ 3919827 h 5092591"/>
              <a:gd name="connsiteX570" fmla="*/ 2753032 w 4546203"/>
              <a:gd name="connsiteY570" fmla="*/ 3919031 h 5092591"/>
              <a:gd name="connsiteX571" fmla="*/ 2718808 w 4546203"/>
              <a:gd name="connsiteY571" fmla="*/ 3931367 h 5092591"/>
              <a:gd name="connsiteX572" fmla="*/ 2729950 w 4546203"/>
              <a:gd name="connsiteY572" fmla="*/ 3966785 h 5092591"/>
              <a:gd name="connsiteX573" fmla="*/ 2765368 w 4546203"/>
              <a:gd name="connsiteY573" fmla="*/ 3953653 h 5092591"/>
              <a:gd name="connsiteX574" fmla="*/ 2753032 w 4546203"/>
              <a:gd name="connsiteY574" fmla="*/ 3919031 h 5092591"/>
              <a:gd name="connsiteX575" fmla="*/ 2032341 w 4546203"/>
              <a:gd name="connsiteY575" fmla="*/ 3917439 h 5092591"/>
              <a:gd name="connsiteX576" fmla="*/ 2002892 w 4546203"/>
              <a:gd name="connsiteY576" fmla="*/ 4087763 h 5092591"/>
              <a:gd name="connsiteX577" fmla="*/ 2063779 w 4546203"/>
              <a:gd name="connsiteY577" fmla="*/ 4096517 h 5092591"/>
              <a:gd name="connsiteX578" fmla="*/ 2086462 w 4546203"/>
              <a:gd name="connsiteY578" fmla="*/ 3925000 h 5092591"/>
              <a:gd name="connsiteX579" fmla="*/ 2032341 w 4546203"/>
              <a:gd name="connsiteY579" fmla="*/ 3917439 h 5092591"/>
              <a:gd name="connsiteX580" fmla="*/ 2891917 w 4546203"/>
              <a:gd name="connsiteY580" fmla="*/ 3911868 h 5092591"/>
              <a:gd name="connsiteX581" fmla="*/ 2856897 w 4546203"/>
              <a:gd name="connsiteY581" fmla="*/ 3926990 h 5092591"/>
              <a:gd name="connsiteX582" fmla="*/ 2894305 w 4546203"/>
              <a:gd name="connsiteY582" fmla="*/ 4014142 h 5092591"/>
              <a:gd name="connsiteX583" fmla="*/ 2930916 w 4546203"/>
              <a:gd name="connsiteY583" fmla="*/ 3996632 h 5092591"/>
              <a:gd name="connsiteX584" fmla="*/ 2891917 w 4546203"/>
              <a:gd name="connsiteY584" fmla="*/ 3911868 h 5092591"/>
              <a:gd name="connsiteX585" fmla="*/ 1838538 w 4546203"/>
              <a:gd name="connsiteY585" fmla="*/ 3909082 h 5092591"/>
              <a:gd name="connsiteX586" fmla="*/ 1825008 w 4546203"/>
              <a:gd name="connsiteY586" fmla="*/ 3952061 h 5092591"/>
              <a:gd name="connsiteX587" fmla="*/ 1889874 w 4546203"/>
              <a:gd name="connsiteY587" fmla="*/ 3970765 h 5092591"/>
              <a:gd name="connsiteX588" fmla="*/ 1901016 w 4546203"/>
              <a:gd name="connsiteY588" fmla="*/ 3926990 h 5092591"/>
              <a:gd name="connsiteX589" fmla="*/ 1838538 w 4546203"/>
              <a:gd name="connsiteY589" fmla="*/ 3909082 h 5092591"/>
              <a:gd name="connsiteX590" fmla="*/ 2793225 w 4546203"/>
              <a:gd name="connsiteY590" fmla="*/ 3904307 h 5092591"/>
              <a:gd name="connsiteX591" fmla="*/ 2759001 w 4546203"/>
              <a:gd name="connsiteY591" fmla="*/ 3917041 h 5092591"/>
              <a:gd name="connsiteX592" fmla="*/ 2771735 w 4546203"/>
              <a:gd name="connsiteY592" fmla="*/ 3952061 h 5092591"/>
              <a:gd name="connsiteX593" fmla="*/ 2806755 w 4546203"/>
              <a:gd name="connsiteY593" fmla="*/ 3938929 h 5092591"/>
              <a:gd name="connsiteX594" fmla="*/ 2793225 w 4546203"/>
              <a:gd name="connsiteY594" fmla="*/ 3904307 h 5092591"/>
              <a:gd name="connsiteX595" fmla="*/ 949115 w 4546203"/>
              <a:gd name="connsiteY595" fmla="*/ 3904307 h 5092591"/>
              <a:gd name="connsiteX596" fmla="*/ 911708 w 4546203"/>
              <a:gd name="connsiteY596" fmla="*/ 3936143 h 5092591"/>
              <a:gd name="connsiteX597" fmla="*/ 948717 w 4546203"/>
              <a:gd name="connsiteY597" fmla="*/ 3971561 h 5092591"/>
              <a:gd name="connsiteX598" fmla="*/ 982145 w 4546203"/>
              <a:gd name="connsiteY598" fmla="*/ 3935745 h 5092591"/>
              <a:gd name="connsiteX599" fmla="*/ 949115 w 4546203"/>
              <a:gd name="connsiteY599" fmla="*/ 3904307 h 5092591"/>
              <a:gd name="connsiteX600" fmla="*/ 2983844 w 4546203"/>
              <a:gd name="connsiteY600" fmla="*/ 3899531 h 5092591"/>
              <a:gd name="connsiteX601" fmla="*/ 2930916 w 4546203"/>
              <a:gd name="connsiteY601" fmla="*/ 3926592 h 5092591"/>
              <a:gd name="connsiteX602" fmla="*/ 2977874 w 4546203"/>
              <a:gd name="connsiteY602" fmla="*/ 4024090 h 5092591"/>
              <a:gd name="connsiteX603" fmla="*/ 3034782 w 4546203"/>
              <a:gd name="connsiteY603" fmla="*/ 3995040 h 5092591"/>
              <a:gd name="connsiteX604" fmla="*/ 2983844 w 4546203"/>
              <a:gd name="connsiteY604" fmla="*/ 3899531 h 5092591"/>
              <a:gd name="connsiteX605" fmla="*/ 1046216 w 4546203"/>
              <a:gd name="connsiteY605" fmla="*/ 3898337 h 5092591"/>
              <a:gd name="connsiteX606" fmla="*/ 1013982 w 4546203"/>
              <a:gd name="connsiteY606" fmla="*/ 3934949 h 5092591"/>
              <a:gd name="connsiteX607" fmla="*/ 1051389 w 4546203"/>
              <a:gd name="connsiteY607" fmla="*/ 3967979 h 5092591"/>
              <a:gd name="connsiteX608" fmla="*/ 1082827 w 4546203"/>
              <a:gd name="connsiteY608" fmla="*/ 3930174 h 5092591"/>
              <a:gd name="connsiteX609" fmla="*/ 1046216 w 4546203"/>
              <a:gd name="connsiteY609" fmla="*/ 3898337 h 5092591"/>
              <a:gd name="connsiteX610" fmla="*/ 1145306 w 4546203"/>
              <a:gd name="connsiteY610" fmla="*/ 3890378 h 5092591"/>
              <a:gd name="connsiteX611" fmla="*/ 1113868 w 4546203"/>
              <a:gd name="connsiteY611" fmla="*/ 3928184 h 5092591"/>
              <a:gd name="connsiteX612" fmla="*/ 1151673 w 4546203"/>
              <a:gd name="connsiteY612" fmla="*/ 3958428 h 5092591"/>
              <a:gd name="connsiteX613" fmla="*/ 1181519 w 4546203"/>
              <a:gd name="connsiteY613" fmla="*/ 3920225 h 5092591"/>
              <a:gd name="connsiteX614" fmla="*/ 1145306 w 4546203"/>
              <a:gd name="connsiteY614" fmla="*/ 3890378 h 5092591"/>
              <a:gd name="connsiteX615" fmla="*/ 3438902 w 4546203"/>
              <a:gd name="connsiteY615" fmla="*/ 3889384 h 5092591"/>
              <a:gd name="connsiteX616" fmla="*/ 3408856 w 4546203"/>
              <a:gd name="connsiteY616" fmla="*/ 3908684 h 5092591"/>
              <a:gd name="connsiteX617" fmla="*/ 3429948 w 4546203"/>
              <a:gd name="connsiteY617" fmla="*/ 3934153 h 5092591"/>
              <a:gd name="connsiteX618" fmla="*/ 3452233 w 4546203"/>
              <a:gd name="connsiteY618" fmla="*/ 3915449 h 5092591"/>
              <a:gd name="connsiteX619" fmla="*/ 3464172 w 4546203"/>
              <a:gd name="connsiteY619" fmla="*/ 3905899 h 5092591"/>
              <a:gd name="connsiteX620" fmla="*/ 3438902 w 4546203"/>
              <a:gd name="connsiteY620" fmla="*/ 3889384 h 5092591"/>
              <a:gd name="connsiteX621" fmla="*/ 2833418 w 4546203"/>
              <a:gd name="connsiteY621" fmla="*/ 3888389 h 5092591"/>
              <a:gd name="connsiteX622" fmla="*/ 2799592 w 4546203"/>
              <a:gd name="connsiteY622" fmla="*/ 3902317 h 5092591"/>
              <a:gd name="connsiteX623" fmla="*/ 2813520 w 4546203"/>
              <a:gd name="connsiteY623" fmla="*/ 3936541 h 5092591"/>
              <a:gd name="connsiteX624" fmla="*/ 2848142 w 4546203"/>
              <a:gd name="connsiteY624" fmla="*/ 3922215 h 5092591"/>
              <a:gd name="connsiteX625" fmla="*/ 2833418 w 4546203"/>
              <a:gd name="connsiteY625" fmla="*/ 3888389 h 5092591"/>
              <a:gd name="connsiteX626" fmla="*/ 2694135 w 4546203"/>
              <a:gd name="connsiteY626" fmla="*/ 3878440 h 5092591"/>
              <a:gd name="connsiteX627" fmla="*/ 2661503 w 4546203"/>
              <a:gd name="connsiteY627" fmla="*/ 3889185 h 5092591"/>
              <a:gd name="connsiteX628" fmla="*/ 2672645 w 4546203"/>
              <a:gd name="connsiteY628" fmla="*/ 3925398 h 5092591"/>
              <a:gd name="connsiteX629" fmla="*/ 2707267 w 4546203"/>
              <a:gd name="connsiteY629" fmla="*/ 3915449 h 5092591"/>
              <a:gd name="connsiteX630" fmla="*/ 2694135 w 4546203"/>
              <a:gd name="connsiteY630" fmla="*/ 3878440 h 5092591"/>
              <a:gd name="connsiteX631" fmla="*/ 1749397 w 4546203"/>
              <a:gd name="connsiteY631" fmla="*/ 3877644 h 5092591"/>
              <a:gd name="connsiteX632" fmla="*/ 1733081 w 4546203"/>
              <a:gd name="connsiteY632" fmla="*/ 3919827 h 5092591"/>
              <a:gd name="connsiteX633" fmla="*/ 1796355 w 4546203"/>
              <a:gd name="connsiteY633" fmla="*/ 3942908 h 5092591"/>
              <a:gd name="connsiteX634" fmla="*/ 1810681 w 4546203"/>
              <a:gd name="connsiteY634" fmla="*/ 3900327 h 5092591"/>
              <a:gd name="connsiteX635" fmla="*/ 1749397 w 4546203"/>
              <a:gd name="connsiteY635" fmla="*/ 3877644 h 5092591"/>
              <a:gd name="connsiteX636" fmla="*/ 1241610 w 4546203"/>
              <a:gd name="connsiteY636" fmla="*/ 3876848 h 5092591"/>
              <a:gd name="connsiteX637" fmla="*/ 1211366 w 4546203"/>
              <a:gd name="connsiteY637" fmla="*/ 3915449 h 5092591"/>
              <a:gd name="connsiteX638" fmla="*/ 1248773 w 4546203"/>
              <a:gd name="connsiteY638" fmla="*/ 3943306 h 5092591"/>
              <a:gd name="connsiteX639" fmla="*/ 1277028 w 4546203"/>
              <a:gd name="connsiteY639" fmla="*/ 3903511 h 5092591"/>
              <a:gd name="connsiteX640" fmla="*/ 1241610 w 4546203"/>
              <a:gd name="connsiteY640" fmla="*/ 3876848 h 5092591"/>
              <a:gd name="connsiteX641" fmla="*/ 2872815 w 4546203"/>
              <a:gd name="connsiteY641" fmla="*/ 3870879 h 5092591"/>
              <a:gd name="connsiteX642" fmla="*/ 2839387 w 4546203"/>
              <a:gd name="connsiteY642" fmla="*/ 3885603 h 5092591"/>
              <a:gd name="connsiteX643" fmla="*/ 2854111 w 4546203"/>
              <a:gd name="connsiteY643" fmla="*/ 3920225 h 5092591"/>
              <a:gd name="connsiteX644" fmla="*/ 2888335 w 4546203"/>
              <a:gd name="connsiteY644" fmla="*/ 3904307 h 5092591"/>
              <a:gd name="connsiteX645" fmla="*/ 2872815 w 4546203"/>
              <a:gd name="connsiteY645" fmla="*/ 3870879 h 5092591"/>
              <a:gd name="connsiteX646" fmla="*/ 3182024 w 4546203"/>
              <a:gd name="connsiteY646" fmla="*/ 3868093 h 5092591"/>
              <a:gd name="connsiteX647" fmla="*/ 3156953 w 4546203"/>
              <a:gd name="connsiteY647" fmla="*/ 3885603 h 5092591"/>
              <a:gd name="connsiteX648" fmla="*/ 3177248 w 4546203"/>
              <a:gd name="connsiteY648" fmla="*/ 3915847 h 5092591"/>
              <a:gd name="connsiteX649" fmla="*/ 3203115 w 4546203"/>
              <a:gd name="connsiteY649" fmla="*/ 3897541 h 5092591"/>
              <a:gd name="connsiteX650" fmla="*/ 3182024 w 4546203"/>
              <a:gd name="connsiteY650" fmla="*/ 3868093 h 5092591"/>
              <a:gd name="connsiteX651" fmla="*/ 2734328 w 4546203"/>
              <a:gd name="connsiteY651" fmla="*/ 3865307 h 5092591"/>
              <a:gd name="connsiteX652" fmla="*/ 2701696 w 4546203"/>
              <a:gd name="connsiteY652" fmla="*/ 3876848 h 5092591"/>
              <a:gd name="connsiteX653" fmla="*/ 2713236 w 4546203"/>
              <a:gd name="connsiteY653" fmla="*/ 3913062 h 5092591"/>
              <a:gd name="connsiteX654" fmla="*/ 2747460 w 4546203"/>
              <a:gd name="connsiteY654" fmla="*/ 3901521 h 5092591"/>
              <a:gd name="connsiteX655" fmla="*/ 2734328 w 4546203"/>
              <a:gd name="connsiteY655" fmla="*/ 3865307 h 5092591"/>
              <a:gd name="connsiteX656" fmla="*/ 997268 w 4546203"/>
              <a:gd name="connsiteY656" fmla="*/ 3852573 h 5092591"/>
              <a:gd name="connsiteX657" fmla="*/ 960258 w 4546203"/>
              <a:gd name="connsiteY657" fmla="*/ 3884807 h 5092591"/>
              <a:gd name="connsiteX658" fmla="*/ 996870 w 4546203"/>
              <a:gd name="connsiteY658" fmla="*/ 3919429 h 5092591"/>
              <a:gd name="connsiteX659" fmla="*/ 1030298 w 4546203"/>
              <a:gd name="connsiteY659" fmla="*/ 3883613 h 5092591"/>
              <a:gd name="connsiteX660" fmla="*/ 997268 w 4546203"/>
              <a:gd name="connsiteY660" fmla="*/ 3852573 h 5092591"/>
              <a:gd name="connsiteX661" fmla="*/ 3121933 w 4546203"/>
              <a:gd name="connsiteY661" fmla="*/ 3850981 h 5092591"/>
              <a:gd name="connsiteX662" fmla="*/ 3096862 w 4546203"/>
              <a:gd name="connsiteY662" fmla="*/ 3867695 h 5092591"/>
              <a:gd name="connsiteX663" fmla="*/ 3115964 w 4546203"/>
              <a:gd name="connsiteY663" fmla="*/ 3897940 h 5092591"/>
              <a:gd name="connsiteX664" fmla="*/ 3141433 w 4546203"/>
              <a:gd name="connsiteY664" fmla="*/ 3881623 h 5092591"/>
              <a:gd name="connsiteX665" fmla="*/ 3121933 w 4546203"/>
              <a:gd name="connsiteY665" fmla="*/ 3850981 h 5092591"/>
              <a:gd name="connsiteX666" fmla="*/ 2772531 w 4546203"/>
              <a:gd name="connsiteY666" fmla="*/ 3850583 h 5092591"/>
              <a:gd name="connsiteX667" fmla="*/ 2739899 w 4546203"/>
              <a:gd name="connsiteY667" fmla="*/ 3863318 h 5092591"/>
              <a:gd name="connsiteX668" fmla="*/ 2753032 w 4546203"/>
              <a:gd name="connsiteY668" fmla="*/ 3899531 h 5092591"/>
              <a:gd name="connsiteX669" fmla="*/ 2786459 w 4546203"/>
              <a:gd name="connsiteY669" fmla="*/ 3886399 h 5092591"/>
              <a:gd name="connsiteX670" fmla="*/ 2772531 w 4546203"/>
              <a:gd name="connsiteY670" fmla="*/ 3850583 h 5092591"/>
              <a:gd name="connsiteX671" fmla="*/ 3039159 w 4546203"/>
              <a:gd name="connsiteY671" fmla="*/ 3848593 h 5092591"/>
              <a:gd name="connsiteX672" fmla="*/ 3014088 w 4546203"/>
              <a:gd name="connsiteY672" fmla="*/ 3863318 h 5092591"/>
              <a:gd name="connsiteX673" fmla="*/ 3031996 w 4546203"/>
              <a:gd name="connsiteY673" fmla="*/ 3894358 h 5092591"/>
              <a:gd name="connsiteX674" fmla="*/ 3057863 w 4546203"/>
              <a:gd name="connsiteY674" fmla="*/ 3879634 h 5092591"/>
              <a:gd name="connsiteX675" fmla="*/ 3039159 w 4546203"/>
              <a:gd name="connsiteY675" fmla="*/ 3848593 h 5092591"/>
              <a:gd name="connsiteX676" fmla="*/ 1093970 w 4546203"/>
              <a:gd name="connsiteY676" fmla="*/ 3846206 h 5092591"/>
              <a:gd name="connsiteX677" fmla="*/ 1061338 w 4546203"/>
              <a:gd name="connsiteY677" fmla="*/ 3882419 h 5092591"/>
              <a:gd name="connsiteX678" fmla="*/ 1097551 w 4546203"/>
              <a:gd name="connsiteY678" fmla="*/ 3913858 h 5092591"/>
              <a:gd name="connsiteX679" fmla="*/ 1129388 w 4546203"/>
              <a:gd name="connsiteY679" fmla="*/ 3876848 h 5092591"/>
              <a:gd name="connsiteX680" fmla="*/ 1093970 w 4546203"/>
              <a:gd name="connsiteY680" fmla="*/ 3846206 h 5092591"/>
              <a:gd name="connsiteX681" fmla="*/ 1662245 w 4546203"/>
              <a:gd name="connsiteY681" fmla="*/ 3840237 h 5092591"/>
              <a:gd name="connsiteX682" fmla="*/ 1643144 w 4546203"/>
              <a:gd name="connsiteY682" fmla="*/ 3880828 h 5092591"/>
              <a:gd name="connsiteX683" fmla="*/ 1705224 w 4546203"/>
              <a:gd name="connsiteY683" fmla="*/ 3908286 h 5092591"/>
              <a:gd name="connsiteX684" fmla="*/ 1722336 w 4546203"/>
              <a:gd name="connsiteY684" fmla="*/ 3866899 h 5092591"/>
              <a:gd name="connsiteX685" fmla="*/ 1662245 w 4546203"/>
              <a:gd name="connsiteY685" fmla="*/ 3840237 h 5092591"/>
              <a:gd name="connsiteX686" fmla="*/ 1190274 w 4546203"/>
              <a:gd name="connsiteY686" fmla="*/ 3836257 h 5092591"/>
              <a:gd name="connsiteX687" fmla="*/ 1159234 w 4546203"/>
              <a:gd name="connsiteY687" fmla="*/ 3873664 h 5092591"/>
              <a:gd name="connsiteX688" fmla="*/ 1195448 w 4546203"/>
              <a:gd name="connsiteY688" fmla="*/ 3902317 h 5092591"/>
              <a:gd name="connsiteX689" fmla="*/ 1225692 w 4546203"/>
              <a:gd name="connsiteY689" fmla="*/ 3864114 h 5092591"/>
              <a:gd name="connsiteX690" fmla="*/ 1190274 w 4546203"/>
              <a:gd name="connsiteY690" fmla="*/ 3836257 h 5092591"/>
              <a:gd name="connsiteX691" fmla="*/ 2810337 w 4546203"/>
              <a:gd name="connsiteY691" fmla="*/ 3835859 h 5092591"/>
              <a:gd name="connsiteX692" fmla="*/ 2778500 w 4546203"/>
              <a:gd name="connsiteY692" fmla="*/ 3848992 h 5092591"/>
              <a:gd name="connsiteX693" fmla="*/ 2792827 w 4546203"/>
              <a:gd name="connsiteY693" fmla="*/ 3884807 h 5092591"/>
              <a:gd name="connsiteX694" fmla="*/ 2826255 w 4546203"/>
              <a:gd name="connsiteY694" fmla="*/ 3870481 h 5092591"/>
              <a:gd name="connsiteX695" fmla="*/ 2810337 w 4546203"/>
              <a:gd name="connsiteY695" fmla="*/ 3835859 h 5092591"/>
              <a:gd name="connsiteX696" fmla="*/ 3191574 w 4546203"/>
              <a:gd name="connsiteY696" fmla="*/ 3828298 h 5092591"/>
              <a:gd name="connsiteX697" fmla="*/ 3188789 w 4546203"/>
              <a:gd name="connsiteY697" fmla="*/ 3831879 h 5092591"/>
              <a:gd name="connsiteX698" fmla="*/ 3287481 w 4546203"/>
              <a:gd name="connsiteY698" fmla="*/ 3969571 h 5092591"/>
              <a:gd name="connsiteX699" fmla="*/ 3340806 w 4546203"/>
              <a:gd name="connsiteY699" fmla="*/ 3929378 h 5092591"/>
              <a:gd name="connsiteX700" fmla="*/ 3254053 w 4546203"/>
              <a:gd name="connsiteY700" fmla="*/ 3854961 h 5092591"/>
              <a:gd name="connsiteX701" fmla="*/ 3205105 w 4546203"/>
              <a:gd name="connsiteY701" fmla="*/ 3833471 h 5092591"/>
              <a:gd name="connsiteX702" fmla="*/ 3191574 w 4546203"/>
              <a:gd name="connsiteY702" fmla="*/ 3828298 h 5092591"/>
              <a:gd name="connsiteX703" fmla="*/ 1284987 w 4546203"/>
              <a:gd name="connsiteY703" fmla="*/ 3820737 h 5092591"/>
              <a:gd name="connsiteX704" fmla="*/ 1255140 w 4546203"/>
              <a:gd name="connsiteY704" fmla="*/ 3859338 h 5092591"/>
              <a:gd name="connsiteX705" fmla="*/ 1290956 w 4546203"/>
              <a:gd name="connsiteY705" fmla="*/ 3885603 h 5092591"/>
              <a:gd name="connsiteX706" fmla="*/ 1319609 w 4546203"/>
              <a:gd name="connsiteY706" fmla="*/ 3846604 h 5092591"/>
              <a:gd name="connsiteX707" fmla="*/ 1284987 w 4546203"/>
              <a:gd name="connsiteY707" fmla="*/ 3820737 h 5092591"/>
              <a:gd name="connsiteX708" fmla="*/ 2848938 w 4546203"/>
              <a:gd name="connsiteY708" fmla="*/ 3818747 h 5092591"/>
              <a:gd name="connsiteX709" fmla="*/ 2816704 w 4546203"/>
              <a:gd name="connsiteY709" fmla="*/ 3833073 h 5092591"/>
              <a:gd name="connsiteX710" fmla="*/ 2832224 w 4546203"/>
              <a:gd name="connsiteY710" fmla="*/ 3868491 h 5092591"/>
              <a:gd name="connsiteX711" fmla="*/ 2864856 w 4546203"/>
              <a:gd name="connsiteY711" fmla="*/ 3853369 h 5092591"/>
              <a:gd name="connsiteX712" fmla="*/ 2848938 w 4546203"/>
              <a:gd name="connsiteY712" fmla="*/ 3818747 h 5092591"/>
              <a:gd name="connsiteX713" fmla="*/ 1048205 w 4546203"/>
              <a:gd name="connsiteY713" fmla="*/ 3802829 h 5092591"/>
              <a:gd name="connsiteX714" fmla="*/ 1010400 w 4546203"/>
              <a:gd name="connsiteY714" fmla="*/ 3834665 h 5092591"/>
              <a:gd name="connsiteX715" fmla="*/ 1045420 w 4546203"/>
              <a:gd name="connsiteY715" fmla="*/ 3867695 h 5092591"/>
              <a:gd name="connsiteX716" fmla="*/ 1078450 w 4546203"/>
              <a:gd name="connsiteY716" fmla="*/ 3831482 h 5092591"/>
              <a:gd name="connsiteX717" fmla="*/ 1048205 w 4546203"/>
              <a:gd name="connsiteY717" fmla="*/ 3802829 h 5092591"/>
              <a:gd name="connsiteX718" fmla="*/ 3237339 w 4546203"/>
              <a:gd name="connsiteY718" fmla="*/ 3794870 h 5092591"/>
              <a:gd name="connsiteX719" fmla="*/ 3208289 w 4546203"/>
              <a:gd name="connsiteY719" fmla="*/ 3817553 h 5092591"/>
              <a:gd name="connsiteX720" fmla="*/ 3269573 w 4546203"/>
              <a:gd name="connsiteY720" fmla="*/ 3844216 h 5092591"/>
              <a:gd name="connsiteX721" fmla="*/ 3273155 w 4546203"/>
              <a:gd name="connsiteY721" fmla="*/ 3841032 h 5092591"/>
              <a:gd name="connsiteX722" fmla="*/ 3237339 w 4546203"/>
              <a:gd name="connsiteY722" fmla="*/ 3794870 h 5092591"/>
              <a:gd name="connsiteX723" fmla="*/ 1141326 w 4546203"/>
              <a:gd name="connsiteY723" fmla="*/ 3792880 h 5092591"/>
              <a:gd name="connsiteX724" fmla="*/ 1108694 w 4546203"/>
              <a:gd name="connsiteY724" fmla="*/ 3829492 h 5092591"/>
              <a:gd name="connsiteX725" fmla="*/ 1143714 w 4546203"/>
              <a:gd name="connsiteY725" fmla="*/ 3859736 h 5092591"/>
              <a:gd name="connsiteX726" fmla="*/ 1175550 w 4546203"/>
              <a:gd name="connsiteY726" fmla="*/ 3822727 h 5092591"/>
              <a:gd name="connsiteX727" fmla="*/ 1141326 w 4546203"/>
              <a:gd name="connsiteY727" fmla="*/ 3792880 h 5092591"/>
              <a:gd name="connsiteX728" fmla="*/ 3128698 w 4546203"/>
              <a:gd name="connsiteY728" fmla="*/ 3790890 h 5092591"/>
              <a:gd name="connsiteX729" fmla="*/ 3105219 w 4546203"/>
              <a:gd name="connsiteY729" fmla="*/ 3808002 h 5092591"/>
              <a:gd name="connsiteX730" fmla="*/ 3125515 w 4546203"/>
              <a:gd name="connsiteY730" fmla="*/ 3837451 h 5092591"/>
              <a:gd name="connsiteX731" fmla="*/ 3150188 w 4546203"/>
              <a:gd name="connsiteY731" fmla="*/ 3820737 h 5092591"/>
              <a:gd name="connsiteX732" fmla="*/ 3128698 w 4546203"/>
              <a:gd name="connsiteY732" fmla="*/ 3790890 h 5092591"/>
              <a:gd name="connsiteX733" fmla="*/ 1236437 w 4546203"/>
              <a:gd name="connsiteY733" fmla="*/ 3781340 h 5092591"/>
              <a:gd name="connsiteX734" fmla="*/ 1205396 w 4546203"/>
              <a:gd name="connsiteY734" fmla="*/ 3819145 h 5092591"/>
              <a:gd name="connsiteX735" fmla="*/ 1239620 w 4546203"/>
              <a:gd name="connsiteY735" fmla="*/ 3847002 h 5092591"/>
              <a:gd name="connsiteX736" fmla="*/ 1269865 w 4546203"/>
              <a:gd name="connsiteY736" fmla="*/ 3808798 h 5092591"/>
              <a:gd name="connsiteX737" fmla="*/ 1236437 w 4546203"/>
              <a:gd name="connsiteY737" fmla="*/ 3781340 h 5092591"/>
              <a:gd name="connsiteX738" fmla="*/ 2919376 w 4546203"/>
              <a:gd name="connsiteY738" fmla="*/ 3776166 h 5092591"/>
              <a:gd name="connsiteX739" fmla="*/ 2872019 w 4546203"/>
              <a:gd name="connsiteY739" fmla="*/ 3800839 h 5092591"/>
              <a:gd name="connsiteX740" fmla="*/ 2920171 w 4546203"/>
              <a:gd name="connsiteY740" fmla="*/ 3901123 h 5092591"/>
              <a:gd name="connsiteX741" fmla="*/ 2971507 w 4546203"/>
              <a:gd name="connsiteY741" fmla="*/ 3874858 h 5092591"/>
              <a:gd name="connsiteX742" fmla="*/ 2919376 w 4546203"/>
              <a:gd name="connsiteY742" fmla="*/ 3776166 h 5092591"/>
              <a:gd name="connsiteX743" fmla="*/ 3070199 w 4546203"/>
              <a:gd name="connsiteY743" fmla="*/ 3772983 h 5092591"/>
              <a:gd name="connsiteX744" fmla="*/ 3046720 w 4546203"/>
              <a:gd name="connsiteY744" fmla="*/ 3788503 h 5092591"/>
              <a:gd name="connsiteX745" fmla="*/ 3065822 w 4546203"/>
              <a:gd name="connsiteY745" fmla="*/ 3819145 h 5092591"/>
              <a:gd name="connsiteX746" fmla="*/ 3090097 w 4546203"/>
              <a:gd name="connsiteY746" fmla="*/ 3803227 h 5092591"/>
              <a:gd name="connsiteX747" fmla="*/ 3070199 w 4546203"/>
              <a:gd name="connsiteY747" fmla="*/ 3772983 h 5092591"/>
              <a:gd name="connsiteX748" fmla="*/ 1328364 w 4546203"/>
              <a:gd name="connsiteY748" fmla="*/ 3764626 h 5092591"/>
              <a:gd name="connsiteX749" fmla="*/ 1298517 w 4546203"/>
              <a:gd name="connsiteY749" fmla="*/ 3803227 h 5092591"/>
              <a:gd name="connsiteX750" fmla="*/ 1332741 w 4546203"/>
              <a:gd name="connsiteY750" fmla="*/ 3828696 h 5092591"/>
              <a:gd name="connsiteX751" fmla="*/ 1360996 w 4546203"/>
              <a:gd name="connsiteY751" fmla="*/ 3789697 h 5092591"/>
              <a:gd name="connsiteX752" fmla="*/ 1328364 w 4546203"/>
              <a:gd name="connsiteY752" fmla="*/ 3764626 h 5092591"/>
              <a:gd name="connsiteX753" fmla="*/ 3011302 w 4546203"/>
              <a:gd name="connsiteY753" fmla="*/ 3758656 h 5092591"/>
              <a:gd name="connsiteX754" fmla="*/ 2987823 w 4546203"/>
              <a:gd name="connsiteY754" fmla="*/ 3772983 h 5092591"/>
              <a:gd name="connsiteX755" fmla="*/ 3006925 w 4546203"/>
              <a:gd name="connsiteY755" fmla="*/ 3804023 h 5092591"/>
              <a:gd name="connsiteX756" fmla="*/ 3030404 w 4546203"/>
              <a:gd name="connsiteY756" fmla="*/ 3789299 h 5092591"/>
              <a:gd name="connsiteX757" fmla="*/ 3011302 w 4546203"/>
              <a:gd name="connsiteY757" fmla="*/ 3758656 h 5092591"/>
              <a:gd name="connsiteX758" fmla="*/ 3476508 w 4546203"/>
              <a:gd name="connsiteY758" fmla="*/ 3754279 h 5092591"/>
              <a:gd name="connsiteX759" fmla="*/ 3445468 w 4546203"/>
              <a:gd name="connsiteY759" fmla="*/ 3783727 h 5092591"/>
              <a:gd name="connsiteX760" fmla="*/ 3469345 w 4546203"/>
              <a:gd name="connsiteY760" fmla="*/ 3807604 h 5092591"/>
              <a:gd name="connsiteX761" fmla="*/ 3497202 w 4546203"/>
              <a:gd name="connsiteY761" fmla="*/ 3776166 h 5092591"/>
              <a:gd name="connsiteX762" fmla="*/ 3476508 w 4546203"/>
              <a:gd name="connsiteY762" fmla="*/ 3754279 h 5092591"/>
              <a:gd name="connsiteX763" fmla="*/ 1097153 w 4546203"/>
              <a:gd name="connsiteY763" fmla="*/ 3751891 h 5092591"/>
              <a:gd name="connsiteX764" fmla="*/ 1060542 w 4546203"/>
              <a:gd name="connsiteY764" fmla="*/ 3784523 h 5092591"/>
              <a:gd name="connsiteX765" fmla="*/ 1093572 w 4546203"/>
              <a:gd name="connsiteY765" fmla="*/ 3815563 h 5092591"/>
              <a:gd name="connsiteX766" fmla="*/ 1126602 w 4546203"/>
              <a:gd name="connsiteY766" fmla="*/ 3779748 h 5092591"/>
              <a:gd name="connsiteX767" fmla="*/ 1097153 w 4546203"/>
              <a:gd name="connsiteY767" fmla="*/ 3751891 h 5092591"/>
              <a:gd name="connsiteX768" fmla="*/ 3299420 w 4546203"/>
              <a:gd name="connsiteY768" fmla="*/ 3746718 h 5092591"/>
              <a:gd name="connsiteX769" fmla="*/ 3268777 w 4546203"/>
              <a:gd name="connsiteY769" fmla="*/ 3772585 h 5092591"/>
              <a:gd name="connsiteX770" fmla="*/ 3293052 w 4546203"/>
              <a:gd name="connsiteY770" fmla="*/ 3802033 h 5092591"/>
              <a:gd name="connsiteX771" fmla="*/ 3324093 w 4546203"/>
              <a:gd name="connsiteY771" fmla="*/ 3774972 h 5092591"/>
              <a:gd name="connsiteX772" fmla="*/ 3299420 w 4546203"/>
              <a:gd name="connsiteY772" fmla="*/ 3746718 h 5092591"/>
              <a:gd name="connsiteX773" fmla="*/ 1189478 w 4546203"/>
              <a:gd name="connsiteY773" fmla="*/ 3740350 h 5092591"/>
              <a:gd name="connsiteX774" fmla="*/ 1156448 w 4546203"/>
              <a:gd name="connsiteY774" fmla="*/ 3776962 h 5092591"/>
              <a:gd name="connsiteX775" fmla="*/ 1190672 w 4546203"/>
              <a:gd name="connsiteY775" fmla="*/ 3805615 h 5092591"/>
              <a:gd name="connsiteX776" fmla="*/ 1221713 w 4546203"/>
              <a:gd name="connsiteY776" fmla="*/ 3769003 h 5092591"/>
              <a:gd name="connsiteX777" fmla="*/ 1189478 w 4546203"/>
              <a:gd name="connsiteY777" fmla="*/ 3740350 h 5092591"/>
              <a:gd name="connsiteX778" fmla="*/ 1281405 w 4546203"/>
              <a:gd name="connsiteY778" fmla="*/ 3727218 h 5092591"/>
              <a:gd name="connsiteX779" fmla="*/ 1250365 w 4546203"/>
              <a:gd name="connsiteY779" fmla="*/ 3765024 h 5092591"/>
              <a:gd name="connsiteX780" fmla="*/ 1283395 w 4546203"/>
              <a:gd name="connsiteY780" fmla="*/ 3791686 h 5092591"/>
              <a:gd name="connsiteX781" fmla="*/ 1313639 w 4546203"/>
              <a:gd name="connsiteY781" fmla="*/ 3753085 h 5092591"/>
              <a:gd name="connsiteX782" fmla="*/ 1281405 w 4546203"/>
              <a:gd name="connsiteY782" fmla="*/ 3727218 h 5092591"/>
              <a:gd name="connsiteX783" fmla="*/ 3161728 w 4546203"/>
              <a:gd name="connsiteY783" fmla="*/ 3709708 h 5092591"/>
              <a:gd name="connsiteX784" fmla="*/ 3119147 w 4546203"/>
              <a:gd name="connsiteY784" fmla="*/ 3741942 h 5092591"/>
              <a:gd name="connsiteX785" fmla="*/ 3187197 w 4546203"/>
              <a:gd name="connsiteY785" fmla="*/ 3809594 h 5092591"/>
              <a:gd name="connsiteX786" fmla="*/ 3219829 w 4546203"/>
              <a:gd name="connsiteY786" fmla="*/ 3784921 h 5092591"/>
              <a:gd name="connsiteX787" fmla="*/ 3161728 w 4546203"/>
              <a:gd name="connsiteY787" fmla="*/ 3709708 h 5092591"/>
              <a:gd name="connsiteX788" fmla="*/ 3433529 w 4546203"/>
              <a:gd name="connsiteY788" fmla="*/ 3708116 h 5092591"/>
              <a:gd name="connsiteX789" fmla="*/ 3405673 w 4546203"/>
              <a:gd name="connsiteY789" fmla="*/ 3739953 h 5092591"/>
              <a:gd name="connsiteX790" fmla="*/ 3428356 w 4546203"/>
              <a:gd name="connsiteY790" fmla="*/ 3763830 h 5092591"/>
              <a:gd name="connsiteX791" fmla="*/ 3460192 w 4546203"/>
              <a:gd name="connsiteY791" fmla="*/ 3734779 h 5092591"/>
              <a:gd name="connsiteX792" fmla="*/ 3433529 w 4546203"/>
              <a:gd name="connsiteY792" fmla="*/ 3708116 h 5092591"/>
              <a:gd name="connsiteX793" fmla="*/ 3263206 w 4546203"/>
              <a:gd name="connsiteY793" fmla="*/ 3704535 h 5092591"/>
              <a:gd name="connsiteX794" fmla="*/ 3233359 w 4546203"/>
              <a:gd name="connsiteY794" fmla="*/ 3729208 h 5092591"/>
              <a:gd name="connsiteX795" fmla="*/ 3254849 w 4546203"/>
              <a:gd name="connsiteY795" fmla="*/ 3754677 h 5092591"/>
              <a:gd name="connsiteX796" fmla="*/ 3284695 w 4546203"/>
              <a:gd name="connsiteY796" fmla="*/ 3729208 h 5092591"/>
              <a:gd name="connsiteX797" fmla="*/ 3263206 w 4546203"/>
              <a:gd name="connsiteY797" fmla="*/ 3704535 h 5092591"/>
              <a:gd name="connsiteX798" fmla="*/ 1146500 w 4546203"/>
              <a:gd name="connsiteY798" fmla="*/ 3700555 h 5092591"/>
              <a:gd name="connsiteX799" fmla="*/ 1109888 w 4546203"/>
              <a:gd name="connsiteY799" fmla="*/ 3732789 h 5092591"/>
              <a:gd name="connsiteX800" fmla="*/ 1142520 w 4546203"/>
              <a:gd name="connsiteY800" fmla="*/ 3763432 h 5092591"/>
              <a:gd name="connsiteX801" fmla="*/ 1171571 w 4546203"/>
              <a:gd name="connsiteY801" fmla="*/ 3731198 h 5092591"/>
              <a:gd name="connsiteX802" fmla="*/ 1146500 w 4546203"/>
              <a:gd name="connsiteY802" fmla="*/ 3700555 h 5092591"/>
              <a:gd name="connsiteX803" fmla="*/ 1236835 w 4546203"/>
              <a:gd name="connsiteY803" fmla="*/ 3687821 h 5092591"/>
              <a:gd name="connsiteX804" fmla="*/ 1204600 w 4546203"/>
              <a:gd name="connsiteY804" fmla="*/ 3724432 h 5092591"/>
              <a:gd name="connsiteX805" fmla="*/ 1236437 w 4546203"/>
              <a:gd name="connsiteY805" fmla="*/ 3752289 h 5092591"/>
              <a:gd name="connsiteX806" fmla="*/ 1267875 w 4546203"/>
              <a:gd name="connsiteY806" fmla="*/ 3714882 h 5092591"/>
              <a:gd name="connsiteX807" fmla="*/ 1236835 w 4546203"/>
              <a:gd name="connsiteY807" fmla="*/ 3687821 h 5092591"/>
              <a:gd name="connsiteX808" fmla="*/ 3141433 w 4546203"/>
              <a:gd name="connsiteY808" fmla="*/ 3683045 h 5092591"/>
              <a:gd name="connsiteX809" fmla="*/ 3108801 w 4546203"/>
              <a:gd name="connsiteY809" fmla="*/ 3700157 h 5092591"/>
              <a:gd name="connsiteX810" fmla="*/ 3102035 w 4546203"/>
              <a:gd name="connsiteY810" fmla="*/ 3712096 h 5092591"/>
              <a:gd name="connsiteX811" fmla="*/ 3107607 w 4546203"/>
              <a:gd name="connsiteY811" fmla="*/ 3715678 h 5092591"/>
              <a:gd name="connsiteX812" fmla="*/ 3143025 w 4546203"/>
              <a:gd name="connsiteY812" fmla="*/ 3689413 h 5092591"/>
              <a:gd name="connsiteX813" fmla="*/ 3141433 w 4546203"/>
              <a:gd name="connsiteY813" fmla="*/ 3683045 h 5092591"/>
              <a:gd name="connsiteX814" fmla="*/ 1195050 w 4546203"/>
              <a:gd name="connsiteY814" fmla="*/ 3647628 h 5092591"/>
              <a:gd name="connsiteX815" fmla="*/ 1158438 w 4546203"/>
              <a:gd name="connsiteY815" fmla="*/ 3681852 h 5092591"/>
              <a:gd name="connsiteX816" fmla="*/ 1190274 w 4546203"/>
              <a:gd name="connsiteY816" fmla="*/ 3711300 h 5092591"/>
              <a:gd name="connsiteX817" fmla="*/ 1222110 w 4546203"/>
              <a:gd name="connsiteY817" fmla="*/ 3677076 h 5092591"/>
              <a:gd name="connsiteX818" fmla="*/ 1195050 w 4546203"/>
              <a:gd name="connsiteY818" fmla="*/ 3647628 h 5092591"/>
              <a:gd name="connsiteX819" fmla="*/ 3344786 w 4546203"/>
              <a:gd name="connsiteY819" fmla="*/ 3613006 h 5092591"/>
              <a:gd name="connsiteX820" fmla="*/ 3318123 w 4546203"/>
              <a:gd name="connsiteY820" fmla="*/ 3637679 h 5092591"/>
              <a:gd name="connsiteX821" fmla="*/ 3343990 w 4546203"/>
              <a:gd name="connsiteY821" fmla="*/ 3666331 h 5092591"/>
              <a:gd name="connsiteX822" fmla="*/ 3369857 w 4546203"/>
              <a:gd name="connsiteY822" fmla="*/ 3640067 h 5092591"/>
              <a:gd name="connsiteX823" fmla="*/ 3344786 w 4546203"/>
              <a:gd name="connsiteY823" fmla="*/ 3613006 h 5092591"/>
              <a:gd name="connsiteX824" fmla="*/ 947922 w 4546203"/>
              <a:gd name="connsiteY824" fmla="*/ 3587537 h 5092591"/>
              <a:gd name="connsiteX825" fmla="*/ 915289 w 4546203"/>
              <a:gd name="connsiteY825" fmla="*/ 3613802 h 5092591"/>
              <a:gd name="connsiteX826" fmla="*/ 939962 w 4546203"/>
              <a:gd name="connsiteY826" fmla="*/ 3644444 h 5092591"/>
              <a:gd name="connsiteX827" fmla="*/ 972197 w 4546203"/>
              <a:gd name="connsiteY827" fmla="*/ 3617781 h 5092591"/>
              <a:gd name="connsiteX828" fmla="*/ 947922 w 4546203"/>
              <a:gd name="connsiteY828" fmla="*/ 3587537 h 5092591"/>
              <a:gd name="connsiteX829" fmla="*/ 3303797 w 4546203"/>
              <a:gd name="connsiteY829" fmla="*/ 3572017 h 5092591"/>
              <a:gd name="connsiteX830" fmla="*/ 3277532 w 4546203"/>
              <a:gd name="connsiteY830" fmla="*/ 3598282 h 5092591"/>
              <a:gd name="connsiteX831" fmla="*/ 3299021 w 4546203"/>
              <a:gd name="connsiteY831" fmla="*/ 3620965 h 5092591"/>
              <a:gd name="connsiteX832" fmla="*/ 3325286 w 4546203"/>
              <a:gd name="connsiteY832" fmla="*/ 3595496 h 5092591"/>
              <a:gd name="connsiteX833" fmla="*/ 3303797 w 4546203"/>
              <a:gd name="connsiteY833" fmla="*/ 3572017 h 5092591"/>
              <a:gd name="connsiteX834" fmla="*/ 951901 w 4546203"/>
              <a:gd name="connsiteY834" fmla="*/ 3509538 h 5092591"/>
              <a:gd name="connsiteX835" fmla="*/ 918075 w 4546203"/>
              <a:gd name="connsiteY835" fmla="*/ 3535007 h 5092591"/>
              <a:gd name="connsiteX836" fmla="*/ 941156 w 4546203"/>
              <a:gd name="connsiteY836" fmla="*/ 3565252 h 5092591"/>
              <a:gd name="connsiteX837" fmla="*/ 974186 w 4546203"/>
              <a:gd name="connsiteY837" fmla="*/ 3539385 h 5092591"/>
              <a:gd name="connsiteX838" fmla="*/ 951901 w 4546203"/>
              <a:gd name="connsiteY838" fmla="*/ 3509538 h 5092591"/>
              <a:gd name="connsiteX839" fmla="*/ 1078848 w 4546203"/>
              <a:gd name="connsiteY839" fmla="*/ 3484070 h 5092591"/>
              <a:gd name="connsiteX840" fmla="*/ 1046216 w 4546203"/>
              <a:gd name="connsiteY840" fmla="*/ 3510334 h 5092591"/>
              <a:gd name="connsiteX841" fmla="*/ 1068501 w 4546203"/>
              <a:gd name="connsiteY841" fmla="*/ 3538191 h 5092591"/>
              <a:gd name="connsiteX842" fmla="*/ 1100337 w 4546203"/>
              <a:gd name="connsiteY842" fmla="*/ 3510732 h 5092591"/>
              <a:gd name="connsiteX843" fmla="*/ 1078848 w 4546203"/>
              <a:gd name="connsiteY843" fmla="*/ 3484070 h 5092591"/>
              <a:gd name="connsiteX844" fmla="*/ 1236437 w 4546203"/>
              <a:gd name="connsiteY844" fmla="*/ 3478896 h 5092591"/>
              <a:gd name="connsiteX845" fmla="*/ 1230467 w 4546203"/>
              <a:gd name="connsiteY845" fmla="*/ 3485263 h 5092591"/>
              <a:gd name="connsiteX846" fmla="*/ 1268671 w 4546203"/>
              <a:gd name="connsiteY846" fmla="*/ 3525456 h 5092591"/>
              <a:gd name="connsiteX847" fmla="*/ 1275436 w 4546203"/>
              <a:gd name="connsiteY847" fmla="*/ 3518293 h 5092591"/>
              <a:gd name="connsiteX848" fmla="*/ 1236437 w 4546203"/>
              <a:gd name="connsiteY848" fmla="*/ 3478896 h 5092591"/>
              <a:gd name="connsiteX849" fmla="*/ 957074 w 4546203"/>
              <a:gd name="connsiteY849" fmla="*/ 3412836 h 5092591"/>
              <a:gd name="connsiteX850" fmla="*/ 922453 w 4546203"/>
              <a:gd name="connsiteY850" fmla="*/ 3436713 h 5092591"/>
              <a:gd name="connsiteX851" fmla="*/ 943146 w 4546203"/>
              <a:gd name="connsiteY851" fmla="*/ 3466958 h 5092591"/>
              <a:gd name="connsiteX852" fmla="*/ 977370 w 4546203"/>
              <a:gd name="connsiteY852" fmla="*/ 3442682 h 5092591"/>
              <a:gd name="connsiteX853" fmla="*/ 957074 w 4546203"/>
              <a:gd name="connsiteY853" fmla="*/ 3412836 h 5092591"/>
              <a:gd name="connsiteX854" fmla="*/ 3465366 w 4546203"/>
              <a:gd name="connsiteY854" fmla="*/ 3410050 h 5092591"/>
              <a:gd name="connsiteX855" fmla="*/ 3363092 w 4546203"/>
              <a:gd name="connsiteY855" fmla="*/ 3535405 h 5092591"/>
              <a:gd name="connsiteX856" fmla="*/ 3300613 w 4546203"/>
              <a:gd name="connsiteY856" fmla="*/ 3480090 h 5092591"/>
              <a:gd name="connsiteX857" fmla="*/ 3278726 w 4546203"/>
              <a:gd name="connsiteY857" fmla="*/ 3503967 h 5092591"/>
              <a:gd name="connsiteX858" fmla="*/ 3619373 w 4546203"/>
              <a:gd name="connsiteY858" fmla="*/ 3826706 h 5092591"/>
              <a:gd name="connsiteX859" fmla="*/ 3638475 w 4546203"/>
              <a:gd name="connsiteY859" fmla="*/ 3829094 h 5092591"/>
              <a:gd name="connsiteX860" fmla="*/ 3701351 w 4546203"/>
              <a:gd name="connsiteY860" fmla="*/ 3800043 h 5092591"/>
              <a:gd name="connsiteX861" fmla="*/ 3697372 w 4546203"/>
              <a:gd name="connsiteY861" fmla="*/ 3796064 h 5092591"/>
              <a:gd name="connsiteX862" fmla="*/ 3706922 w 4546203"/>
              <a:gd name="connsiteY862" fmla="*/ 3775370 h 5092591"/>
              <a:gd name="connsiteX863" fmla="*/ 3785319 w 4546203"/>
              <a:gd name="connsiteY863" fmla="*/ 3678270 h 5092591"/>
              <a:gd name="connsiteX864" fmla="*/ 3769799 w 4546203"/>
              <a:gd name="connsiteY864" fmla="*/ 3668719 h 5092591"/>
              <a:gd name="connsiteX865" fmla="*/ 3677474 w 4546203"/>
              <a:gd name="connsiteY865" fmla="*/ 3782135 h 5092591"/>
              <a:gd name="connsiteX866" fmla="*/ 3615393 w 4546203"/>
              <a:gd name="connsiteY866" fmla="*/ 3727218 h 5092591"/>
              <a:gd name="connsiteX867" fmla="*/ 3700555 w 4546203"/>
              <a:gd name="connsiteY867" fmla="*/ 3622159 h 5092591"/>
              <a:gd name="connsiteX868" fmla="*/ 3679464 w 4546203"/>
              <a:gd name="connsiteY868" fmla="*/ 3621363 h 5092591"/>
              <a:gd name="connsiteX869" fmla="*/ 3598679 w 4546203"/>
              <a:gd name="connsiteY869" fmla="*/ 3721647 h 5092591"/>
              <a:gd name="connsiteX870" fmla="*/ 3534211 w 4546203"/>
              <a:gd name="connsiteY870" fmla="*/ 3664740 h 5092591"/>
              <a:gd name="connsiteX871" fmla="*/ 3548936 w 4546203"/>
              <a:gd name="connsiteY871" fmla="*/ 3646434 h 5092591"/>
              <a:gd name="connsiteX872" fmla="*/ 3613802 w 4546203"/>
              <a:gd name="connsiteY872" fmla="*/ 3566048 h 5092591"/>
              <a:gd name="connsiteX873" fmla="*/ 3616587 w 4546203"/>
              <a:gd name="connsiteY873" fmla="*/ 3549732 h 5092591"/>
              <a:gd name="connsiteX874" fmla="*/ 3610618 w 4546203"/>
              <a:gd name="connsiteY874" fmla="*/ 3548936 h 5092591"/>
              <a:gd name="connsiteX875" fmla="*/ 3519089 w 4546203"/>
              <a:gd name="connsiteY875" fmla="*/ 3659566 h 5092591"/>
              <a:gd name="connsiteX876" fmla="*/ 3454621 w 4546203"/>
              <a:gd name="connsiteY876" fmla="*/ 3601863 h 5092591"/>
              <a:gd name="connsiteX877" fmla="*/ 3536997 w 4546203"/>
              <a:gd name="connsiteY877" fmla="*/ 3498794 h 5092591"/>
              <a:gd name="connsiteX878" fmla="*/ 3542568 w 4546203"/>
              <a:gd name="connsiteY878" fmla="*/ 3483274 h 5092591"/>
              <a:gd name="connsiteX879" fmla="*/ 3536997 w 4546203"/>
              <a:gd name="connsiteY879" fmla="*/ 3480886 h 5092591"/>
              <a:gd name="connsiteX880" fmla="*/ 3440693 w 4546203"/>
              <a:gd name="connsiteY880" fmla="*/ 3597884 h 5092591"/>
              <a:gd name="connsiteX881" fmla="*/ 3373837 w 4546203"/>
              <a:gd name="connsiteY881" fmla="*/ 3538191 h 5092591"/>
              <a:gd name="connsiteX882" fmla="*/ 3426366 w 4546203"/>
              <a:gd name="connsiteY882" fmla="*/ 3475315 h 5092591"/>
              <a:gd name="connsiteX883" fmla="*/ 3465366 w 4546203"/>
              <a:gd name="connsiteY883" fmla="*/ 3410050 h 5092591"/>
              <a:gd name="connsiteX884" fmla="*/ 1053777 w 4546203"/>
              <a:gd name="connsiteY884" fmla="*/ 3369459 h 5092591"/>
              <a:gd name="connsiteX885" fmla="*/ 1019155 w 4546203"/>
              <a:gd name="connsiteY885" fmla="*/ 3392938 h 5092591"/>
              <a:gd name="connsiteX886" fmla="*/ 1039053 w 4546203"/>
              <a:gd name="connsiteY886" fmla="*/ 3421193 h 5092591"/>
              <a:gd name="connsiteX887" fmla="*/ 1072879 w 4546203"/>
              <a:gd name="connsiteY887" fmla="*/ 3396520 h 5092591"/>
              <a:gd name="connsiteX888" fmla="*/ 1053777 w 4546203"/>
              <a:gd name="connsiteY888" fmla="*/ 3369459 h 5092591"/>
              <a:gd name="connsiteX889" fmla="*/ 3675484 w 4546203"/>
              <a:gd name="connsiteY889" fmla="*/ 3152177 h 5092591"/>
              <a:gd name="connsiteX890" fmla="*/ 3667127 w 4546203"/>
              <a:gd name="connsiteY890" fmla="*/ 3170085 h 5092591"/>
              <a:gd name="connsiteX891" fmla="*/ 3689412 w 4546203"/>
              <a:gd name="connsiteY891" fmla="*/ 3179636 h 5092591"/>
              <a:gd name="connsiteX892" fmla="*/ 3697769 w 4546203"/>
              <a:gd name="connsiteY892" fmla="*/ 3161330 h 5092591"/>
              <a:gd name="connsiteX893" fmla="*/ 3675484 w 4546203"/>
              <a:gd name="connsiteY893" fmla="*/ 3152177 h 5092591"/>
              <a:gd name="connsiteX894" fmla="*/ 784363 w 4546203"/>
              <a:gd name="connsiteY894" fmla="*/ 3125913 h 5092591"/>
              <a:gd name="connsiteX895" fmla="*/ 779190 w 4546203"/>
              <a:gd name="connsiteY895" fmla="*/ 3141831 h 5092591"/>
              <a:gd name="connsiteX896" fmla="*/ 820577 w 4546203"/>
              <a:gd name="connsiteY896" fmla="*/ 3236146 h 5092591"/>
              <a:gd name="connsiteX897" fmla="*/ 828934 w 4546203"/>
              <a:gd name="connsiteY897" fmla="*/ 3242115 h 5092591"/>
              <a:gd name="connsiteX898" fmla="*/ 831322 w 4546203"/>
              <a:gd name="connsiteY898" fmla="*/ 3232166 h 5092591"/>
              <a:gd name="connsiteX899" fmla="*/ 784363 w 4546203"/>
              <a:gd name="connsiteY899" fmla="*/ 3125913 h 5092591"/>
              <a:gd name="connsiteX900" fmla="*/ 3741146 w 4546203"/>
              <a:gd name="connsiteY900" fmla="*/ 3119943 h 5092591"/>
              <a:gd name="connsiteX901" fmla="*/ 3732789 w 4546203"/>
              <a:gd name="connsiteY901" fmla="*/ 3138647 h 5092591"/>
              <a:gd name="connsiteX902" fmla="*/ 3755871 w 4546203"/>
              <a:gd name="connsiteY902" fmla="*/ 3147800 h 5092591"/>
              <a:gd name="connsiteX903" fmla="*/ 3763034 w 4546203"/>
              <a:gd name="connsiteY903" fmla="*/ 3128300 h 5092591"/>
              <a:gd name="connsiteX904" fmla="*/ 3741146 w 4546203"/>
              <a:gd name="connsiteY904" fmla="*/ 3119943 h 5092591"/>
              <a:gd name="connsiteX905" fmla="*/ 828536 w 4546203"/>
              <a:gd name="connsiteY905" fmla="*/ 3115964 h 5092591"/>
              <a:gd name="connsiteX906" fmla="*/ 819781 w 4546203"/>
              <a:gd name="connsiteY906" fmla="*/ 3118352 h 5092591"/>
              <a:gd name="connsiteX907" fmla="*/ 855597 w 4546203"/>
              <a:gd name="connsiteY907" fmla="*/ 3207891 h 5092591"/>
              <a:gd name="connsiteX908" fmla="*/ 867137 w 4546203"/>
              <a:gd name="connsiteY908" fmla="*/ 3224207 h 5092591"/>
              <a:gd name="connsiteX909" fmla="*/ 873505 w 4546203"/>
              <a:gd name="connsiteY909" fmla="*/ 3219829 h 5092591"/>
              <a:gd name="connsiteX910" fmla="*/ 828536 w 4546203"/>
              <a:gd name="connsiteY910" fmla="*/ 3115964 h 5092591"/>
              <a:gd name="connsiteX911" fmla="*/ 3607335 w 4546203"/>
              <a:gd name="connsiteY911" fmla="*/ 3108154 h 5092591"/>
              <a:gd name="connsiteX912" fmla="*/ 3595894 w 4546203"/>
              <a:gd name="connsiteY912" fmla="*/ 3123923 h 5092591"/>
              <a:gd name="connsiteX913" fmla="*/ 3617383 w 4546203"/>
              <a:gd name="connsiteY913" fmla="*/ 3133076 h 5092591"/>
              <a:gd name="connsiteX914" fmla="*/ 3624148 w 4546203"/>
              <a:gd name="connsiteY914" fmla="*/ 3115964 h 5092591"/>
              <a:gd name="connsiteX915" fmla="*/ 3607335 w 4546203"/>
              <a:gd name="connsiteY915" fmla="*/ 3108154 h 5092591"/>
              <a:gd name="connsiteX916" fmla="*/ 903351 w 4546203"/>
              <a:gd name="connsiteY916" fmla="*/ 3093679 h 5092591"/>
              <a:gd name="connsiteX917" fmla="*/ 897382 w 4546203"/>
              <a:gd name="connsiteY917" fmla="*/ 3096464 h 5092591"/>
              <a:gd name="connsiteX918" fmla="*/ 986523 w 4546203"/>
              <a:gd name="connsiteY918" fmla="*/ 3279920 h 5092591"/>
              <a:gd name="connsiteX919" fmla="*/ 992492 w 4546203"/>
              <a:gd name="connsiteY919" fmla="*/ 3277135 h 5092591"/>
              <a:gd name="connsiteX920" fmla="*/ 903351 w 4546203"/>
              <a:gd name="connsiteY920" fmla="*/ 3093679 h 5092591"/>
              <a:gd name="connsiteX921" fmla="*/ 3796461 w 4546203"/>
              <a:gd name="connsiteY921" fmla="*/ 3085322 h 5092591"/>
              <a:gd name="connsiteX922" fmla="*/ 3790094 w 4546203"/>
              <a:gd name="connsiteY922" fmla="*/ 3106015 h 5092591"/>
              <a:gd name="connsiteX923" fmla="*/ 3812379 w 4546203"/>
              <a:gd name="connsiteY923" fmla="*/ 3113576 h 5092591"/>
              <a:gd name="connsiteX924" fmla="*/ 3819543 w 4546203"/>
              <a:gd name="connsiteY924" fmla="*/ 3093679 h 5092591"/>
              <a:gd name="connsiteX925" fmla="*/ 3796461 w 4546203"/>
              <a:gd name="connsiteY925" fmla="*/ 3085322 h 5092591"/>
              <a:gd name="connsiteX926" fmla="*/ 975778 w 4546203"/>
              <a:gd name="connsiteY926" fmla="*/ 3063036 h 5092591"/>
              <a:gd name="connsiteX927" fmla="*/ 969013 w 4546203"/>
              <a:gd name="connsiteY927" fmla="*/ 3066220 h 5092591"/>
              <a:gd name="connsiteX928" fmla="*/ 1037063 w 4546203"/>
              <a:gd name="connsiteY928" fmla="*/ 3215054 h 5092591"/>
              <a:gd name="connsiteX929" fmla="*/ 1013584 w 4546203"/>
              <a:gd name="connsiteY929" fmla="*/ 3227788 h 5092591"/>
              <a:gd name="connsiteX930" fmla="*/ 942748 w 4546203"/>
              <a:gd name="connsiteY930" fmla="*/ 3076169 h 5092591"/>
              <a:gd name="connsiteX931" fmla="*/ 936381 w 4546203"/>
              <a:gd name="connsiteY931" fmla="*/ 3079352 h 5092591"/>
              <a:gd name="connsiteX932" fmla="*/ 1023134 w 4546203"/>
              <a:gd name="connsiteY932" fmla="*/ 3261216 h 5092591"/>
              <a:gd name="connsiteX933" fmla="*/ 1060940 w 4546203"/>
              <a:gd name="connsiteY933" fmla="*/ 3238533 h 5092591"/>
              <a:gd name="connsiteX934" fmla="*/ 975778 w 4546203"/>
              <a:gd name="connsiteY934" fmla="*/ 3063036 h 5092591"/>
              <a:gd name="connsiteX935" fmla="*/ 734221 w 4546203"/>
              <a:gd name="connsiteY935" fmla="*/ 3062240 h 5092591"/>
              <a:gd name="connsiteX936" fmla="*/ 711538 w 4546203"/>
              <a:gd name="connsiteY936" fmla="*/ 3069801 h 5092591"/>
              <a:gd name="connsiteX937" fmla="*/ 719497 w 4546203"/>
              <a:gd name="connsiteY937" fmla="*/ 3089699 h 5092591"/>
              <a:gd name="connsiteX938" fmla="*/ 742180 w 4546203"/>
              <a:gd name="connsiteY938" fmla="*/ 3081342 h 5092591"/>
              <a:gd name="connsiteX939" fmla="*/ 734221 w 4546203"/>
              <a:gd name="connsiteY939" fmla="*/ 3062240 h 5092591"/>
              <a:gd name="connsiteX940" fmla="*/ 3673842 w 4546203"/>
              <a:gd name="connsiteY940" fmla="*/ 3042592 h 5092591"/>
              <a:gd name="connsiteX941" fmla="*/ 3663943 w 4546203"/>
              <a:gd name="connsiteY941" fmla="*/ 3059057 h 5092591"/>
              <a:gd name="connsiteX942" fmla="*/ 3685831 w 4546203"/>
              <a:gd name="connsiteY942" fmla="*/ 3067414 h 5092591"/>
              <a:gd name="connsiteX943" fmla="*/ 3691800 w 4546203"/>
              <a:gd name="connsiteY943" fmla="*/ 3049108 h 5092591"/>
              <a:gd name="connsiteX944" fmla="*/ 3673842 w 4546203"/>
              <a:gd name="connsiteY944" fmla="*/ 3042592 h 5092591"/>
              <a:gd name="connsiteX945" fmla="*/ 862760 w 4546203"/>
              <a:gd name="connsiteY945" fmla="*/ 3018466 h 5092591"/>
              <a:gd name="connsiteX946" fmla="*/ 840077 w 4546203"/>
              <a:gd name="connsiteY946" fmla="*/ 3027221 h 5092591"/>
              <a:gd name="connsiteX947" fmla="*/ 847638 w 4546203"/>
              <a:gd name="connsiteY947" fmla="*/ 3045129 h 5092591"/>
              <a:gd name="connsiteX948" fmla="*/ 869525 w 4546203"/>
              <a:gd name="connsiteY948" fmla="*/ 3036374 h 5092591"/>
              <a:gd name="connsiteX949" fmla="*/ 862760 w 4546203"/>
              <a:gd name="connsiteY949" fmla="*/ 3018466 h 5092591"/>
              <a:gd name="connsiteX950" fmla="*/ 755711 w 4546203"/>
              <a:gd name="connsiteY950" fmla="*/ 2994986 h 5092591"/>
              <a:gd name="connsiteX951" fmla="*/ 732630 w 4546203"/>
              <a:gd name="connsiteY951" fmla="*/ 3002548 h 5092591"/>
              <a:gd name="connsiteX952" fmla="*/ 739793 w 4546203"/>
              <a:gd name="connsiteY952" fmla="*/ 3022047 h 5092591"/>
              <a:gd name="connsiteX953" fmla="*/ 761680 w 4546203"/>
              <a:gd name="connsiteY953" fmla="*/ 3014884 h 5092591"/>
              <a:gd name="connsiteX954" fmla="*/ 755711 w 4546203"/>
              <a:gd name="connsiteY954" fmla="*/ 2994986 h 5092591"/>
              <a:gd name="connsiteX955" fmla="*/ 936182 w 4546203"/>
              <a:gd name="connsiteY955" fmla="*/ 2987376 h 5092591"/>
              <a:gd name="connsiteX956" fmla="*/ 916085 w 4546203"/>
              <a:gd name="connsiteY956" fmla="*/ 2994986 h 5092591"/>
              <a:gd name="connsiteX957" fmla="*/ 922453 w 4546203"/>
              <a:gd name="connsiteY957" fmla="*/ 3010905 h 5092591"/>
              <a:gd name="connsiteX958" fmla="*/ 943146 w 4546203"/>
              <a:gd name="connsiteY958" fmla="*/ 3003344 h 5092591"/>
              <a:gd name="connsiteX959" fmla="*/ 936182 w 4546203"/>
              <a:gd name="connsiteY959" fmla="*/ 2987376 h 5092591"/>
              <a:gd name="connsiteX960" fmla="*/ 695620 w 4546203"/>
              <a:gd name="connsiteY960" fmla="*/ 2958375 h 5092591"/>
              <a:gd name="connsiteX961" fmla="*/ 672937 w 4546203"/>
              <a:gd name="connsiteY961" fmla="*/ 2965538 h 5092591"/>
              <a:gd name="connsiteX962" fmla="*/ 679304 w 4546203"/>
              <a:gd name="connsiteY962" fmla="*/ 2985834 h 5092591"/>
              <a:gd name="connsiteX963" fmla="*/ 702783 w 4546203"/>
              <a:gd name="connsiteY963" fmla="*/ 2978272 h 5092591"/>
              <a:gd name="connsiteX964" fmla="*/ 695620 w 4546203"/>
              <a:gd name="connsiteY964" fmla="*/ 2958375 h 5092591"/>
              <a:gd name="connsiteX965" fmla="*/ 787149 w 4546203"/>
              <a:gd name="connsiteY965" fmla="*/ 2935294 h 5092591"/>
              <a:gd name="connsiteX966" fmla="*/ 766058 w 4546203"/>
              <a:gd name="connsiteY966" fmla="*/ 2941263 h 5092591"/>
              <a:gd name="connsiteX967" fmla="*/ 771231 w 4546203"/>
              <a:gd name="connsiteY967" fmla="*/ 2960365 h 5092591"/>
              <a:gd name="connsiteX968" fmla="*/ 787149 w 4546203"/>
              <a:gd name="connsiteY968" fmla="*/ 2935294 h 5092591"/>
              <a:gd name="connsiteX969" fmla="*/ 875096 w 4546203"/>
              <a:gd name="connsiteY969" fmla="*/ 2926141 h 5092591"/>
              <a:gd name="connsiteX970" fmla="*/ 852811 w 4546203"/>
              <a:gd name="connsiteY970" fmla="*/ 2932508 h 5092591"/>
              <a:gd name="connsiteX971" fmla="*/ 856791 w 4546203"/>
              <a:gd name="connsiteY971" fmla="*/ 2950814 h 5092591"/>
              <a:gd name="connsiteX972" fmla="*/ 880270 w 4546203"/>
              <a:gd name="connsiteY972" fmla="*/ 2944447 h 5092591"/>
              <a:gd name="connsiteX973" fmla="*/ 875096 w 4546203"/>
              <a:gd name="connsiteY973" fmla="*/ 2926141 h 5092591"/>
              <a:gd name="connsiteX974" fmla="*/ 3823920 w 4546203"/>
              <a:gd name="connsiteY974" fmla="*/ 2903060 h 5092591"/>
              <a:gd name="connsiteX975" fmla="*/ 3792084 w 4546203"/>
              <a:gd name="connsiteY975" fmla="*/ 3022047 h 5092591"/>
              <a:gd name="connsiteX976" fmla="*/ 3823920 w 4546203"/>
              <a:gd name="connsiteY976" fmla="*/ 2903060 h 5092591"/>
              <a:gd name="connsiteX977" fmla="*/ 3792880 w 4546203"/>
              <a:gd name="connsiteY977" fmla="*/ 2894305 h 5092591"/>
              <a:gd name="connsiteX978" fmla="*/ 3779748 w 4546203"/>
              <a:gd name="connsiteY978" fmla="*/ 2898682 h 5092591"/>
              <a:gd name="connsiteX979" fmla="*/ 3751493 w 4546203"/>
              <a:gd name="connsiteY979" fmla="*/ 3002150 h 5092591"/>
              <a:gd name="connsiteX980" fmla="*/ 3755075 w 4546203"/>
              <a:gd name="connsiteY980" fmla="*/ 3010507 h 5092591"/>
              <a:gd name="connsiteX981" fmla="*/ 3762238 w 4546203"/>
              <a:gd name="connsiteY981" fmla="*/ 3007721 h 5092591"/>
              <a:gd name="connsiteX982" fmla="*/ 3792880 w 4546203"/>
              <a:gd name="connsiteY982" fmla="*/ 2894305 h 5092591"/>
              <a:gd name="connsiteX983" fmla="*/ 3723238 w 4546203"/>
              <a:gd name="connsiteY983" fmla="*/ 2776909 h 5092591"/>
              <a:gd name="connsiteX984" fmla="*/ 3677872 w 4546203"/>
              <a:gd name="connsiteY984" fmla="*/ 2975089 h 5092591"/>
              <a:gd name="connsiteX985" fmla="*/ 3684239 w 4546203"/>
              <a:gd name="connsiteY985" fmla="*/ 2976681 h 5092591"/>
              <a:gd name="connsiteX986" fmla="*/ 3730004 w 4546203"/>
              <a:gd name="connsiteY986" fmla="*/ 2778899 h 5092591"/>
              <a:gd name="connsiteX987" fmla="*/ 3723238 w 4546203"/>
              <a:gd name="connsiteY987" fmla="*/ 2776909 h 5092591"/>
              <a:gd name="connsiteX988" fmla="*/ 3684239 w 4546203"/>
              <a:gd name="connsiteY988" fmla="*/ 2770144 h 5092591"/>
              <a:gd name="connsiteX989" fmla="*/ 3639270 w 4546203"/>
              <a:gd name="connsiteY989" fmla="*/ 2966334 h 5092591"/>
              <a:gd name="connsiteX990" fmla="*/ 3684239 w 4546203"/>
              <a:gd name="connsiteY990" fmla="*/ 2770144 h 5092591"/>
              <a:gd name="connsiteX991" fmla="*/ 3803227 w 4546203"/>
              <a:gd name="connsiteY991" fmla="*/ 2767358 h 5092591"/>
              <a:gd name="connsiteX992" fmla="*/ 3785319 w 4546203"/>
              <a:gd name="connsiteY992" fmla="*/ 2872019 h 5092591"/>
              <a:gd name="connsiteX993" fmla="*/ 3833869 w 4546203"/>
              <a:gd name="connsiteY993" fmla="*/ 2882366 h 5092591"/>
              <a:gd name="connsiteX994" fmla="*/ 3832675 w 4546203"/>
              <a:gd name="connsiteY994" fmla="*/ 2885152 h 5092591"/>
              <a:gd name="connsiteX995" fmla="*/ 3872868 w 4546203"/>
              <a:gd name="connsiteY995" fmla="*/ 2885152 h 5092591"/>
              <a:gd name="connsiteX996" fmla="*/ 3835461 w 4546203"/>
              <a:gd name="connsiteY996" fmla="*/ 3030802 h 5092591"/>
              <a:gd name="connsiteX997" fmla="*/ 3886001 w 4546203"/>
              <a:gd name="connsiteY997" fmla="*/ 3047516 h 5092591"/>
              <a:gd name="connsiteX998" fmla="*/ 3872868 w 4546203"/>
              <a:gd name="connsiteY998" fmla="*/ 3090495 h 5092591"/>
              <a:gd name="connsiteX999" fmla="*/ 3913062 w 4546203"/>
              <a:gd name="connsiteY999" fmla="*/ 3106015 h 5092591"/>
              <a:gd name="connsiteX1000" fmla="*/ 3859338 w 4546203"/>
              <a:gd name="connsiteY1000" fmla="*/ 3242513 h 5092591"/>
              <a:gd name="connsiteX1001" fmla="*/ 3819941 w 4546203"/>
              <a:gd name="connsiteY1001" fmla="*/ 3226197 h 5092591"/>
              <a:gd name="connsiteX1002" fmla="*/ 3798053 w 4546203"/>
              <a:gd name="connsiteY1002" fmla="*/ 3271961 h 5092591"/>
              <a:gd name="connsiteX1003" fmla="*/ 3526252 w 4546203"/>
              <a:gd name="connsiteY1003" fmla="*/ 3142627 h 5092591"/>
              <a:gd name="connsiteX1004" fmla="*/ 3509140 w 4546203"/>
              <a:gd name="connsiteY1004" fmla="*/ 3178044 h 5092591"/>
              <a:gd name="connsiteX1005" fmla="*/ 3582761 w 4546203"/>
              <a:gd name="connsiteY1005" fmla="*/ 3216646 h 5092591"/>
              <a:gd name="connsiteX1006" fmla="*/ 3501181 w 4546203"/>
              <a:gd name="connsiteY1006" fmla="*/ 3357123 h 5092591"/>
              <a:gd name="connsiteX1007" fmla="*/ 3507548 w 4546203"/>
              <a:gd name="connsiteY1007" fmla="*/ 3361102 h 5092591"/>
              <a:gd name="connsiteX1008" fmla="*/ 3588731 w 4546203"/>
              <a:gd name="connsiteY1008" fmla="*/ 3225799 h 5092591"/>
              <a:gd name="connsiteX1009" fmla="*/ 3668321 w 4546203"/>
              <a:gd name="connsiteY1009" fmla="*/ 3267186 h 5092591"/>
              <a:gd name="connsiteX1010" fmla="*/ 3592312 w 4546203"/>
              <a:gd name="connsiteY1010" fmla="*/ 3399306 h 5092591"/>
              <a:gd name="connsiteX1011" fmla="*/ 3596292 w 4546203"/>
              <a:gd name="connsiteY1011" fmla="*/ 3404081 h 5092591"/>
              <a:gd name="connsiteX1012" fmla="*/ 3609026 w 4546203"/>
              <a:gd name="connsiteY1012" fmla="*/ 3392938 h 5092591"/>
              <a:gd name="connsiteX1013" fmla="*/ 3677076 w 4546203"/>
              <a:gd name="connsiteY1013" fmla="*/ 3278328 h 5092591"/>
              <a:gd name="connsiteX1014" fmla="*/ 3754279 w 4546203"/>
              <a:gd name="connsiteY1014" fmla="*/ 3318919 h 5092591"/>
              <a:gd name="connsiteX1015" fmla="*/ 3687423 w 4546203"/>
              <a:gd name="connsiteY1015" fmla="*/ 3432734 h 5092591"/>
              <a:gd name="connsiteX1016" fmla="*/ 3693790 w 4546203"/>
              <a:gd name="connsiteY1016" fmla="*/ 3451437 h 5092591"/>
              <a:gd name="connsiteX1017" fmla="*/ 3764227 w 4546203"/>
              <a:gd name="connsiteY1017" fmla="*/ 3330858 h 5092591"/>
              <a:gd name="connsiteX1018" fmla="*/ 3839440 w 4546203"/>
              <a:gd name="connsiteY1018" fmla="*/ 3370653 h 5092591"/>
              <a:gd name="connsiteX1019" fmla="*/ 3767411 w 4546203"/>
              <a:gd name="connsiteY1019" fmla="*/ 3495212 h 5092591"/>
              <a:gd name="connsiteX1020" fmla="*/ 3780543 w 4546203"/>
              <a:gd name="connsiteY1020" fmla="*/ 3504763 h 5092591"/>
              <a:gd name="connsiteX1021" fmla="*/ 3851379 w 4546203"/>
              <a:gd name="connsiteY1021" fmla="*/ 3384183 h 5092591"/>
              <a:gd name="connsiteX1022" fmla="*/ 3924602 w 4546203"/>
              <a:gd name="connsiteY1022" fmla="*/ 3423183 h 5092591"/>
              <a:gd name="connsiteX1023" fmla="*/ 3849787 w 4546203"/>
              <a:gd name="connsiteY1023" fmla="*/ 3552517 h 5092591"/>
              <a:gd name="connsiteX1024" fmla="*/ 3864909 w 4546203"/>
              <a:gd name="connsiteY1024" fmla="*/ 3562466 h 5092591"/>
              <a:gd name="connsiteX1025" fmla="*/ 3937734 w 4546203"/>
              <a:gd name="connsiteY1025" fmla="*/ 3438305 h 5092591"/>
              <a:gd name="connsiteX1026" fmla="*/ 3992254 w 4546203"/>
              <a:gd name="connsiteY1026" fmla="*/ 3466560 h 5092591"/>
              <a:gd name="connsiteX1027" fmla="*/ 3803227 w 4546203"/>
              <a:gd name="connsiteY1027" fmla="*/ 2767358 h 5092591"/>
              <a:gd name="connsiteX1028" fmla="*/ 3645638 w 4546203"/>
              <a:gd name="connsiteY1028" fmla="*/ 2764970 h 5092591"/>
              <a:gd name="connsiteX1029" fmla="*/ 3602659 w 4546203"/>
              <a:gd name="connsiteY1029" fmla="*/ 2952406 h 5092591"/>
              <a:gd name="connsiteX1030" fmla="*/ 3645638 w 4546203"/>
              <a:gd name="connsiteY1030" fmla="*/ 2764970 h 5092591"/>
              <a:gd name="connsiteX1031" fmla="*/ 805057 w 4546203"/>
              <a:gd name="connsiteY1031" fmla="*/ 2683390 h 5092591"/>
              <a:gd name="connsiteX1032" fmla="*/ 798292 w 4546203"/>
              <a:gd name="connsiteY1032" fmla="*/ 2684186 h 5092591"/>
              <a:gd name="connsiteX1033" fmla="*/ 830924 w 4546203"/>
              <a:gd name="connsiteY1033" fmla="*/ 2885152 h 5092591"/>
              <a:gd name="connsiteX1034" fmla="*/ 837291 w 4546203"/>
              <a:gd name="connsiteY1034" fmla="*/ 2883958 h 5092591"/>
              <a:gd name="connsiteX1035" fmla="*/ 805057 w 4546203"/>
              <a:gd name="connsiteY1035" fmla="*/ 2683390 h 5092591"/>
              <a:gd name="connsiteX1036" fmla="*/ 844454 w 4546203"/>
              <a:gd name="connsiteY1036" fmla="*/ 2679808 h 5092591"/>
              <a:gd name="connsiteX1037" fmla="*/ 875892 w 4546203"/>
              <a:gd name="connsiteY1037" fmla="*/ 2875203 h 5092591"/>
              <a:gd name="connsiteX1038" fmla="*/ 844454 w 4546203"/>
              <a:gd name="connsiteY1038" fmla="*/ 2679808 h 5092591"/>
              <a:gd name="connsiteX1039" fmla="*/ 883055 w 4546203"/>
              <a:gd name="connsiteY1039" fmla="*/ 2676227 h 5092591"/>
              <a:gd name="connsiteX1040" fmla="*/ 913698 w 4546203"/>
              <a:gd name="connsiteY1040" fmla="*/ 2866448 h 5092591"/>
              <a:gd name="connsiteX1041" fmla="*/ 883055 w 4546203"/>
              <a:gd name="connsiteY1041" fmla="*/ 2676227 h 5092591"/>
              <a:gd name="connsiteX1042" fmla="*/ 3626138 w 4546203"/>
              <a:gd name="connsiteY1042" fmla="*/ 2225745 h 5092591"/>
              <a:gd name="connsiteX1043" fmla="*/ 3656780 w 4546203"/>
              <a:gd name="connsiteY1043" fmla="*/ 2415966 h 5092591"/>
              <a:gd name="connsiteX1044" fmla="*/ 3626138 w 4546203"/>
              <a:gd name="connsiteY1044" fmla="*/ 2225745 h 5092591"/>
              <a:gd name="connsiteX1045" fmla="*/ 3671107 w 4546203"/>
              <a:gd name="connsiteY1045" fmla="*/ 2215797 h 5092591"/>
              <a:gd name="connsiteX1046" fmla="*/ 3663943 w 4546203"/>
              <a:gd name="connsiteY1046" fmla="*/ 2216990 h 5092591"/>
              <a:gd name="connsiteX1047" fmla="*/ 3695382 w 4546203"/>
              <a:gd name="connsiteY1047" fmla="*/ 2412385 h 5092591"/>
              <a:gd name="connsiteX1048" fmla="*/ 3702545 w 4546203"/>
              <a:gd name="connsiteY1048" fmla="*/ 2411191 h 5092591"/>
              <a:gd name="connsiteX1049" fmla="*/ 3671107 w 4546203"/>
              <a:gd name="connsiteY1049" fmla="*/ 2215797 h 5092591"/>
              <a:gd name="connsiteX1050" fmla="*/ 3709310 w 4546203"/>
              <a:gd name="connsiteY1050" fmla="*/ 2207838 h 5092591"/>
              <a:gd name="connsiteX1051" fmla="*/ 3702545 w 4546203"/>
              <a:gd name="connsiteY1051" fmla="*/ 2208634 h 5092591"/>
              <a:gd name="connsiteX1052" fmla="*/ 3734779 w 4546203"/>
              <a:gd name="connsiteY1052" fmla="*/ 2409201 h 5092591"/>
              <a:gd name="connsiteX1053" fmla="*/ 3741544 w 4546203"/>
              <a:gd name="connsiteY1053" fmla="*/ 2408007 h 5092591"/>
              <a:gd name="connsiteX1054" fmla="*/ 3709310 w 4546203"/>
              <a:gd name="connsiteY1054" fmla="*/ 2207838 h 5092591"/>
              <a:gd name="connsiteX1055" fmla="*/ 3682647 w 4546203"/>
              <a:gd name="connsiteY1055" fmla="*/ 2141380 h 5092591"/>
              <a:gd name="connsiteX1056" fmla="*/ 3657576 w 4546203"/>
              <a:gd name="connsiteY1056" fmla="*/ 2148941 h 5092591"/>
              <a:gd name="connsiteX1057" fmla="*/ 3669117 w 4546203"/>
              <a:gd name="connsiteY1057" fmla="*/ 2164063 h 5092591"/>
              <a:gd name="connsiteX1058" fmla="*/ 3687821 w 4546203"/>
              <a:gd name="connsiteY1058" fmla="*/ 2159685 h 5092591"/>
              <a:gd name="connsiteX1059" fmla="*/ 3682647 w 4546203"/>
              <a:gd name="connsiteY1059" fmla="*/ 2141380 h 5092591"/>
              <a:gd name="connsiteX1060" fmla="*/ 930412 w 4546203"/>
              <a:gd name="connsiteY1060" fmla="*/ 2138594 h 5092591"/>
              <a:gd name="connsiteX1061" fmla="*/ 887433 w 4546203"/>
              <a:gd name="connsiteY1061" fmla="*/ 2326029 h 5092591"/>
              <a:gd name="connsiteX1062" fmla="*/ 894198 w 4546203"/>
              <a:gd name="connsiteY1062" fmla="*/ 2326825 h 5092591"/>
              <a:gd name="connsiteX1063" fmla="*/ 936779 w 4546203"/>
              <a:gd name="connsiteY1063" fmla="*/ 2140186 h 5092591"/>
              <a:gd name="connsiteX1064" fmla="*/ 930412 w 4546203"/>
              <a:gd name="connsiteY1064" fmla="*/ 2138594 h 5092591"/>
              <a:gd name="connsiteX1065" fmla="*/ 3768207 w 4546203"/>
              <a:gd name="connsiteY1065" fmla="*/ 2131033 h 5092591"/>
              <a:gd name="connsiteX1066" fmla="*/ 3744728 w 4546203"/>
              <a:gd name="connsiteY1066" fmla="*/ 2138594 h 5092591"/>
              <a:gd name="connsiteX1067" fmla="*/ 3751493 w 4546203"/>
              <a:gd name="connsiteY1067" fmla="*/ 2157696 h 5092591"/>
              <a:gd name="connsiteX1068" fmla="*/ 3773778 w 4546203"/>
              <a:gd name="connsiteY1068" fmla="*/ 2150532 h 5092591"/>
              <a:gd name="connsiteX1069" fmla="*/ 3768207 w 4546203"/>
              <a:gd name="connsiteY1069" fmla="*/ 2131033 h 5092591"/>
              <a:gd name="connsiteX1070" fmla="*/ 899769 w 4546203"/>
              <a:gd name="connsiteY1070" fmla="*/ 2128645 h 5092591"/>
              <a:gd name="connsiteX1071" fmla="*/ 855597 w 4546203"/>
              <a:gd name="connsiteY1071" fmla="*/ 2322050 h 5092591"/>
              <a:gd name="connsiteX1072" fmla="*/ 899769 w 4546203"/>
              <a:gd name="connsiteY1072" fmla="*/ 2128645 h 5092591"/>
              <a:gd name="connsiteX1073" fmla="*/ 855199 w 4546203"/>
              <a:gd name="connsiteY1073" fmla="*/ 2115911 h 5092591"/>
              <a:gd name="connsiteX1074" fmla="*/ 809832 w 4546203"/>
              <a:gd name="connsiteY1074" fmla="*/ 2313693 h 5092591"/>
              <a:gd name="connsiteX1075" fmla="*/ 816199 w 4546203"/>
              <a:gd name="connsiteY1075" fmla="*/ 2315285 h 5092591"/>
              <a:gd name="connsiteX1076" fmla="*/ 861566 w 4546203"/>
              <a:gd name="connsiteY1076" fmla="*/ 2117502 h 5092591"/>
              <a:gd name="connsiteX1077" fmla="*/ 855199 w 4546203"/>
              <a:gd name="connsiteY1077" fmla="*/ 2115911 h 5092591"/>
              <a:gd name="connsiteX1078" fmla="*/ 3860532 w 4546203"/>
              <a:gd name="connsiteY1078" fmla="*/ 2106758 h 5092591"/>
              <a:gd name="connsiteX1079" fmla="*/ 3837451 w 4546203"/>
              <a:gd name="connsiteY1079" fmla="*/ 2113125 h 5092591"/>
              <a:gd name="connsiteX1080" fmla="*/ 3843818 w 4546203"/>
              <a:gd name="connsiteY1080" fmla="*/ 2133420 h 5092591"/>
              <a:gd name="connsiteX1081" fmla="*/ 3867297 w 4546203"/>
              <a:gd name="connsiteY1081" fmla="*/ 2126655 h 5092591"/>
              <a:gd name="connsiteX1082" fmla="*/ 3860532 w 4546203"/>
              <a:gd name="connsiteY1082" fmla="*/ 2106758 h 5092591"/>
              <a:gd name="connsiteX1083" fmla="*/ 3617383 w 4546203"/>
              <a:gd name="connsiteY1083" fmla="*/ 2080891 h 5092591"/>
              <a:gd name="connsiteX1084" fmla="*/ 3591516 w 4546203"/>
              <a:gd name="connsiteY1084" fmla="*/ 2090840 h 5092591"/>
              <a:gd name="connsiteX1085" fmla="*/ 3607832 w 4546203"/>
              <a:gd name="connsiteY1085" fmla="*/ 2103574 h 5092591"/>
              <a:gd name="connsiteX1086" fmla="*/ 3624148 w 4546203"/>
              <a:gd name="connsiteY1086" fmla="*/ 2097605 h 5092591"/>
              <a:gd name="connsiteX1087" fmla="*/ 3617383 w 4546203"/>
              <a:gd name="connsiteY1087" fmla="*/ 2080891 h 5092591"/>
              <a:gd name="connsiteX1088" fmla="*/ 778394 w 4546203"/>
              <a:gd name="connsiteY1088" fmla="*/ 2080493 h 5092591"/>
              <a:gd name="connsiteX1089" fmla="*/ 747354 w 4546203"/>
              <a:gd name="connsiteY1089" fmla="*/ 2197491 h 5092591"/>
              <a:gd name="connsiteX1090" fmla="*/ 787945 w 4546203"/>
              <a:gd name="connsiteY1090" fmla="*/ 2091635 h 5092591"/>
              <a:gd name="connsiteX1091" fmla="*/ 778394 w 4546203"/>
              <a:gd name="connsiteY1091" fmla="*/ 2080493 h 5092591"/>
              <a:gd name="connsiteX1092" fmla="*/ 737405 w 4546203"/>
              <a:gd name="connsiteY1092" fmla="*/ 2071340 h 5092591"/>
              <a:gd name="connsiteX1093" fmla="*/ 707559 w 4546203"/>
              <a:gd name="connsiteY1093" fmla="*/ 2175205 h 5092591"/>
              <a:gd name="connsiteX1094" fmla="*/ 711140 w 4546203"/>
              <a:gd name="connsiteY1094" fmla="*/ 2187940 h 5092591"/>
              <a:gd name="connsiteX1095" fmla="*/ 716314 w 4546203"/>
              <a:gd name="connsiteY1095" fmla="*/ 2187144 h 5092591"/>
              <a:gd name="connsiteX1096" fmla="*/ 746956 w 4546203"/>
              <a:gd name="connsiteY1096" fmla="*/ 2074126 h 5092591"/>
              <a:gd name="connsiteX1097" fmla="*/ 737405 w 4546203"/>
              <a:gd name="connsiteY1097" fmla="*/ 2071340 h 5092591"/>
              <a:gd name="connsiteX1098" fmla="*/ 3800441 w 4546203"/>
              <a:gd name="connsiteY1098" fmla="*/ 2070146 h 5092591"/>
              <a:gd name="connsiteX1099" fmla="*/ 3776962 w 4546203"/>
              <a:gd name="connsiteY1099" fmla="*/ 2077309 h 5092591"/>
              <a:gd name="connsiteX1100" fmla="*/ 3784125 w 4546203"/>
              <a:gd name="connsiteY1100" fmla="*/ 2097207 h 5092591"/>
              <a:gd name="connsiteX1101" fmla="*/ 3806410 w 4546203"/>
              <a:gd name="connsiteY1101" fmla="*/ 2089646 h 5092591"/>
              <a:gd name="connsiteX1102" fmla="*/ 3800441 w 4546203"/>
              <a:gd name="connsiteY1102" fmla="*/ 2070146 h 5092591"/>
              <a:gd name="connsiteX1103" fmla="*/ 3692994 w 4546203"/>
              <a:gd name="connsiteY1103" fmla="*/ 2047065 h 5092591"/>
              <a:gd name="connsiteX1104" fmla="*/ 3671107 w 4546203"/>
              <a:gd name="connsiteY1104" fmla="*/ 2055422 h 5092591"/>
              <a:gd name="connsiteX1105" fmla="*/ 3677474 w 4546203"/>
              <a:gd name="connsiteY1105" fmla="*/ 2073728 h 5092591"/>
              <a:gd name="connsiteX1106" fmla="*/ 3700555 w 4546203"/>
              <a:gd name="connsiteY1106" fmla="*/ 2065769 h 5092591"/>
              <a:gd name="connsiteX1107" fmla="*/ 3692994 w 4546203"/>
              <a:gd name="connsiteY1107" fmla="*/ 2047065 h 5092591"/>
              <a:gd name="connsiteX1108" fmla="*/ 854005 w 4546203"/>
              <a:gd name="connsiteY1108" fmla="*/ 2025178 h 5092591"/>
              <a:gd name="connsiteX1109" fmla="*/ 847638 w 4546203"/>
              <a:gd name="connsiteY1109" fmla="*/ 2043881 h 5092591"/>
              <a:gd name="connsiteX1110" fmla="*/ 870321 w 4546203"/>
              <a:gd name="connsiteY1110" fmla="*/ 2051442 h 5092591"/>
              <a:gd name="connsiteX1111" fmla="*/ 876688 w 4546203"/>
              <a:gd name="connsiteY1111" fmla="*/ 2033137 h 5092591"/>
              <a:gd name="connsiteX1112" fmla="*/ 854005 w 4546203"/>
              <a:gd name="connsiteY1112" fmla="*/ 2025178 h 5092591"/>
              <a:gd name="connsiteX1113" fmla="*/ 3819941 w 4546203"/>
              <a:gd name="connsiteY1113" fmla="*/ 2002494 h 5092591"/>
              <a:gd name="connsiteX1114" fmla="*/ 3797655 w 4546203"/>
              <a:gd name="connsiteY1114" fmla="*/ 2010851 h 5092591"/>
              <a:gd name="connsiteX1115" fmla="*/ 3806410 w 4546203"/>
              <a:gd name="connsiteY1115" fmla="*/ 2030749 h 5092591"/>
              <a:gd name="connsiteX1116" fmla="*/ 3828298 w 4546203"/>
              <a:gd name="connsiteY1116" fmla="*/ 2021994 h 5092591"/>
              <a:gd name="connsiteX1117" fmla="*/ 3819941 w 4546203"/>
              <a:gd name="connsiteY1117" fmla="*/ 2002494 h 5092591"/>
              <a:gd name="connsiteX1118" fmla="*/ 727058 w 4546203"/>
              <a:gd name="connsiteY1118" fmla="*/ 1979015 h 5092591"/>
              <a:gd name="connsiteX1119" fmla="*/ 720691 w 4546203"/>
              <a:gd name="connsiteY1119" fmla="*/ 1999311 h 5092591"/>
              <a:gd name="connsiteX1120" fmla="*/ 742976 w 4546203"/>
              <a:gd name="connsiteY1120" fmla="*/ 2006474 h 5092591"/>
              <a:gd name="connsiteX1121" fmla="*/ 750537 w 4546203"/>
              <a:gd name="connsiteY1121" fmla="*/ 1986576 h 5092591"/>
              <a:gd name="connsiteX1122" fmla="*/ 727058 w 4546203"/>
              <a:gd name="connsiteY1122" fmla="*/ 1979015 h 5092591"/>
              <a:gd name="connsiteX1123" fmla="*/ 922851 w 4546203"/>
              <a:gd name="connsiteY1123" fmla="*/ 1959118 h 5092591"/>
              <a:gd name="connsiteX1124" fmla="*/ 916085 w 4546203"/>
              <a:gd name="connsiteY1124" fmla="*/ 1975036 h 5092591"/>
              <a:gd name="connsiteX1125" fmla="*/ 943146 w 4546203"/>
              <a:gd name="connsiteY1125" fmla="*/ 1968270 h 5092591"/>
              <a:gd name="connsiteX1126" fmla="*/ 922851 w 4546203"/>
              <a:gd name="connsiteY1126" fmla="*/ 1959118 h 5092591"/>
              <a:gd name="connsiteX1127" fmla="*/ 784363 w 4546203"/>
              <a:gd name="connsiteY1127" fmla="*/ 1944393 h 5092591"/>
              <a:gd name="connsiteX1128" fmla="*/ 776802 w 4546203"/>
              <a:gd name="connsiteY1128" fmla="*/ 1963893 h 5092591"/>
              <a:gd name="connsiteX1129" fmla="*/ 799087 w 4546203"/>
              <a:gd name="connsiteY1129" fmla="*/ 1972648 h 5092591"/>
              <a:gd name="connsiteX1130" fmla="*/ 806649 w 4546203"/>
              <a:gd name="connsiteY1130" fmla="*/ 1953546 h 5092591"/>
              <a:gd name="connsiteX1131" fmla="*/ 784363 w 4546203"/>
              <a:gd name="connsiteY1131" fmla="*/ 1944393 h 5092591"/>
              <a:gd name="connsiteX1132" fmla="*/ 850423 w 4546203"/>
              <a:gd name="connsiteY1132" fmla="*/ 1912159 h 5092591"/>
              <a:gd name="connsiteX1133" fmla="*/ 842066 w 4546203"/>
              <a:gd name="connsiteY1133" fmla="*/ 1930863 h 5092591"/>
              <a:gd name="connsiteX1134" fmla="*/ 865148 w 4546203"/>
              <a:gd name="connsiteY1134" fmla="*/ 1939618 h 5092591"/>
              <a:gd name="connsiteX1135" fmla="*/ 872311 w 4546203"/>
              <a:gd name="connsiteY1135" fmla="*/ 1921710 h 5092591"/>
              <a:gd name="connsiteX1136" fmla="*/ 850423 w 4546203"/>
              <a:gd name="connsiteY1136" fmla="*/ 1912159 h 5092591"/>
              <a:gd name="connsiteX1137" fmla="*/ 3665933 w 4546203"/>
              <a:gd name="connsiteY1137" fmla="*/ 1871568 h 5092591"/>
              <a:gd name="connsiteX1138" fmla="*/ 3711698 w 4546203"/>
              <a:gd name="connsiteY1138" fmla="*/ 1976229 h 5092591"/>
              <a:gd name="connsiteX1139" fmla="*/ 3718463 w 4546203"/>
              <a:gd name="connsiteY1139" fmla="*/ 1975434 h 5092591"/>
              <a:gd name="connsiteX1140" fmla="*/ 3717269 w 4546203"/>
              <a:gd name="connsiteY1140" fmla="*/ 1959913 h 5092591"/>
              <a:gd name="connsiteX1141" fmla="*/ 3665933 w 4546203"/>
              <a:gd name="connsiteY1141" fmla="*/ 1871568 h 5092591"/>
              <a:gd name="connsiteX1142" fmla="*/ 3709708 w 4546203"/>
              <a:gd name="connsiteY1142" fmla="*/ 1850875 h 5092591"/>
              <a:gd name="connsiteX1143" fmla="*/ 3708514 w 4546203"/>
              <a:gd name="connsiteY1143" fmla="*/ 1859630 h 5092591"/>
              <a:gd name="connsiteX1144" fmla="*/ 3754676 w 4546203"/>
              <a:gd name="connsiteY1144" fmla="*/ 1963495 h 5092591"/>
              <a:gd name="connsiteX1145" fmla="*/ 3761840 w 4546203"/>
              <a:gd name="connsiteY1145" fmla="*/ 1954740 h 5092591"/>
              <a:gd name="connsiteX1146" fmla="*/ 3718065 w 4546203"/>
              <a:gd name="connsiteY1146" fmla="*/ 1852864 h 5092591"/>
              <a:gd name="connsiteX1147" fmla="*/ 3709708 w 4546203"/>
              <a:gd name="connsiteY1147" fmla="*/ 1850875 h 5092591"/>
              <a:gd name="connsiteX1148" fmla="*/ 3516701 w 4546203"/>
              <a:gd name="connsiteY1148" fmla="*/ 1831375 h 5092591"/>
              <a:gd name="connsiteX1149" fmla="*/ 3478896 w 4546203"/>
              <a:gd name="connsiteY1149" fmla="*/ 1853660 h 5092591"/>
              <a:gd name="connsiteX1150" fmla="*/ 3564058 w 4546203"/>
              <a:gd name="connsiteY1150" fmla="*/ 2028759 h 5092591"/>
              <a:gd name="connsiteX1151" fmla="*/ 3570823 w 4546203"/>
              <a:gd name="connsiteY1151" fmla="*/ 2025576 h 5092591"/>
              <a:gd name="connsiteX1152" fmla="*/ 3502375 w 4546203"/>
              <a:gd name="connsiteY1152" fmla="*/ 1877139 h 5092591"/>
              <a:gd name="connsiteX1153" fmla="*/ 3525854 w 4546203"/>
              <a:gd name="connsiteY1153" fmla="*/ 1864803 h 5092591"/>
              <a:gd name="connsiteX1154" fmla="*/ 3597088 w 4546203"/>
              <a:gd name="connsiteY1154" fmla="*/ 2016025 h 5092591"/>
              <a:gd name="connsiteX1155" fmla="*/ 3603455 w 4546203"/>
              <a:gd name="connsiteY1155" fmla="*/ 2012841 h 5092591"/>
              <a:gd name="connsiteX1156" fmla="*/ 3516701 w 4546203"/>
              <a:gd name="connsiteY1156" fmla="*/ 1831375 h 5092591"/>
              <a:gd name="connsiteX1157" fmla="*/ 3553711 w 4546203"/>
              <a:gd name="connsiteY1157" fmla="*/ 1812671 h 5092591"/>
              <a:gd name="connsiteX1158" fmla="*/ 3547344 w 4546203"/>
              <a:gd name="connsiteY1158" fmla="*/ 1815457 h 5092591"/>
              <a:gd name="connsiteX1159" fmla="*/ 3636485 w 4546203"/>
              <a:gd name="connsiteY1159" fmla="*/ 1999311 h 5092591"/>
              <a:gd name="connsiteX1160" fmla="*/ 3642454 w 4546203"/>
              <a:gd name="connsiteY1160" fmla="*/ 1996525 h 5092591"/>
              <a:gd name="connsiteX1161" fmla="*/ 3553711 w 4546203"/>
              <a:gd name="connsiteY1161" fmla="*/ 1812671 h 5092591"/>
              <a:gd name="connsiteX1162" fmla="*/ 3500783 w 4546203"/>
              <a:gd name="connsiteY1162" fmla="*/ 1671000 h 5092591"/>
              <a:gd name="connsiteX1163" fmla="*/ 3466559 w 4546203"/>
              <a:gd name="connsiteY1163" fmla="*/ 1695275 h 5092591"/>
              <a:gd name="connsiteX1164" fmla="*/ 3486457 w 4546203"/>
              <a:gd name="connsiteY1164" fmla="*/ 1722734 h 5092591"/>
              <a:gd name="connsiteX1165" fmla="*/ 3520681 w 4546203"/>
              <a:gd name="connsiteY1165" fmla="*/ 1699255 h 5092591"/>
              <a:gd name="connsiteX1166" fmla="*/ 3500783 w 4546203"/>
              <a:gd name="connsiteY1166" fmla="*/ 1671000 h 5092591"/>
              <a:gd name="connsiteX1167" fmla="*/ 3596690 w 4546203"/>
              <a:gd name="connsiteY1167" fmla="*/ 1625236 h 5092591"/>
              <a:gd name="connsiteX1168" fmla="*/ 3562864 w 4546203"/>
              <a:gd name="connsiteY1168" fmla="*/ 1649511 h 5092591"/>
              <a:gd name="connsiteX1169" fmla="*/ 3583159 w 4546203"/>
              <a:gd name="connsiteY1169" fmla="*/ 1678959 h 5092591"/>
              <a:gd name="connsiteX1170" fmla="*/ 3617781 w 4546203"/>
              <a:gd name="connsiteY1170" fmla="*/ 1655878 h 5092591"/>
              <a:gd name="connsiteX1171" fmla="*/ 3596690 w 4546203"/>
              <a:gd name="connsiteY1171" fmla="*/ 1625236 h 5092591"/>
              <a:gd name="connsiteX1172" fmla="*/ 3271165 w 4546203"/>
              <a:gd name="connsiteY1172" fmla="*/ 1567135 h 5092591"/>
              <a:gd name="connsiteX1173" fmla="*/ 3264400 w 4546203"/>
              <a:gd name="connsiteY1173" fmla="*/ 1573502 h 5092591"/>
              <a:gd name="connsiteX1174" fmla="*/ 3302603 w 4546203"/>
              <a:gd name="connsiteY1174" fmla="*/ 1612899 h 5092591"/>
              <a:gd name="connsiteX1175" fmla="*/ 3308970 w 4546203"/>
              <a:gd name="connsiteY1175" fmla="*/ 1606930 h 5092591"/>
              <a:gd name="connsiteX1176" fmla="*/ 3271165 w 4546203"/>
              <a:gd name="connsiteY1176" fmla="*/ 1567135 h 5092591"/>
              <a:gd name="connsiteX1177" fmla="*/ 3471335 w 4546203"/>
              <a:gd name="connsiteY1177" fmla="*/ 1554002 h 5092591"/>
              <a:gd name="connsiteX1178" fmla="*/ 3439101 w 4546203"/>
              <a:gd name="connsiteY1178" fmla="*/ 1581063 h 5092591"/>
              <a:gd name="connsiteX1179" fmla="*/ 3460988 w 4546203"/>
              <a:gd name="connsiteY1179" fmla="*/ 1608124 h 5092591"/>
              <a:gd name="connsiteX1180" fmla="*/ 3493620 w 4546203"/>
              <a:gd name="connsiteY1180" fmla="*/ 1581461 h 5092591"/>
              <a:gd name="connsiteX1181" fmla="*/ 3471335 w 4546203"/>
              <a:gd name="connsiteY1181" fmla="*/ 1554002 h 5092591"/>
              <a:gd name="connsiteX1182" fmla="*/ 674926 w 4546203"/>
              <a:gd name="connsiteY1182" fmla="*/ 1529329 h 5092591"/>
              <a:gd name="connsiteX1183" fmla="*/ 601703 w 4546203"/>
              <a:gd name="connsiteY1183" fmla="*/ 1653093 h 5092591"/>
              <a:gd name="connsiteX1184" fmla="*/ 546388 w 4546203"/>
              <a:gd name="connsiteY1184" fmla="*/ 1624042 h 5092591"/>
              <a:gd name="connsiteX1185" fmla="*/ 537235 w 4546203"/>
              <a:gd name="connsiteY1185" fmla="*/ 1645133 h 5092591"/>
              <a:gd name="connsiteX1186" fmla="*/ 499430 w 4546203"/>
              <a:gd name="connsiteY1186" fmla="*/ 1969066 h 5092591"/>
              <a:gd name="connsiteX1187" fmla="*/ 711936 w 4546203"/>
              <a:gd name="connsiteY1187" fmla="*/ 2311703 h 5092591"/>
              <a:gd name="connsiteX1188" fmla="*/ 735813 w 4546203"/>
              <a:gd name="connsiteY1188" fmla="*/ 2326029 h 5092591"/>
              <a:gd name="connsiteX1189" fmla="*/ 756507 w 4546203"/>
              <a:gd name="connsiteY1189" fmla="*/ 2208634 h 5092591"/>
              <a:gd name="connsiteX1190" fmla="*/ 710344 w 4546203"/>
              <a:gd name="connsiteY1190" fmla="*/ 2205848 h 5092591"/>
              <a:gd name="connsiteX1191" fmla="*/ 667365 w 4546203"/>
              <a:gd name="connsiteY1191" fmla="*/ 2205848 h 5092591"/>
              <a:gd name="connsiteX1192" fmla="*/ 704773 w 4546203"/>
              <a:gd name="connsiteY1192" fmla="*/ 2060595 h 5092591"/>
              <a:gd name="connsiteX1193" fmla="*/ 654233 w 4546203"/>
              <a:gd name="connsiteY1193" fmla="*/ 2043483 h 5092591"/>
              <a:gd name="connsiteX1194" fmla="*/ 667365 w 4546203"/>
              <a:gd name="connsiteY1194" fmla="*/ 2000107 h 5092591"/>
              <a:gd name="connsiteX1195" fmla="*/ 627172 w 4546203"/>
              <a:gd name="connsiteY1195" fmla="*/ 1985382 h 5092591"/>
              <a:gd name="connsiteX1196" fmla="*/ 680498 w 4546203"/>
              <a:gd name="connsiteY1196" fmla="*/ 1848487 h 5092591"/>
              <a:gd name="connsiteX1197" fmla="*/ 719497 w 4546203"/>
              <a:gd name="connsiteY1197" fmla="*/ 1864803 h 5092591"/>
              <a:gd name="connsiteX1198" fmla="*/ 741782 w 4546203"/>
              <a:gd name="connsiteY1198" fmla="*/ 1819436 h 5092591"/>
              <a:gd name="connsiteX1199" fmla="*/ 1012788 w 4546203"/>
              <a:gd name="connsiteY1199" fmla="*/ 1948373 h 5092591"/>
              <a:gd name="connsiteX1200" fmla="*/ 1029900 w 4546203"/>
              <a:gd name="connsiteY1200" fmla="*/ 1912557 h 5092591"/>
              <a:gd name="connsiteX1201" fmla="*/ 956278 w 4546203"/>
              <a:gd name="connsiteY1201" fmla="*/ 1874354 h 5092591"/>
              <a:gd name="connsiteX1202" fmla="*/ 1037859 w 4546203"/>
              <a:gd name="connsiteY1202" fmla="*/ 1733479 h 5092591"/>
              <a:gd name="connsiteX1203" fmla="*/ 1031094 w 4546203"/>
              <a:gd name="connsiteY1203" fmla="*/ 1729499 h 5092591"/>
              <a:gd name="connsiteX1204" fmla="*/ 950309 w 4546203"/>
              <a:gd name="connsiteY1204" fmla="*/ 1865201 h 5092591"/>
              <a:gd name="connsiteX1205" fmla="*/ 870321 w 4546203"/>
              <a:gd name="connsiteY1205" fmla="*/ 1823814 h 5092591"/>
              <a:gd name="connsiteX1206" fmla="*/ 946728 w 4546203"/>
              <a:gd name="connsiteY1206" fmla="*/ 1691296 h 5092591"/>
              <a:gd name="connsiteX1207" fmla="*/ 942350 w 4546203"/>
              <a:gd name="connsiteY1207" fmla="*/ 1686520 h 5092591"/>
              <a:gd name="connsiteX1208" fmla="*/ 930412 w 4546203"/>
              <a:gd name="connsiteY1208" fmla="*/ 1696867 h 5092591"/>
              <a:gd name="connsiteX1209" fmla="*/ 861566 w 4546203"/>
              <a:gd name="connsiteY1209" fmla="*/ 1812671 h 5092591"/>
              <a:gd name="connsiteX1210" fmla="*/ 785955 w 4546203"/>
              <a:gd name="connsiteY1210" fmla="*/ 1773274 h 5092591"/>
              <a:gd name="connsiteX1211" fmla="*/ 795904 w 4546203"/>
              <a:gd name="connsiteY1211" fmla="*/ 1754172 h 5092591"/>
              <a:gd name="connsiteX1212" fmla="*/ 852413 w 4546203"/>
              <a:gd name="connsiteY1212" fmla="*/ 1655878 h 5092591"/>
              <a:gd name="connsiteX1213" fmla="*/ 852413 w 4546203"/>
              <a:gd name="connsiteY1213" fmla="*/ 1641552 h 5092591"/>
              <a:gd name="connsiteX1214" fmla="*/ 840872 w 4546203"/>
              <a:gd name="connsiteY1214" fmla="*/ 1648715 h 5092591"/>
              <a:gd name="connsiteX1215" fmla="*/ 833311 w 4546203"/>
              <a:gd name="connsiteY1215" fmla="*/ 1660256 h 5092591"/>
              <a:gd name="connsiteX1216" fmla="*/ 774812 w 4546203"/>
              <a:gd name="connsiteY1216" fmla="*/ 1760142 h 5092591"/>
              <a:gd name="connsiteX1217" fmla="*/ 699202 w 4546203"/>
              <a:gd name="connsiteY1217" fmla="*/ 1720346 h 5092591"/>
              <a:gd name="connsiteX1218" fmla="*/ 766058 w 4546203"/>
              <a:gd name="connsiteY1218" fmla="*/ 1606930 h 5092591"/>
              <a:gd name="connsiteX1219" fmla="*/ 756905 w 4546203"/>
              <a:gd name="connsiteY1219" fmla="*/ 1589420 h 5092591"/>
              <a:gd name="connsiteX1220" fmla="*/ 687661 w 4546203"/>
              <a:gd name="connsiteY1220" fmla="*/ 1707214 h 5092591"/>
              <a:gd name="connsiteX1221" fmla="*/ 614836 w 4546203"/>
              <a:gd name="connsiteY1221" fmla="*/ 1668215 h 5092591"/>
              <a:gd name="connsiteX1222" fmla="*/ 689651 w 4546203"/>
              <a:gd name="connsiteY1222" fmla="*/ 1539278 h 5092591"/>
              <a:gd name="connsiteX1223" fmla="*/ 674926 w 4546203"/>
              <a:gd name="connsiteY1223" fmla="*/ 1529329 h 5092591"/>
              <a:gd name="connsiteX1224" fmla="*/ 3598679 w 4546203"/>
              <a:gd name="connsiteY1224" fmla="*/ 1527340 h 5092591"/>
              <a:gd name="connsiteX1225" fmla="*/ 3566047 w 4546203"/>
              <a:gd name="connsiteY1225" fmla="*/ 1552809 h 5092591"/>
              <a:gd name="connsiteX1226" fmla="*/ 3588731 w 4546203"/>
              <a:gd name="connsiteY1226" fmla="*/ 1583053 h 5092591"/>
              <a:gd name="connsiteX1227" fmla="*/ 3622159 w 4546203"/>
              <a:gd name="connsiteY1227" fmla="*/ 1557584 h 5092591"/>
              <a:gd name="connsiteX1228" fmla="*/ 3598679 w 4546203"/>
              <a:gd name="connsiteY1228" fmla="*/ 1527340 h 5092591"/>
              <a:gd name="connsiteX1229" fmla="*/ 1238426 w 4546203"/>
              <a:gd name="connsiteY1229" fmla="*/ 1470433 h 5092591"/>
              <a:gd name="connsiteX1230" fmla="*/ 1213355 w 4546203"/>
              <a:gd name="connsiteY1230" fmla="*/ 1498289 h 5092591"/>
              <a:gd name="connsiteX1231" fmla="*/ 1236437 w 4546203"/>
              <a:gd name="connsiteY1231" fmla="*/ 1517391 h 5092591"/>
              <a:gd name="connsiteX1232" fmla="*/ 1260712 w 4546203"/>
              <a:gd name="connsiteY1232" fmla="*/ 1489932 h 5092591"/>
              <a:gd name="connsiteX1233" fmla="*/ 1238426 w 4546203"/>
              <a:gd name="connsiteY1233" fmla="*/ 1470433 h 5092591"/>
              <a:gd name="connsiteX1234" fmla="*/ 3599873 w 4546203"/>
              <a:gd name="connsiteY1234" fmla="*/ 1447749 h 5092591"/>
              <a:gd name="connsiteX1235" fmla="*/ 3567639 w 4546203"/>
              <a:gd name="connsiteY1235" fmla="*/ 1474412 h 5092591"/>
              <a:gd name="connsiteX1236" fmla="*/ 3591914 w 4546203"/>
              <a:gd name="connsiteY1236" fmla="*/ 1504258 h 5092591"/>
              <a:gd name="connsiteX1237" fmla="*/ 3624546 w 4546203"/>
              <a:gd name="connsiteY1237" fmla="*/ 1478392 h 5092591"/>
              <a:gd name="connsiteX1238" fmla="*/ 3599873 w 4546203"/>
              <a:gd name="connsiteY1238" fmla="*/ 1447749 h 5092591"/>
              <a:gd name="connsiteX1239" fmla="*/ 1199029 w 4546203"/>
              <a:gd name="connsiteY1239" fmla="*/ 1428648 h 5092591"/>
              <a:gd name="connsiteX1240" fmla="*/ 1171173 w 4546203"/>
              <a:gd name="connsiteY1240" fmla="*/ 1451331 h 5092591"/>
              <a:gd name="connsiteX1241" fmla="*/ 1195050 w 4546203"/>
              <a:gd name="connsiteY1241" fmla="*/ 1478392 h 5092591"/>
              <a:gd name="connsiteX1242" fmla="*/ 1224100 w 4546203"/>
              <a:gd name="connsiteY1242" fmla="*/ 1451729 h 5092591"/>
              <a:gd name="connsiteX1243" fmla="*/ 1199029 w 4546203"/>
              <a:gd name="connsiteY1243" fmla="*/ 1428648 h 5092591"/>
              <a:gd name="connsiteX1244" fmla="*/ 2320068 w 4546203"/>
              <a:gd name="connsiteY1244" fmla="*/ 1391331 h 5092591"/>
              <a:gd name="connsiteX1245" fmla="*/ 1854058 w 4546203"/>
              <a:gd name="connsiteY1245" fmla="*/ 1462871 h 5092591"/>
              <a:gd name="connsiteX1246" fmla="*/ 1206192 w 4546203"/>
              <a:gd name="connsiteY1246" fmla="*/ 2059799 h 5092591"/>
              <a:gd name="connsiteX1247" fmla="*/ 1138541 w 4546203"/>
              <a:gd name="connsiteY1247" fmla="*/ 2818296 h 5092591"/>
              <a:gd name="connsiteX1248" fmla="*/ 1487544 w 4546203"/>
              <a:gd name="connsiteY1248" fmla="*/ 3421591 h 5092591"/>
              <a:gd name="connsiteX1249" fmla="*/ 2232510 w 4546203"/>
              <a:gd name="connsiteY1249" fmla="*/ 3699760 h 5092591"/>
              <a:gd name="connsiteX1250" fmla="*/ 2608177 w 4546203"/>
              <a:gd name="connsiteY1250" fmla="*/ 3651607 h 5092591"/>
              <a:gd name="connsiteX1251" fmla="*/ 3310164 w 4546203"/>
              <a:gd name="connsiteY1251" fmla="*/ 3078159 h 5092591"/>
              <a:gd name="connsiteX1252" fmla="*/ 3402091 w 4546203"/>
              <a:gd name="connsiteY1252" fmla="*/ 2279469 h 5092591"/>
              <a:gd name="connsiteX1253" fmla="*/ 3032394 w 4546203"/>
              <a:gd name="connsiteY1253" fmla="*/ 1662245 h 5092591"/>
              <a:gd name="connsiteX1254" fmla="*/ 2320068 w 4546203"/>
              <a:gd name="connsiteY1254" fmla="*/ 1391331 h 5092591"/>
              <a:gd name="connsiteX1255" fmla="*/ 3350357 w 4546203"/>
              <a:gd name="connsiteY1255" fmla="*/ 1378904 h 5092591"/>
              <a:gd name="connsiteX1256" fmla="*/ 3316531 w 4546203"/>
              <a:gd name="connsiteY1256" fmla="*/ 1417107 h 5092591"/>
              <a:gd name="connsiteX1257" fmla="*/ 3345184 w 4546203"/>
              <a:gd name="connsiteY1257" fmla="*/ 1443770 h 5092591"/>
              <a:gd name="connsiteX1258" fmla="*/ 3379806 w 4546203"/>
              <a:gd name="connsiteY1258" fmla="*/ 1411138 h 5092591"/>
              <a:gd name="connsiteX1259" fmla="*/ 3350357 w 4546203"/>
              <a:gd name="connsiteY1259" fmla="*/ 1378904 h 5092591"/>
              <a:gd name="connsiteX1260" fmla="*/ 1431831 w 4546203"/>
              <a:gd name="connsiteY1260" fmla="*/ 1376914 h 5092591"/>
              <a:gd name="connsiteX1261" fmla="*/ 1402383 w 4546203"/>
              <a:gd name="connsiteY1261" fmla="*/ 1399199 h 5092591"/>
              <a:gd name="connsiteX1262" fmla="*/ 1398403 w 4546203"/>
              <a:gd name="connsiteY1262" fmla="*/ 1408352 h 5092591"/>
              <a:gd name="connsiteX1263" fmla="*/ 1409546 w 4546203"/>
              <a:gd name="connsiteY1263" fmla="*/ 1407556 h 5092591"/>
              <a:gd name="connsiteX1264" fmla="*/ 1433025 w 4546203"/>
              <a:gd name="connsiteY1264" fmla="*/ 1390046 h 5092591"/>
              <a:gd name="connsiteX1265" fmla="*/ 1437402 w 4546203"/>
              <a:gd name="connsiteY1265" fmla="*/ 1379699 h 5092591"/>
              <a:gd name="connsiteX1266" fmla="*/ 1431831 w 4546203"/>
              <a:gd name="connsiteY1266" fmla="*/ 1376914 h 5092591"/>
              <a:gd name="connsiteX1267" fmla="*/ 3303399 w 4546203"/>
              <a:gd name="connsiteY1267" fmla="*/ 1340302 h 5092591"/>
              <a:gd name="connsiteX1268" fmla="*/ 3271961 w 4546203"/>
              <a:gd name="connsiteY1268" fmla="*/ 1377312 h 5092591"/>
              <a:gd name="connsiteX1269" fmla="*/ 3303001 w 4546203"/>
              <a:gd name="connsiteY1269" fmla="*/ 1404373 h 5092591"/>
              <a:gd name="connsiteX1270" fmla="*/ 3335633 w 4546203"/>
              <a:gd name="connsiteY1270" fmla="*/ 1368557 h 5092591"/>
              <a:gd name="connsiteX1271" fmla="*/ 3303399 w 4546203"/>
              <a:gd name="connsiteY1271" fmla="*/ 1340302 h 5092591"/>
              <a:gd name="connsiteX1272" fmla="*/ 1285385 w 4546203"/>
              <a:gd name="connsiteY1272" fmla="*/ 1337517 h 5092591"/>
              <a:gd name="connsiteX1273" fmla="*/ 1255538 w 4546203"/>
              <a:gd name="connsiteY1273" fmla="*/ 1362986 h 5092591"/>
              <a:gd name="connsiteX1274" fmla="*/ 1277426 w 4546203"/>
              <a:gd name="connsiteY1274" fmla="*/ 1388454 h 5092591"/>
              <a:gd name="connsiteX1275" fmla="*/ 1306476 w 4546203"/>
              <a:gd name="connsiteY1275" fmla="*/ 1362588 h 5092591"/>
              <a:gd name="connsiteX1276" fmla="*/ 1285385 w 4546203"/>
              <a:gd name="connsiteY1276" fmla="*/ 1337517 h 5092591"/>
              <a:gd name="connsiteX1277" fmla="*/ 1111082 w 4546203"/>
              <a:gd name="connsiteY1277" fmla="*/ 1327966 h 5092591"/>
              <a:gd name="connsiteX1278" fmla="*/ 1082031 w 4546203"/>
              <a:gd name="connsiteY1278" fmla="*/ 1355027 h 5092591"/>
              <a:gd name="connsiteX1279" fmla="*/ 1106306 w 4546203"/>
              <a:gd name="connsiteY1279" fmla="*/ 1384077 h 5092591"/>
              <a:gd name="connsiteX1280" fmla="*/ 1134163 w 4546203"/>
              <a:gd name="connsiteY1280" fmla="*/ 1352241 h 5092591"/>
              <a:gd name="connsiteX1281" fmla="*/ 1111082 w 4546203"/>
              <a:gd name="connsiteY1281" fmla="*/ 1327966 h 5092591"/>
              <a:gd name="connsiteX1282" fmla="*/ 3398908 w 4546203"/>
              <a:gd name="connsiteY1282" fmla="*/ 1327568 h 5092591"/>
              <a:gd name="connsiteX1283" fmla="*/ 3364684 w 4546203"/>
              <a:gd name="connsiteY1283" fmla="*/ 1364577 h 5092591"/>
              <a:gd name="connsiteX1284" fmla="*/ 3393734 w 4546203"/>
              <a:gd name="connsiteY1284" fmla="*/ 1392036 h 5092591"/>
              <a:gd name="connsiteX1285" fmla="*/ 3426764 w 4546203"/>
              <a:gd name="connsiteY1285" fmla="*/ 1360200 h 5092591"/>
              <a:gd name="connsiteX1286" fmla="*/ 3398908 w 4546203"/>
              <a:gd name="connsiteY1286" fmla="*/ 1327568 h 5092591"/>
              <a:gd name="connsiteX1287" fmla="*/ 3256043 w 4546203"/>
              <a:gd name="connsiteY1287" fmla="*/ 1300905 h 5092591"/>
              <a:gd name="connsiteX1288" fmla="*/ 3225798 w 4546203"/>
              <a:gd name="connsiteY1288" fmla="*/ 1338710 h 5092591"/>
              <a:gd name="connsiteX1289" fmla="*/ 3258032 w 4546203"/>
              <a:gd name="connsiteY1289" fmla="*/ 1364975 h 5092591"/>
              <a:gd name="connsiteX1290" fmla="*/ 3289471 w 4546203"/>
              <a:gd name="connsiteY1290" fmla="*/ 1327170 h 5092591"/>
              <a:gd name="connsiteX1291" fmla="*/ 3256043 w 4546203"/>
              <a:gd name="connsiteY1291" fmla="*/ 1300905 h 5092591"/>
              <a:gd name="connsiteX1292" fmla="*/ 1247181 w 4546203"/>
              <a:gd name="connsiteY1292" fmla="*/ 1289762 h 5092591"/>
              <a:gd name="connsiteX1293" fmla="*/ 1215743 w 4546203"/>
              <a:gd name="connsiteY1293" fmla="*/ 1316823 h 5092591"/>
              <a:gd name="connsiteX1294" fmla="*/ 1240416 w 4546203"/>
              <a:gd name="connsiteY1294" fmla="*/ 1345078 h 5092591"/>
              <a:gd name="connsiteX1295" fmla="*/ 1271059 w 4546203"/>
              <a:gd name="connsiteY1295" fmla="*/ 1319211 h 5092591"/>
              <a:gd name="connsiteX1296" fmla="*/ 1247181 w 4546203"/>
              <a:gd name="connsiteY1296" fmla="*/ 1289762 h 5092591"/>
              <a:gd name="connsiteX1297" fmla="*/ 1533309 w 4546203"/>
              <a:gd name="connsiteY1297" fmla="*/ 1288171 h 5092591"/>
              <a:gd name="connsiteX1298" fmla="*/ 1509432 w 4546203"/>
              <a:gd name="connsiteY1298" fmla="*/ 1302497 h 5092591"/>
              <a:gd name="connsiteX1299" fmla="*/ 1528533 w 4546203"/>
              <a:gd name="connsiteY1299" fmla="*/ 1333537 h 5092591"/>
              <a:gd name="connsiteX1300" fmla="*/ 1551615 w 4546203"/>
              <a:gd name="connsiteY1300" fmla="*/ 1318813 h 5092591"/>
              <a:gd name="connsiteX1301" fmla="*/ 1533309 w 4546203"/>
              <a:gd name="connsiteY1301" fmla="*/ 1288171 h 5092591"/>
              <a:gd name="connsiteX1302" fmla="*/ 3349960 w 4546203"/>
              <a:gd name="connsiteY1302" fmla="*/ 1285783 h 5092591"/>
              <a:gd name="connsiteX1303" fmla="*/ 3318123 w 4546203"/>
              <a:gd name="connsiteY1303" fmla="*/ 1323190 h 5092591"/>
              <a:gd name="connsiteX1304" fmla="*/ 3350755 w 4546203"/>
              <a:gd name="connsiteY1304" fmla="*/ 1351047 h 5092591"/>
              <a:gd name="connsiteX1305" fmla="*/ 3382990 w 4546203"/>
              <a:gd name="connsiteY1305" fmla="*/ 1315231 h 5092591"/>
              <a:gd name="connsiteX1306" fmla="*/ 3349960 w 4546203"/>
              <a:gd name="connsiteY1306" fmla="*/ 1285783 h 5092591"/>
              <a:gd name="connsiteX1307" fmla="*/ 1071685 w 4546203"/>
              <a:gd name="connsiteY1307" fmla="*/ 1285783 h 5092591"/>
              <a:gd name="connsiteX1308" fmla="*/ 1042634 w 4546203"/>
              <a:gd name="connsiteY1308" fmla="*/ 1315231 h 5092591"/>
              <a:gd name="connsiteX1309" fmla="*/ 1064521 w 4546203"/>
              <a:gd name="connsiteY1309" fmla="*/ 1338710 h 5092591"/>
              <a:gd name="connsiteX1310" fmla="*/ 1094766 w 4546203"/>
              <a:gd name="connsiteY1310" fmla="*/ 1310058 h 5092591"/>
              <a:gd name="connsiteX1311" fmla="*/ 1071685 w 4546203"/>
              <a:gd name="connsiteY1311" fmla="*/ 1285783 h 5092591"/>
              <a:gd name="connsiteX1312" fmla="*/ 1352639 w 4546203"/>
              <a:gd name="connsiteY1312" fmla="*/ 1282599 h 5092591"/>
              <a:gd name="connsiteX1313" fmla="*/ 1320007 w 4546203"/>
              <a:gd name="connsiteY1313" fmla="*/ 1307272 h 5092591"/>
              <a:gd name="connsiteX1314" fmla="*/ 1378108 w 4546203"/>
              <a:gd name="connsiteY1314" fmla="*/ 1382485 h 5092591"/>
              <a:gd name="connsiteX1315" fmla="*/ 1421086 w 4546203"/>
              <a:gd name="connsiteY1315" fmla="*/ 1350649 h 5092591"/>
              <a:gd name="connsiteX1316" fmla="*/ 1352639 w 4546203"/>
              <a:gd name="connsiteY1316" fmla="*/ 1282599 h 5092591"/>
              <a:gd name="connsiteX1317" fmla="*/ 3446264 w 4546203"/>
              <a:gd name="connsiteY1317" fmla="*/ 1276630 h 5092591"/>
              <a:gd name="connsiteX1318" fmla="*/ 3414428 w 4546203"/>
              <a:gd name="connsiteY1318" fmla="*/ 1310854 h 5092591"/>
              <a:gd name="connsiteX1319" fmla="*/ 3442284 w 4546203"/>
              <a:gd name="connsiteY1319" fmla="*/ 1341496 h 5092591"/>
              <a:gd name="connsiteX1320" fmla="*/ 3479692 w 4546203"/>
              <a:gd name="connsiteY1320" fmla="*/ 1308466 h 5092591"/>
              <a:gd name="connsiteX1321" fmla="*/ 3446264 w 4546203"/>
              <a:gd name="connsiteY1321" fmla="*/ 1276630 h 5092591"/>
              <a:gd name="connsiteX1322" fmla="*/ 1473616 w 4546203"/>
              <a:gd name="connsiteY1322" fmla="*/ 1273446 h 5092591"/>
              <a:gd name="connsiteX1323" fmla="*/ 1449341 w 4546203"/>
              <a:gd name="connsiteY1323" fmla="*/ 1289364 h 5092591"/>
              <a:gd name="connsiteX1324" fmla="*/ 1469637 w 4546203"/>
              <a:gd name="connsiteY1324" fmla="*/ 1319211 h 5092591"/>
              <a:gd name="connsiteX1325" fmla="*/ 1493116 w 4546203"/>
              <a:gd name="connsiteY1325" fmla="*/ 1303691 h 5092591"/>
              <a:gd name="connsiteX1326" fmla="*/ 1473616 w 4546203"/>
              <a:gd name="connsiteY1326" fmla="*/ 1273446 h 5092591"/>
              <a:gd name="connsiteX1327" fmla="*/ 907579 w 4546203"/>
              <a:gd name="connsiteY1327" fmla="*/ 1265239 h 5092591"/>
              <a:gd name="connsiteX1328" fmla="*/ 843260 w 4546203"/>
              <a:gd name="connsiteY1328" fmla="*/ 1292548 h 5092591"/>
              <a:gd name="connsiteX1329" fmla="*/ 840077 w 4546203"/>
              <a:gd name="connsiteY1329" fmla="*/ 1294936 h 5092591"/>
              <a:gd name="connsiteX1330" fmla="*/ 835301 w 4546203"/>
              <a:gd name="connsiteY1330" fmla="*/ 1316425 h 5092591"/>
              <a:gd name="connsiteX1331" fmla="*/ 760884 w 4546203"/>
              <a:gd name="connsiteY1331" fmla="*/ 1409546 h 5092591"/>
              <a:gd name="connsiteX1332" fmla="*/ 758098 w 4546203"/>
              <a:gd name="connsiteY1332" fmla="*/ 1416311 h 5092591"/>
              <a:gd name="connsiteX1333" fmla="*/ 771629 w 4546203"/>
              <a:gd name="connsiteY1333" fmla="*/ 1424270 h 5092591"/>
              <a:gd name="connsiteX1334" fmla="*/ 863954 w 4546203"/>
              <a:gd name="connsiteY1334" fmla="*/ 1311252 h 5092591"/>
              <a:gd name="connsiteX1335" fmla="*/ 926034 w 4546203"/>
              <a:gd name="connsiteY1335" fmla="*/ 1365771 h 5092591"/>
              <a:gd name="connsiteX1336" fmla="*/ 840475 w 4546203"/>
              <a:gd name="connsiteY1336" fmla="*/ 1472024 h 5092591"/>
              <a:gd name="connsiteX1337" fmla="*/ 845250 w 4546203"/>
              <a:gd name="connsiteY1337" fmla="*/ 1479187 h 5092591"/>
              <a:gd name="connsiteX1338" fmla="*/ 861964 w 4546203"/>
              <a:gd name="connsiteY1338" fmla="*/ 1470830 h 5092591"/>
              <a:gd name="connsiteX1339" fmla="*/ 942748 w 4546203"/>
              <a:gd name="connsiteY1339" fmla="*/ 1371342 h 5092591"/>
              <a:gd name="connsiteX1340" fmla="*/ 1006420 w 4546203"/>
              <a:gd name="connsiteY1340" fmla="*/ 1427852 h 5092591"/>
              <a:gd name="connsiteX1341" fmla="*/ 927626 w 4546203"/>
              <a:gd name="connsiteY1341" fmla="*/ 1525350 h 5092591"/>
              <a:gd name="connsiteX1342" fmla="*/ 930014 w 4546203"/>
              <a:gd name="connsiteY1342" fmla="*/ 1543656 h 5092591"/>
              <a:gd name="connsiteX1343" fmla="*/ 1021543 w 4546203"/>
              <a:gd name="connsiteY1343" fmla="*/ 1433025 h 5092591"/>
              <a:gd name="connsiteX1344" fmla="*/ 1086409 w 4546203"/>
              <a:gd name="connsiteY1344" fmla="*/ 1491126 h 5092591"/>
              <a:gd name="connsiteX1345" fmla="*/ 1072879 w 4546203"/>
              <a:gd name="connsiteY1345" fmla="*/ 1507442 h 5092591"/>
              <a:gd name="connsiteX1346" fmla="*/ 1002839 w 4546203"/>
              <a:gd name="connsiteY1346" fmla="*/ 1594196 h 5092591"/>
              <a:gd name="connsiteX1347" fmla="*/ 997666 w 4546203"/>
              <a:gd name="connsiteY1347" fmla="*/ 1609318 h 5092591"/>
              <a:gd name="connsiteX1348" fmla="*/ 1003237 w 4546203"/>
              <a:gd name="connsiteY1348" fmla="*/ 1611308 h 5092591"/>
              <a:gd name="connsiteX1349" fmla="*/ 1099143 w 4546203"/>
              <a:gd name="connsiteY1349" fmla="*/ 1494708 h 5092591"/>
              <a:gd name="connsiteX1350" fmla="*/ 1165999 w 4546203"/>
              <a:gd name="connsiteY1350" fmla="*/ 1554798 h 5092591"/>
              <a:gd name="connsiteX1351" fmla="*/ 1129388 w 4546203"/>
              <a:gd name="connsiteY1351" fmla="*/ 1597777 h 5092591"/>
              <a:gd name="connsiteX1352" fmla="*/ 1097153 w 4546203"/>
              <a:gd name="connsiteY1352" fmla="*/ 1637970 h 5092591"/>
              <a:gd name="connsiteX1353" fmla="*/ 1075266 w 4546203"/>
              <a:gd name="connsiteY1353" fmla="*/ 1681347 h 5092591"/>
              <a:gd name="connsiteX1354" fmla="*/ 1178336 w 4546203"/>
              <a:gd name="connsiteY1354" fmla="*/ 1557982 h 5092591"/>
              <a:gd name="connsiteX1355" fmla="*/ 1240416 w 4546203"/>
              <a:gd name="connsiteY1355" fmla="*/ 1613695 h 5092591"/>
              <a:gd name="connsiteX1356" fmla="*/ 1263099 w 4546203"/>
              <a:gd name="connsiteY1356" fmla="*/ 1589022 h 5092591"/>
              <a:gd name="connsiteX1357" fmla="*/ 1245192 w 4546203"/>
              <a:gd name="connsiteY1357" fmla="*/ 1572706 h 5092591"/>
              <a:gd name="connsiteX1358" fmla="*/ 963840 w 4546203"/>
              <a:gd name="connsiteY1358" fmla="*/ 1305680 h 5092591"/>
              <a:gd name="connsiteX1359" fmla="*/ 907579 w 4546203"/>
              <a:gd name="connsiteY1359" fmla="*/ 1265239 h 5092591"/>
              <a:gd name="connsiteX1360" fmla="*/ 3207493 w 4546203"/>
              <a:gd name="connsiteY1360" fmla="*/ 1263100 h 5092591"/>
              <a:gd name="connsiteX1361" fmla="*/ 3178840 w 4546203"/>
              <a:gd name="connsiteY1361" fmla="*/ 1302497 h 5092591"/>
              <a:gd name="connsiteX1362" fmla="*/ 3211472 w 4546203"/>
              <a:gd name="connsiteY1362" fmla="*/ 1327170 h 5092591"/>
              <a:gd name="connsiteX1363" fmla="*/ 3241318 w 4546203"/>
              <a:gd name="connsiteY1363" fmla="*/ 1288568 h 5092591"/>
              <a:gd name="connsiteX1364" fmla="*/ 3207493 w 4546203"/>
              <a:gd name="connsiteY1364" fmla="*/ 1263100 h 5092591"/>
              <a:gd name="connsiteX1365" fmla="*/ 1414719 w 4546203"/>
              <a:gd name="connsiteY1365" fmla="*/ 1254345 h 5092591"/>
              <a:gd name="connsiteX1366" fmla="*/ 1389648 w 4546203"/>
              <a:gd name="connsiteY1366" fmla="*/ 1271457 h 5092591"/>
              <a:gd name="connsiteX1367" fmla="*/ 1411138 w 4546203"/>
              <a:gd name="connsiteY1367" fmla="*/ 1300905 h 5092591"/>
              <a:gd name="connsiteX1368" fmla="*/ 1434617 w 4546203"/>
              <a:gd name="connsiteY1368" fmla="*/ 1284589 h 5092591"/>
              <a:gd name="connsiteX1369" fmla="*/ 1414719 w 4546203"/>
              <a:gd name="connsiteY1369" fmla="*/ 1254345 h 5092591"/>
              <a:gd name="connsiteX1370" fmla="*/ 1269467 w 4546203"/>
              <a:gd name="connsiteY1370" fmla="*/ 1247977 h 5092591"/>
              <a:gd name="connsiteX1371" fmla="*/ 1267079 w 4546203"/>
              <a:gd name="connsiteY1371" fmla="*/ 1251957 h 5092591"/>
              <a:gd name="connsiteX1372" fmla="*/ 1302497 w 4546203"/>
              <a:gd name="connsiteY1372" fmla="*/ 1297323 h 5092591"/>
              <a:gd name="connsiteX1373" fmla="*/ 1331945 w 4546203"/>
              <a:gd name="connsiteY1373" fmla="*/ 1274640 h 5092591"/>
              <a:gd name="connsiteX1374" fmla="*/ 1269467 w 4546203"/>
              <a:gd name="connsiteY1374" fmla="*/ 1247977 h 5092591"/>
              <a:gd name="connsiteX1375" fmla="*/ 3300216 w 4546203"/>
              <a:gd name="connsiteY1375" fmla="*/ 1244794 h 5092591"/>
              <a:gd name="connsiteX1376" fmla="*/ 3269971 w 4546203"/>
              <a:gd name="connsiteY1376" fmla="*/ 1283395 h 5092591"/>
              <a:gd name="connsiteX1377" fmla="*/ 3303399 w 4546203"/>
              <a:gd name="connsiteY1377" fmla="*/ 1310456 h 5092591"/>
              <a:gd name="connsiteX1378" fmla="*/ 3334439 w 4546203"/>
              <a:gd name="connsiteY1378" fmla="*/ 1273446 h 5092591"/>
              <a:gd name="connsiteX1379" fmla="*/ 3300216 w 4546203"/>
              <a:gd name="connsiteY1379" fmla="*/ 1244794 h 5092591"/>
              <a:gd name="connsiteX1380" fmla="*/ 3396122 w 4546203"/>
              <a:gd name="connsiteY1380" fmla="*/ 1232457 h 5092591"/>
              <a:gd name="connsiteX1381" fmla="*/ 3364286 w 4546203"/>
              <a:gd name="connsiteY1381" fmla="*/ 1269467 h 5092591"/>
              <a:gd name="connsiteX1382" fmla="*/ 3398509 w 4546203"/>
              <a:gd name="connsiteY1382" fmla="*/ 1299313 h 5092591"/>
              <a:gd name="connsiteX1383" fmla="*/ 3431142 w 4546203"/>
              <a:gd name="connsiteY1383" fmla="*/ 1262702 h 5092591"/>
              <a:gd name="connsiteX1384" fmla="*/ 3396122 w 4546203"/>
              <a:gd name="connsiteY1384" fmla="*/ 1232457 h 5092591"/>
              <a:gd name="connsiteX1385" fmla="*/ 3494814 w 4546203"/>
              <a:gd name="connsiteY1385" fmla="*/ 1224100 h 5092591"/>
              <a:gd name="connsiteX1386" fmla="*/ 3460988 w 4546203"/>
              <a:gd name="connsiteY1386" fmla="*/ 1260712 h 5092591"/>
              <a:gd name="connsiteX1387" fmla="*/ 3493620 w 4546203"/>
              <a:gd name="connsiteY1387" fmla="*/ 1291354 h 5092591"/>
              <a:gd name="connsiteX1388" fmla="*/ 3528242 w 4546203"/>
              <a:gd name="connsiteY1388" fmla="*/ 1259916 h 5092591"/>
              <a:gd name="connsiteX1389" fmla="*/ 3494814 w 4546203"/>
              <a:gd name="connsiteY1389" fmla="*/ 1224100 h 5092591"/>
              <a:gd name="connsiteX1390" fmla="*/ 1707612 w 4546203"/>
              <a:gd name="connsiteY1390" fmla="*/ 1223304 h 5092591"/>
              <a:gd name="connsiteX1391" fmla="*/ 1674582 w 4546203"/>
              <a:gd name="connsiteY1391" fmla="*/ 1238427 h 5092591"/>
              <a:gd name="connsiteX1392" fmla="*/ 1690500 w 4546203"/>
              <a:gd name="connsiteY1392" fmla="*/ 1273048 h 5092591"/>
              <a:gd name="connsiteX1393" fmla="*/ 1722734 w 4546203"/>
              <a:gd name="connsiteY1393" fmla="*/ 1258722 h 5092591"/>
              <a:gd name="connsiteX1394" fmla="*/ 1707612 w 4546203"/>
              <a:gd name="connsiteY1394" fmla="*/ 1223304 h 5092591"/>
              <a:gd name="connsiteX1395" fmla="*/ 1747009 w 4546203"/>
              <a:gd name="connsiteY1395" fmla="*/ 1207386 h 5092591"/>
              <a:gd name="connsiteX1396" fmla="*/ 1713979 w 4546203"/>
              <a:gd name="connsiteY1396" fmla="*/ 1221315 h 5092591"/>
              <a:gd name="connsiteX1397" fmla="*/ 1728703 w 4546203"/>
              <a:gd name="connsiteY1397" fmla="*/ 1257130 h 5092591"/>
              <a:gd name="connsiteX1398" fmla="*/ 1761335 w 4546203"/>
              <a:gd name="connsiteY1398" fmla="*/ 1243202 h 5092591"/>
              <a:gd name="connsiteX1399" fmla="*/ 1747009 w 4546203"/>
              <a:gd name="connsiteY1399" fmla="*/ 1207386 h 5092591"/>
              <a:gd name="connsiteX1400" fmla="*/ 3249278 w 4546203"/>
              <a:gd name="connsiteY1400" fmla="*/ 1206590 h 5092591"/>
              <a:gd name="connsiteX1401" fmla="*/ 3220625 w 4546203"/>
              <a:gd name="connsiteY1401" fmla="*/ 1245590 h 5092591"/>
              <a:gd name="connsiteX1402" fmla="*/ 3254849 w 4546203"/>
              <a:gd name="connsiteY1402" fmla="*/ 1271457 h 5092591"/>
              <a:gd name="connsiteX1403" fmla="*/ 3285093 w 4546203"/>
              <a:gd name="connsiteY1403" fmla="*/ 1233253 h 5092591"/>
              <a:gd name="connsiteX1404" fmla="*/ 3249278 w 4546203"/>
              <a:gd name="connsiteY1404" fmla="*/ 1206590 h 5092591"/>
              <a:gd name="connsiteX1405" fmla="*/ 1507840 w 4546203"/>
              <a:gd name="connsiteY1405" fmla="*/ 1197438 h 5092591"/>
              <a:gd name="connsiteX1406" fmla="*/ 1481973 w 4546203"/>
              <a:gd name="connsiteY1406" fmla="*/ 1212162 h 5092591"/>
              <a:gd name="connsiteX1407" fmla="*/ 1500677 w 4546203"/>
              <a:gd name="connsiteY1407" fmla="*/ 1243600 h 5092591"/>
              <a:gd name="connsiteX1408" fmla="*/ 1525748 w 4546203"/>
              <a:gd name="connsiteY1408" fmla="*/ 1228478 h 5092591"/>
              <a:gd name="connsiteX1409" fmla="*/ 1507840 w 4546203"/>
              <a:gd name="connsiteY1409" fmla="*/ 1197438 h 5092591"/>
              <a:gd name="connsiteX1410" fmla="*/ 1423872 w 4546203"/>
              <a:gd name="connsiteY1410" fmla="*/ 1194254 h 5092591"/>
              <a:gd name="connsiteX1411" fmla="*/ 1398005 w 4546203"/>
              <a:gd name="connsiteY1411" fmla="*/ 1210570 h 5092591"/>
              <a:gd name="connsiteX1412" fmla="*/ 1418699 w 4546203"/>
              <a:gd name="connsiteY1412" fmla="*/ 1240814 h 5092591"/>
              <a:gd name="connsiteX1413" fmla="*/ 1443770 w 4546203"/>
              <a:gd name="connsiteY1413" fmla="*/ 1224100 h 5092591"/>
              <a:gd name="connsiteX1414" fmla="*/ 1423872 w 4546203"/>
              <a:gd name="connsiteY1414" fmla="*/ 1194254 h 5092591"/>
              <a:gd name="connsiteX1415" fmla="*/ 1786804 w 4546203"/>
              <a:gd name="connsiteY1415" fmla="*/ 1192264 h 5092591"/>
              <a:gd name="connsiteX1416" fmla="*/ 1753376 w 4546203"/>
              <a:gd name="connsiteY1416" fmla="*/ 1205795 h 5092591"/>
              <a:gd name="connsiteX1417" fmla="*/ 1767305 w 4546203"/>
              <a:gd name="connsiteY1417" fmla="*/ 1241212 h 5092591"/>
              <a:gd name="connsiteX1418" fmla="*/ 1799937 w 4546203"/>
              <a:gd name="connsiteY1418" fmla="*/ 1228478 h 5092591"/>
              <a:gd name="connsiteX1419" fmla="*/ 1786804 w 4546203"/>
              <a:gd name="connsiteY1419" fmla="*/ 1192264 h 5092591"/>
              <a:gd name="connsiteX1420" fmla="*/ 1619664 w 4546203"/>
              <a:gd name="connsiteY1420" fmla="*/ 1191070 h 5092591"/>
              <a:gd name="connsiteX1421" fmla="*/ 1568727 w 4546203"/>
              <a:gd name="connsiteY1421" fmla="*/ 1217335 h 5092591"/>
              <a:gd name="connsiteX1422" fmla="*/ 1620858 w 4546203"/>
              <a:gd name="connsiteY1422" fmla="*/ 1316027 h 5092591"/>
              <a:gd name="connsiteX1423" fmla="*/ 1667817 w 4546203"/>
              <a:gd name="connsiteY1423" fmla="*/ 1290956 h 5092591"/>
              <a:gd name="connsiteX1424" fmla="*/ 1619664 w 4546203"/>
              <a:gd name="connsiteY1424" fmla="*/ 1191070 h 5092591"/>
              <a:gd name="connsiteX1425" fmla="*/ 3344388 w 4546203"/>
              <a:gd name="connsiteY1425" fmla="*/ 1189478 h 5092591"/>
              <a:gd name="connsiteX1426" fmla="*/ 3314144 w 4546203"/>
              <a:gd name="connsiteY1426" fmla="*/ 1227682 h 5092591"/>
              <a:gd name="connsiteX1427" fmla="*/ 3349164 w 4546203"/>
              <a:gd name="connsiteY1427" fmla="*/ 1255936 h 5092591"/>
              <a:gd name="connsiteX1428" fmla="*/ 3380602 w 4546203"/>
              <a:gd name="connsiteY1428" fmla="*/ 1218529 h 5092591"/>
              <a:gd name="connsiteX1429" fmla="*/ 3344388 w 4546203"/>
              <a:gd name="connsiteY1429" fmla="*/ 1189478 h 5092591"/>
              <a:gd name="connsiteX1430" fmla="*/ 2835010 w 4546203"/>
              <a:gd name="connsiteY1430" fmla="*/ 1183509 h 5092591"/>
              <a:gd name="connsiteX1431" fmla="*/ 2817500 w 4546203"/>
              <a:gd name="connsiteY1431" fmla="*/ 1225692 h 5092591"/>
              <a:gd name="connsiteX1432" fmla="*/ 2877591 w 4546203"/>
              <a:gd name="connsiteY1432" fmla="*/ 1251957 h 5092591"/>
              <a:gd name="connsiteX1433" fmla="*/ 2896692 w 4546203"/>
              <a:gd name="connsiteY1433" fmla="*/ 1211366 h 5092591"/>
              <a:gd name="connsiteX1434" fmla="*/ 2835010 w 4546203"/>
              <a:gd name="connsiteY1434" fmla="*/ 1183509 h 5092591"/>
              <a:gd name="connsiteX1435" fmla="*/ 1826997 w 4546203"/>
              <a:gd name="connsiteY1435" fmla="*/ 1179132 h 5092591"/>
              <a:gd name="connsiteX1436" fmla="*/ 1792774 w 4546203"/>
              <a:gd name="connsiteY1436" fmla="*/ 1191070 h 5092591"/>
              <a:gd name="connsiteX1437" fmla="*/ 1806304 w 4546203"/>
              <a:gd name="connsiteY1437" fmla="*/ 1226886 h 5092591"/>
              <a:gd name="connsiteX1438" fmla="*/ 1838936 w 4546203"/>
              <a:gd name="connsiteY1438" fmla="*/ 1215345 h 5092591"/>
              <a:gd name="connsiteX1439" fmla="*/ 1826997 w 4546203"/>
              <a:gd name="connsiteY1439" fmla="*/ 1179132 h 5092591"/>
              <a:gd name="connsiteX1440" fmla="*/ 3442284 w 4546203"/>
              <a:gd name="connsiteY1440" fmla="*/ 1178336 h 5092591"/>
              <a:gd name="connsiteX1441" fmla="*/ 3410448 w 4546203"/>
              <a:gd name="connsiteY1441" fmla="*/ 1215345 h 5092591"/>
              <a:gd name="connsiteX1442" fmla="*/ 3445468 w 4546203"/>
              <a:gd name="connsiteY1442" fmla="*/ 1246386 h 5092591"/>
              <a:gd name="connsiteX1443" fmla="*/ 3478100 w 4546203"/>
              <a:gd name="connsiteY1443" fmla="*/ 1210570 h 5092591"/>
              <a:gd name="connsiteX1444" fmla="*/ 3442284 w 4546203"/>
              <a:gd name="connsiteY1444" fmla="*/ 1178336 h 5092591"/>
              <a:gd name="connsiteX1445" fmla="*/ 1362587 w 4546203"/>
              <a:gd name="connsiteY1445" fmla="*/ 1176346 h 5092591"/>
              <a:gd name="connsiteX1446" fmla="*/ 1336721 w 4546203"/>
              <a:gd name="connsiteY1446" fmla="*/ 1194652 h 5092591"/>
              <a:gd name="connsiteX1447" fmla="*/ 1357414 w 4546203"/>
              <a:gd name="connsiteY1447" fmla="*/ 1224100 h 5092591"/>
              <a:gd name="connsiteX1448" fmla="*/ 1382883 w 4546203"/>
              <a:gd name="connsiteY1448" fmla="*/ 1206590 h 5092591"/>
              <a:gd name="connsiteX1449" fmla="*/ 1362587 w 4546203"/>
              <a:gd name="connsiteY1449" fmla="*/ 1176346 h 5092591"/>
              <a:gd name="connsiteX1450" fmla="*/ 3542568 w 4546203"/>
              <a:gd name="connsiteY1450" fmla="*/ 1173162 h 5092591"/>
              <a:gd name="connsiteX1451" fmla="*/ 3509538 w 4546203"/>
              <a:gd name="connsiteY1451" fmla="*/ 1208978 h 5092591"/>
              <a:gd name="connsiteX1452" fmla="*/ 3541772 w 4546203"/>
              <a:gd name="connsiteY1452" fmla="*/ 1239222 h 5092591"/>
              <a:gd name="connsiteX1453" fmla="*/ 3579976 w 4546203"/>
              <a:gd name="connsiteY1453" fmla="*/ 1208182 h 5092591"/>
              <a:gd name="connsiteX1454" fmla="*/ 3542568 w 4546203"/>
              <a:gd name="connsiteY1454" fmla="*/ 1173162 h 5092591"/>
              <a:gd name="connsiteX1455" fmla="*/ 1685724 w 4546203"/>
              <a:gd name="connsiteY1455" fmla="*/ 1172366 h 5092591"/>
              <a:gd name="connsiteX1456" fmla="*/ 1651501 w 4546203"/>
              <a:gd name="connsiteY1456" fmla="*/ 1187887 h 5092591"/>
              <a:gd name="connsiteX1457" fmla="*/ 1667021 w 4546203"/>
              <a:gd name="connsiteY1457" fmla="*/ 1221315 h 5092591"/>
              <a:gd name="connsiteX1458" fmla="*/ 1700449 w 4546203"/>
              <a:gd name="connsiteY1458" fmla="*/ 1206590 h 5092591"/>
              <a:gd name="connsiteX1459" fmla="*/ 1685724 w 4546203"/>
              <a:gd name="connsiteY1459" fmla="*/ 1172366 h 5092591"/>
              <a:gd name="connsiteX1460" fmla="*/ 1867190 w 4546203"/>
              <a:gd name="connsiteY1460" fmla="*/ 1166795 h 5092591"/>
              <a:gd name="connsiteX1461" fmla="*/ 1832569 w 4546203"/>
              <a:gd name="connsiteY1461" fmla="*/ 1176744 h 5092591"/>
              <a:gd name="connsiteX1462" fmla="*/ 1845701 w 4546203"/>
              <a:gd name="connsiteY1462" fmla="*/ 1213356 h 5092591"/>
              <a:gd name="connsiteX1463" fmla="*/ 1878333 w 4546203"/>
              <a:gd name="connsiteY1463" fmla="*/ 1202611 h 5092591"/>
              <a:gd name="connsiteX1464" fmla="*/ 1867190 w 4546203"/>
              <a:gd name="connsiteY1464" fmla="*/ 1166795 h 5092591"/>
              <a:gd name="connsiteX1465" fmla="*/ 1109888 w 4546203"/>
              <a:gd name="connsiteY1465" fmla="*/ 1158438 h 5092591"/>
              <a:gd name="connsiteX1466" fmla="*/ 1095164 w 4546203"/>
              <a:gd name="connsiteY1466" fmla="*/ 1169979 h 5092591"/>
              <a:gd name="connsiteX1467" fmla="*/ 1076062 w 4546203"/>
              <a:gd name="connsiteY1467" fmla="*/ 1186693 h 5092591"/>
              <a:gd name="connsiteX1468" fmla="*/ 1130582 w 4546203"/>
              <a:gd name="connsiteY1468" fmla="*/ 1183111 h 5092591"/>
              <a:gd name="connsiteX1469" fmla="*/ 1109888 w 4546203"/>
              <a:gd name="connsiteY1469" fmla="*/ 1158438 h 5092591"/>
              <a:gd name="connsiteX1470" fmla="*/ 1726713 w 4546203"/>
              <a:gd name="connsiteY1470" fmla="*/ 1155653 h 5092591"/>
              <a:gd name="connsiteX1471" fmla="*/ 1692092 w 4546203"/>
              <a:gd name="connsiteY1471" fmla="*/ 1170377 h 5092591"/>
              <a:gd name="connsiteX1472" fmla="*/ 1706816 w 4546203"/>
              <a:gd name="connsiteY1472" fmla="*/ 1204203 h 5092591"/>
              <a:gd name="connsiteX1473" fmla="*/ 1740642 w 4546203"/>
              <a:gd name="connsiteY1473" fmla="*/ 1190274 h 5092591"/>
              <a:gd name="connsiteX1474" fmla="*/ 1726713 w 4546203"/>
              <a:gd name="connsiteY1474" fmla="*/ 1155653 h 5092591"/>
              <a:gd name="connsiteX1475" fmla="*/ 2743481 w 4546203"/>
              <a:gd name="connsiteY1475" fmla="*/ 1149683 h 5092591"/>
              <a:gd name="connsiteX1476" fmla="*/ 2729552 w 4546203"/>
              <a:gd name="connsiteY1476" fmla="*/ 1192662 h 5092591"/>
              <a:gd name="connsiteX1477" fmla="*/ 2790837 w 4546203"/>
              <a:gd name="connsiteY1477" fmla="*/ 1214947 h 5092591"/>
              <a:gd name="connsiteX1478" fmla="*/ 2807153 w 4546203"/>
              <a:gd name="connsiteY1478" fmla="*/ 1172764 h 5092591"/>
              <a:gd name="connsiteX1479" fmla="*/ 2743481 w 4546203"/>
              <a:gd name="connsiteY1479" fmla="*/ 1149683 h 5092591"/>
              <a:gd name="connsiteX1480" fmla="*/ 3291062 w 4546203"/>
              <a:gd name="connsiteY1480" fmla="*/ 1149285 h 5092591"/>
              <a:gd name="connsiteX1481" fmla="*/ 3262410 w 4546203"/>
              <a:gd name="connsiteY1481" fmla="*/ 1188285 h 5092591"/>
              <a:gd name="connsiteX1482" fmla="*/ 3298624 w 4546203"/>
              <a:gd name="connsiteY1482" fmla="*/ 1215345 h 5092591"/>
              <a:gd name="connsiteX1483" fmla="*/ 3328072 w 4546203"/>
              <a:gd name="connsiteY1483" fmla="*/ 1176346 h 5092591"/>
              <a:gd name="connsiteX1484" fmla="*/ 3291062 w 4546203"/>
              <a:gd name="connsiteY1484" fmla="*/ 1149285 h 5092591"/>
              <a:gd name="connsiteX1485" fmla="*/ 1767305 w 4546203"/>
              <a:gd name="connsiteY1485" fmla="*/ 1139734 h 5092591"/>
              <a:gd name="connsiteX1486" fmla="*/ 1733081 w 4546203"/>
              <a:gd name="connsiteY1486" fmla="*/ 1154061 h 5092591"/>
              <a:gd name="connsiteX1487" fmla="*/ 1746611 w 4546203"/>
              <a:gd name="connsiteY1487" fmla="*/ 1187489 h 5092591"/>
              <a:gd name="connsiteX1488" fmla="*/ 1780835 w 4546203"/>
              <a:gd name="connsiteY1488" fmla="*/ 1174754 h 5092591"/>
              <a:gd name="connsiteX1489" fmla="*/ 1767305 w 4546203"/>
              <a:gd name="connsiteY1489" fmla="*/ 1139734 h 5092591"/>
              <a:gd name="connsiteX1490" fmla="*/ 3388561 w 4546203"/>
              <a:gd name="connsiteY1490" fmla="*/ 1133765 h 5092591"/>
              <a:gd name="connsiteX1491" fmla="*/ 3358316 w 4546203"/>
              <a:gd name="connsiteY1491" fmla="*/ 1171969 h 5092591"/>
              <a:gd name="connsiteX1492" fmla="*/ 3394530 w 4546203"/>
              <a:gd name="connsiteY1492" fmla="*/ 1201815 h 5092591"/>
              <a:gd name="connsiteX1493" fmla="*/ 3425968 w 4546203"/>
              <a:gd name="connsiteY1493" fmla="*/ 1164407 h 5092591"/>
              <a:gd name="connsiteX1494" fmla="*/ 3388561 w 4546203"/>
              <a:gd name="connsiteY1494" fmla="*/ 1133765 h 5092591"/>
              <a:gd name="connsiteX1495" fmla="*/ 1809487 w 4546203"/>
              <a:gd name="connsiteY1495" fmla="*/ 1126204 h 5092591"/>
              <a:gd name="connsiteX1496" fmla="*/ 1774070 w 4546203"/>
              <a:gd name="connsiteY1496" fmla="*/ 1138541 h 5092591"/>
              <a:gd name="connsiteX1497" fmla="*/ 1787600 w 4546203"/>
              <a:gd name="connsiteY1497" fmla="*/ 1173162 h 5092591"/>
              <a:gd name="connsiteX1498" fmla="*/ 1821028 w 4546203"/>
              <a:gd name="connsiteY1498" fmla="*/ 1161224 h 5092591"/>
              <a:gd name="connsiteX1499" fmla="*/ 1809487 w 4546203"/>
              <a:gd name="connsiteY1499" fmla="*/ 1126204 h 5092591"/>
              <a:gd name="connsiteX1500" fmla="*/ 1492320 w 4546203"/>
              <a:gd name="connsiteY1500" fmla="*/ 1125806 h 5092591"/>
              <a:gd name="connsiteX1501" fmla="*/ 1465657 w 4546203"/>
              <a:gd name="connsiteY1501" fmla="*/ 1141724 h 5092591"/>
              <a:gd name="connsiteX1502" fmla="*/ 1483963 w 4546203"/>
              <a:gd name="connsiteY1502" fmla="*/ 1172366 h 5092591"/>
              <a:gd name="connsiteX1503" fmla="*/ 1510626 w 4546203"/>
              <a:gd name="connsiteY1503" fmla="*/ 1157642 h 5092591"/>
              <a:gd name="connsiteX1504" fmla="*/ 1492320 w 4546203"/>
              <a:gd name="connsiteY1504" fmla="*/ 1125806 h 5092591"/>
              <a:gd name="connsiteX1505" fmla="*/ 3488049 w 4546203"/>
              <a:gd name="connsiteY1505" fmla="*/ 1124612 h 5092591"/>
              <a:gd name="connsiteX1506" fmla="*/ 3456611 w 4546203"/>
              <a:gd name="connsiteY1506" fmla="*/ 1161622 h 5092591"/>
              <a:gd name="connsiteX1507" fmla="*/ 3493620 w 4546203"/>
              <a:gd name="connsiteY1507" fmla="*/ 1193856 h 5092591"/>
              <a:gd name="connsiteX1508" fmla="*/ 3525854 w 4546203"/>
              <a:gd name="connsiteY1508" fmla="*/ 1156846 h 5092591"/>
              <a:gd name="connsiteX1509" fmla="*/ 3488049 w 4546203"/>
              <a:gd name="connsiteY1509" fmla="*/ 1124612 h 5092591"/>
              <a:gd name="connsiteX1510" fmla="*/ 1252355 w 4546203"/>
              <a:gd name="connsiteY1510" fmla="*/ 1122622 h 5092591"/>
              <a:gd name="connsiteX1511" fmla="*/ 1197437 w 4546203"/>
              <a:gd name="connsiteY1511" fmla="*/ 1162816 h 5092591"/>
              <a:gd name="connsiteX1512" fmla="*/ 1245988 w 4546203"/>
              <a:gd name="connsiteY1512" fmla="*/ 1219723 h 5092591"/>
              <a:gd name="connsiteX1513" fmla="*/ 1347465 w 4546203"/>
              <a:gd name="connsiteY1513" fmla="*/ 1261906 h 5092591"/>
              <a:gd name="connsiteX1514" fmla="*/ 1350649 w 4546203"/>
              <a:gd name="connsiteY1514" fmla="*/ 1259916 h 5092591"/>
              <a:gd name="connsiteX1515" fmla="*/ 1252355 w 4546203"/>
              <a:gd name="connsiteY1515" fmla="*/ 1122622 h 5092591"/>
              <a:gd name="connsiteX1516" fmla="*/ 2649962 w 4546203"/>
              <a:gd name="connsiteY1516" fmla="*/ 1121429 h 5092591"/>
              <a:gd name="connsiteX1517" fmla="*/ 2638819 w 4546203"/>
              <a:gd name="connsiteY1517" fmla="*/ 1165203 h 5092591"/>
              <a:gd name="connsiteX1518" fmla="*/ 2701298 w 4546203"/>
              <a:gd name="connsiteY1518" fmla="*/ 1182713 h 5092591"/>
              <a:gd name="connsiteX1519" fmla="*/ 2714828 w 4546203"/>
              <a:gd name="connsiteY1519" fmla="*/ 1140132 h 5092591"/>
              <a:gd name="connsiteX1520" fmla="*/ 2649962 w 4546203"/>
              <a:gd name="connsiteY1520" fmla="*/ 1121429 h 5092591"/>
              <a:gd name="connsiteX1521" fmla="*/ 3591118 w 4546203"/>
              <a:gd name="connsiteY1521" fmla="*/ 1119837 h 5092591"/>
              <a:gd name="connsiteX1522" fmla="*/ 3557292 w 4546203"/>
              <a:gd name="connsiteY1522" fmla="*/ 1156448 h 5092591"/>
              <a:gd name="connsiteX1523" fmla="*/ 3591118 w 4546203"/>
              <a:gd name="connsiteY1523" fmla="*/ 1187887 h 5092591"/>
              <a:gd name="connsiteX1524" fmla="*/ 3624944 w 4546203"/>
              <a:gd name="connsiteY1524" fmla="*/ 1158040 h 5092591"/>
              <a:gd name="connsiteX1525" fmla="*/ 3591118 w 4546203"/>
              <a:gd name="connsiteY1525" fmla="*/ 1119837 h 5092591"/>
              <a:gd name="connsiteX1526" fmla="*/ 1375322 w 4546203"/>
              <a:gd name="connsiteY1526" fmla="*/ 1116653 h 5092591"/>
              <a:gd name="connsiteX1527" fmla="*/ 1348261 w 4546203"/>
              <a:gd name="connsiteY1527" fmla="*/ 1134561 h 5092591"/>
              <a:gd name="connsiteX1528" fmla="*/ 1368159 w 4546203"/>
              <a:gd name="connsiteY1528" fmla="*/ 1164407 h 5092591"/>
              <a:gd name="connsiteX1529" fmla="*/ 1394822 w 4546203"/>
              <a:gd name="connsiteY1529" fmla="*/ 1147296 h 5092591"/>
              <a:gd name="connsiteX1530" fmla="*/ 1375322 w 4546203"/>
              <a:gd name="connsiteY1530" fmla="*/ 1116653 h 5092591"/>
              <a:gd name="connsiteX1531" fmla="*/ 1851272 w 4546203"/>
              <a:gd name="connsiteY1531" fmla="*/ 1113072 h 5092591"/>
              <a:gd name="connsiteX1532" fmla="*/ 1815855 w 4546203"/>
              <a:gd name="connsiteY1532" fmla="*/ 1124612 h 5092591"/>
              <a:gd name="connsiteX1533" fmla="*/ 1827395 w 4546203"/>
              <a:gd name="connsiteY1533" fmla="*/ 1159234 h 5092591"/>
              <a:gd name="connsiteX1534" fmla="*/ 1862017 w 4546203"/>
              <a:gd name="connsiteY1534" fmla="*/ 1148489 h 5092591"/>
              <a:gd name="connsiteX1535" fmla="*/ 1851272 w 4546203"/>
              <a:gd name="connsiteY1535" fmla="*/ 1113072 h 5092591"/>
              <a:gd name="connsiteX1536" fmla="*/ 1071287 w 4546203"/>
              <a:gd name="connsiteY1536" fmla="*/ 1112276 h 5092591"/>
              <a:gd name="connsiteX1537" fmla="*/ 1035471 w 4546203"/>
              <a:gd name="connsiteY1537" fmla="*/ 1143714 h 5092591"/>
              <a:gd name="connsiteX1538" fmla="*/ 1059348 w 4546203"/>
              <a:gd name="connsiteY1538" fmla="*/ 1170377 h 5092591"/>
              <a:gd name="connsiteX1539" fmla="*/ 1094368 w 4546203"/>
              <a:gd name="connsiteY1539" fmla="*/ 1140132 h 5092591"/>
              <a:gd name="connsiteX1540" fmla="*/ 1071287 w 4546203"/>
              <a:gd name="connsiteY1540" fmla="*/ 1112276 h 5092591"/>
              <a:gd name="connsiteX1541" fmla="*/ 1312445 w 4546203"/>
              <a:gd name="connsiteY1541" fmla="*/ 1100337 h 5092591"/>
              <a:gd name="connsiteX1542" fmla="*/ 1284987 w 4546203"/>
              <a:gd name="connsiteY1542" fmla="*/ 1119439 h 5092591"/>
              <a:gd name="connsiteX1543" fmla="*/ 1305680 w 4546203"/>
              <a:gd name="connsiteY1543" fmla="*/ 1148887 h 5092591"/>
              <a:gd name="connsiteX1544" fmla="*/ 1332741 w 4546203"/>
              <a:gd name="connsiteY1544" fmla="*/ 1130184 h 5092591"/>
              <a:gd name="connsiteX1545" fmla="*/ 1312445 w 4546203"/>
              <a:gd name="connsiteY1545" fmla="*/ 1100337 h 5092591"/>
              <a:gd name="connsiteX1546" fmla="*/ 3332847 w 4546203"/>
              <a:gd name="connsiteY1546" fmla="*/ 1091582 h 5092591"/>
              <a:gd name="connsiteX1547" fmla="*/ 3304195 w 4546203"/>
              <a:gd name="connsiteY1547" fmla="*/ 1131377 h 5092591"/>
              <a:gd name="connsiteX1548" fmla="*/ 3341602 w 4546203"/>
              <a:gd name="connsiteY1548" fmla="*/ 1159234 h 5092591"/>
              <a:gd name="connsiteX1549" fmla="*/ 3371449 w 4546203"/>
              <a:gd name="connsiteY1549" fmla="*/ 1120633 h 5092591"/>
              <a:gd name="connsiteX1550" fmla="*/ 3332847 w 4546203"/>
              <a:gd name="connsiteY1550" fmla="*/ 1091582 h 5092591"/>
              <a:gd name="connsiteX1551" fmla="*/ 1440188 w 4546203"/>
              <a:gd name="connsiteY1551" fmla="*/ 1078450 h 5092591"/>
              <a:gd name="connsiteX1552" fmla="*/ 1412331 w 4546203"/>
              <a:gd name="connsiteY1552" fmla="*/ 1094766 h 5092591"/>
              <a:gd name="connsiteX1553" fmla="*/ 1431433 w 4546203"/>
              <a:gd name="connsiteY1553" fmla="*/ 1125806 h 5092591"/>
              <a:gd name="connsiteX1554" fmla="*/ 1458494 w 4546203"/>
              <a:gd name="connsiteY1554" fmla="*/ 1109490 h 5092591"/>
              <a:gd name="connsiteX1555" fmla="*/ 1440188 w 4546203"/>
              <a:gd name="connsiteY1555" fmla="*/ 1078450 h 5092591"/>
              <a:gd name="connsiteX1556" fmla="*/ 3432335 w 4546203"/>
              <a:gd name="connsiteY1556" fmla="*/ 1078052 h 5092591"/>
              <a:gd name="connsiteX1557" fmla="*/ 3402489 w 4546203"/>
              <a:gd name="connsiteY1557" fmla="*/ 1116653 h 5092591"/>
              <a:gd name="connsiteX1558" fmla="*/ 3440294 w 4546203"/>
              <a:gd name="connsiteY1558" fmla="*/ 1147296 h 5092591"/>
              <a:gd name="connsiteX1559" fmla="*/ 3471335 w 4546203"/>
              <a:gd name="connsiteY1559" fmla="*/ 1109490 h 5092591"/>
              <a:gd name="connsiteX1560" fmla="*/ 3432335 w 4546203"/>
              <a:gd name="connsiteY1560" fmla="*/ 1078052 h 5092591"/>
              <a:gd name="connsiteX1561" fmla="*/ 1645929 w 4546203"/>
              <a:gd name="connsiteY1561" fmla="*/ 1078052 h 5092591"/>
              <a:gd name="connsiteX1562" fmla="*/ 1608920 w 4546203"/>
              <a:gd name="connsiteY1562" fmla="*/ 1094766 h 5092591"/>
              <a:gd name="connsiteX1563" fmla="*/ 1648317 w 4546203"/>
              <a:gd name="connsiteY1563" fmla="*/ 1180326 h 5092591"/>
              <a:gd name="connsiteX1564" fmla="*/ 1682939 w 4546203"/>
              <a:gd name="connsiteY1564" fmla="*/ 1164407 h 5092591"/>
              <a:gd name="connsiteX1565" fmla="*/ 1645929 w 4546203"/>
              <a:gd name="connsiteY1565" fmla="*/ 1078052 h 5092591"/>
              <a:gd name="connsiteX1566" fmla="*/ 3534609 w 4546203"/>
              <a:gd name="connsiteY1566" fmla="*/ 1071287 h 5092591"/>
              <a:gd name="connsiteX1567" fmla="*/ 3503171 w 4546203"/>
              <a:gd name="connsiteY1567" fmla="*/ 1107898 h 5092591"/>
              <a:gd name="connsiteX1568" fmla="*/ 3540976 w 4546203"/>
              <a:gd name="connsiteY1568" fmla="*/ 1142122 h 5092591"/>
              <a:gd name="connsiteX1569" fmla="*/ 3573608 w 4546203"/>
              <a:gd name="connsiteY1569" fmla="*/ 1105113 h 5092591"/>
              <a:gd name="connsiteX1570" fmla="*/ 3534609 w 4546203"/>
              <a:gd name="connsiteY1570" fmla="*/ 1071287 h 5092591"/>
              <a:gd name="connsiteX1571" fmla="*/ 3639270 w 4546203"/>
              <a:gd name="connsiteY1571" fmla="*/ 1068899 h 5092591"/>
              <a:gd name="connsiteX1572" fmla="*/ 3605843 w 4546203"/>
              <a:gd name="connsiteY1572" fmla="*/ 1104715 h 5092591"/>
              <a:gd name="connsiteX1573" fmla="*/ 3642056 w 4546203"/>
              <a:gd name="connsiteY1573" fmla="*/ 1138541 h 5092591"/>
              <a:gd name="connsiteX1574" fmla="*/ 3677474 w 4546203"/>
              <a:gd name="connsiteY1574" fmla="*/ 1105113 h 5092591"/>
              <a:gd name="connsiteX1575" fmla="*/ 3639270 w 4546203"/>
              <a:gd name="connsiteY1575" fmla="*/ 1068899 h 5092591"/>
              <a:gd name="connsiteX1576" fmla="*/ 1561961 w 4546203"/>
              <a:gd name="connsiteY1576" fmla="*/ 1068103 h 5092591"/>
              <a:gd name="connsiteX1577" fmla="*/ 1505054 w 4546203"/>
              <a:gd name="connsiteY1577" fmla="*/ 1097154 h 5092591"/>
              <a:gd name="connsiteX1578" fmla="*/ 1555594 w 4546203"/>
              <a:gd name="connsiteY1578" fmla="*/ 1192662 h 5092591"/>
              <a:gd name="connsiteX1579" fmla="*/ 1608920 w 4546203"/>
              <a:gd name="connsiteY1579" fmla="*/ 1165601 h 5092591"/>
              <a:gd name="connsiteX1580" fmla="*/ 1561961 w 4546203"/>
              <a:gd name="connsiteY1580" fmla="*/ 1068103 h 5092591"/>
              <a:gd name="connsiteX1581" fmla="*/ 2885151 w 4546203"/>
              <a:gd name="connsiteY1581" fmla="*/ 1063328 h 5092591"/>
              <a:gd name="connsiteX1582" fmla="*/ 2868040 w 4546203"/>
              <a:gd name="connsiteY1582" fmla="*/ 1104715 h 5092591"/>
              <a:gd name="connsiteX1583" fmla="*/ 2932906 w 4546203"/>
              <a:gd name="connsiteY1583" fmla="*/ 1133765 h 5092591"/>
              <a:gd name="connsiteX1584" fmla="*/ 2952803 w 4546203"/>
              <a:gd name="connsiteY1584" fmla="*/ 1092776 h 5092591"/>
              <a:gd name="connsiteX1585" fmla="*/ 2885151 w 4546203"/>
              <a:gd name="connsiteY1585" fmla="*/ 1063328 h 5092591"/>
              <a:gd name="connsiteX1586" fmla="*/ 1689704 w 4546203"/>
              <a:gd name="connsiteY1586" fmla="*/ 1060144 h 5092591"/>
              <a:gd name="connsiteX1587" fmla="*/ 1652296 w 4546203"/>
              <a:gd name="connsiteY1587" fmla="*/ 1075664 h 5092591"/>
              <a:gd name="connsiteX1588" fmla="*/ 1689306 w 4546203"/>
              <a:gd name="connsiteY1588" fmla="*/ 1162418 h 5092591"/>
              <a:gd name="connsiteX1589" fmla="*/ 1723928 w 4546203"/>
              <a:gd name="connsiteY1589" fmla="*/ 1147694 h 5092591"/>
              <a:gd name="connsiteX1590" fmla="*/ 1689704 w 4546203"/>
              <a:gd name="connsiteY1590" fmla="*/ 1060144 h 5092591"/>
              <a:gd name="connsiteX1591" fmla="*/ 2666278 w 4546203"/>
              <a:gd name="connsiteY1591" fmla="*/ 1058552 h 5092591"/>
              <a:gd name="connsiteX1592" fmla="*/ 2655135 w 4546203"/>
              <a:gd name="connsiteY1592" fmla="*/ 1101929 h 5092591"/>
              <a:gd name="connsiteX1593" fmla="*/ 2720797 w 4546203"/>
              <a:gd name="connsiteY1593" fmla="*/ 1120633 h 5092591"/>
              <a:gd name="connsiteX1594" fmla="*/ 2734328 w 4546203"/>
              <a:gd name="connsiteY1594" fmla="*/ 1077654 h 5092591"/>
              <a:gd name="connsiteX1595" fmla="*/ 2666278 w 4546203"/>
              <a:gd name="connsiteY1595" fmla="*/ 1058552 h 5092591"/>
              <a:gd name="connsiteX1596" fmla="*/ 1385271 w 4546203"/>
              <a:gd name="connsiteY1596" fmla="*/ 1054175 h 5092591"/>
              <a:gd name="connsiteX1597" fmla="*/ 1357414 w 4546203"/>
              <a:gd name="connsiteY1597" fmla="*/ 1072083 h 5092591"/>
              <a:gd name="connsiteX1598" fmla="*/ 1376516 w 4546203"/>
              <a:gd name="connsiteY1598" fmla="*/ 1102725 h 5092591"/>
              <a:gd name="connsiteX1599" fmla="*/ 1404372 w 4546203"/>
              <a:gd name="connsiteY1599" fmla="*/ 1085215 h 5092591"/>
              <a:gd name="connsiteX1600" fmla="*/ 1385271 w 4546203"/>
              <a:gd name="connsiteY1600" fmla="*/ 1054175 h 5092591"/>
              <a:gd name="connsiteX1601" fmla="*/ 2051840 w 4546203"/>
              <a:gd name="connsiteY1601" fmla="*/ 1052185 h 5092591"/>
              <a:gd name="connsiteX1602" fmla="*/ 2018014 w 4546203"/>
              <a:gd name="connsiteY1602" fmla="*/ 1056563 h 5092591"/>
              <a:gd name="connsiteX1603" fmla="*/ 2024779 w 4546203"/>
              <a:gd name="connsiteY1603" fmla="*/ 1097950 h 5092591"/>
              <a:gd name="connsiteX1604" fmla="*/ 2057810 w 4546203"/>
              <a:gd name="connsiteY1604" fmla="*/ 1092378 h 5092591"/>
              <a:gd name="connsiteX1605" fmla="*/ 2051840 w 4546203"/>
              <a:gd name="connsiteY1605" fmla="*/ 1052185 h 5092591"/>
              <a:gd name="connsiteX1606" fmla="*/ 1627623 w 4546203"/>
              <a:gd name="connsiteY1606" fmla="*/ 1036665 h 5092591"/>
              <a:gd name="connsiteX1607" fmla="*/ 1590216 w 4546203"/>
              <a:gd name="connsiteY1607" fmla="*/ 1054573 h 5092591"/>
              <a:gd name="connsiteX1608" fmla="*/ 1606134 w 4546203"/>
              <a:gd name="connsiteY1608" fmla="*/ 1087205 h 5092591"/>
              <a:gd name="connsiteX1609" fmla="*/ 1642746 w 4546203"/>
              <a:gd name="connsiteY1609" fmla="*/ 1070889 h 5092591"/>
              <a:gd name="connsiteX1610" fmla="*/ 1627623 w 4546203"/>
              <a:gd name="connsiteY1610" fmla="*/ 1036665 h 5092591"/>
              <a:gd name="connsiteX1611" fmla="*/ 2566790 w 4546203"/>
              <a:gd name="connsiteY1611" fmla="*/ 1035073 h 5092591"/>
              <a:gd name="connsiteX1612" fmla="*/ 2559627 w 4546203"/>
              <a:gd name="connsiteY1612" fmla="*/ 1079644 h 5092591"/>
              <a:gd name="connsiteX1613" fmla="*/ 2625687 w 4546203"/>
              <a:gd name="connsiteY1613" fmla="*/ 1093970 h 5092591"/>
              <a:gd name="connsiteX1614" fmla="*/ 2636432 w 4546203"/>
              <a:gd name="connsiteY1614" fmla="*/ 1050195 h 5092591"/>
              <a:gd name="connsiteX1615" fmla="*/ 2566790 w 4546203"/>
              <a:gd name="connsiteY1615" fmla="*/ 1035073 h 5092591"/>
              <a:gd name="connsiteX1616" fmla="*/ 3375030 w 4546203"/>
              <a:gd name="connsiteY1616" fmla="*/ 1034277 h 5092591"/>
              <a:gd name="connsiteX1617" fmla="*/ 3346378 w 4546203"/>
              <a:gd name="connsiteY1617" fmla="*/ 1074072 h 5092591"/>
              <a:gd name="connsiteX1618" fmla="*/ 3384979 w 4546203"/>
              <a:gd name="connsiteY1618" fmla="*/ 1103123 h 5092591"/>
              <a:gd name="connsiteX1619" fmla="*/ 3414826 w 4546203"/>
              <a:gd name="connsiteY1619" fmla="*/ 1064124 h 5092591"/>
              <a:gd name="connsiteX1620" fmla="*/ 3375030 w 4546203"/>
              <a:gd name="connsiteY1620" fmla="*/ 1034277 h 5092591"/>
              <a:gd name="connsiteX1621" fmla="*/ 1778447 w 4546203"/>
              <a:gd name="connsiteY1621" fmla="*/ 1029104 h 5092591"/>
              <a:gd name="connsiteX1622" fmla="*/ 1740244 w 4546203"/>
              <a:gd name="connsiteY1622" fmla="*/ 1041838 h 5092591"/>
              <a:gd name="connsiteX1623" fmla="*/ 1771682 w 4546203"/>
              <a:gd name="connsiteY1623" fmla="*/ 1130582 h 5092591"/>
              <a:gd name="connsiteX1624" fmla="*/ 1807498 w 4546203"/>
              <a:gd name="connsiteY1624" fmla="*/ 1118643 h 5092591"/>
              <a:gd name="connsiteX1625" fmla="*/ 1778447 w 4546203"/>
              <a:gd name="connsiteY1625" fmla="*/ 1029104 h 5092591"/>
              <a:gd name="connsiteX1626" fmla="*/ 3199932 w 4546203"/>
              <a:gd name="connsiteY1626" fmla="*/ 1025522 h 5092591"/>
              <a:gd name="connsiteX1627" fmla="*/ 3188789 w 4546203"/>
              <a:gd name="connsiteY1627" fmla="*/ 1044624 h 5092591"/>
              <a:gd name="connsiteX1628" fmla="*/ 3272757 w 4546203"/>
              <a:gd name="connsiteY1628" fmla="*/ 1099541 h 5092591"/>
              <a:gd name="connsiteX1629" fmla="*/ 3285491 w 4546203"/>
              <a:gd name="connsiteY1629" fmla="*/ 1081633 h 5092591"/>
              <a:gd name="connsiteX1630" fmla="*/ 3199932 w 4546203"/>
              <a:gd name="connsiteY1630" fmla="*/ 1025522 h 5092591"/>
              <a:gd name="connsiteX1631" fmla="*/ 2785664 w 4546203"/>
              <a:gd name="connsiteY1631" fmla="*/ 1025522 h 5092591"/>
              <a:gd name="connsiteX1632" fmla="*/ 2770939 w 4546203"/>
              <a:gd name="connsiteY1632" fmla="*/ 1068103 h 5092591"/>
              <a:gd name="connsiteX1633" fmla="*/ 2838193 w 4546203"/>
              <a:gd name="connsiteY1633" fmla="*/ 1092378 h 5092591"/>
              <a:gd name="connsiteX1634" fmla="*/ 2854509 w 4546203"/>
              <a:gd name="connsiteY1634" fmla="*/ 1050593 h 5092591"/>
              <a:gd name="connsiteX1635" fmla="*/ 2785664 w 4546203"/>
              <a:gd name="connsiteY1635" fmla="*/ 1025522 h 5092591"/>
              <a:gd name="connsiteX1636" fmla="*/ 1934444 w 4546203"/>
              <a:gd name="connsiteY1636" fmla="*/ 1023930 h 5092591"/>
              <a:gd name="connsiteX1637" fmla="*/ 1900221 w 4546203"/>
              <a:gd name="connsiteY1637" fmla="*/ 1031889 h 5092591"/>
              <a:gd name="connsiteX1638" fmla="*/ 1910169 w 4546203"/>
              <a:gd name="connsiteY1638" fmla="*/ 1072481 h 5092591"/>
              <a:gd name="connsiteX1639" fmla="*/ 1944393 w 4546203"/>
              <a:gd name="connsiteY1639" fmla="*/ 1064522 h 5092591"/>
              <a:gd name="connsiteX1640" fmla="*/ 1934444 w 4546203"/>
              <a:gd name="connsiteY1640" fmla="*/ 1023930 h 5092591"/>
              <a:gd name="connsiteX1641" fmla="*/ 3476906 w 4546203"/>
              <a:gd name="connsiteY1641" fmla="*/ 1023134 h 5092591"/>
              <a:gd name="connsiteX1642" fmla="*/ 3446264 w 4546203"/>
              <a:gd name="connsiteY1642" fmla="*/ 1061338 h 5092591"/>
              <a:gd name="connsiteX1643" fmla="*/ 3485661 w 4546203"/>
              <a:gd name="connsiteY1643" fmla="*/ 1093174 h 5092591"/>
              <a:gd name="connsiteX1644" fmla="*/ 3517099 w 4546203"/>
              <a:gd name="connsiteY1644" fmla="*/ 1055767 h 5092591"/>
              <a:gd name="connsiteX1645" fmla="*/ 3476906 w 4546203"/>
              <a:gd name="connsiteY1645" fmla="*/ 1023134 h 5092591"/>
              <a:gd name="connsiteX1646" fmla="*/ 1672592 w 4546203"/>
              <a:gd name="connsiteY1646" fmla="*/ 1018757 h 5092591"/>
              <a:gd name="connsiteX1647" fmla="*/ 1634787 w 4546203"/>
              <a:gd name="connsiteY1647" fmla="*/ 1034675 h 5092591"/>
              <a:gd name="connsiteX1648" fmla="*/ 1649113 w 4546203"/>
              <a:gd name="connsiteY1648" fmla="*/ 1068103 h 5092591"/>
              <a:gd name="connsiteX1649" fmla="*/ 1686520 w 4546203"/>
              <a:gd name="connsiteY1649" fmla="*/ 1052981 h 5092591"/>
              <a:gd name="connsiteX1650" fmla="*/ 1672592 w 4546203"/>
              <a:gd name="connsiteY1650" fmla="*/ 1018757 h 5092591"/>
              <a:gd name="connsiteX1651" fmla="*/ 2384130 w 4546203"/>
              <a:gd name="connsiteY1651" fmla="*/ 1017961 h 5092591"/>
              <a:gd name="connsiteX1652" fmla="*/ 2380549 w 4546203"/>
              <a:gd name="connsiteY1652" fmla="*/ 1082031 h 5092591"/>
              <a:gd name="connsiteX1653" fmla="*/ 2430691 w 4546203"/>
              <a:gd name="connsiteY1653" fmla="*/ 1086409 h 5092591"/>
              <a:gd name="connsiteX1654" fmla="*/ 2437456 w 4546203"/>
              <a:gd name="connsiteY1654" fmla="*/ 1023532 h 5092591"/>
              <a:gd name="connsiteX1655" fmla="*/ 2384130 w 4546203"/>
              <a:gd name="connsiteY1655" fmla="*/ 1017961 h 5092591"/>
              <a:gd name="connsiteX1656" fmla="*/ 3580772 w 4546203"/>
              <a:gd name="connsiteY1656" fmla="*/ 1016767 h 5092591"/>
              <a:gd name="connsiteX1657" fmla="*/ 3548936 w 4546203"/>
              <a:gd name="connsiteY1657" fmla="*/ 1054175 h 5092591"/>
              <a:gd name="connsiteX1658" fmla="*/ 3588333 w 4546203"/>
              <a:gd name="connsiteY1658" fmla="*/ 1088797 h 5092591"/>
              <a:gd name="connsiteX1659" fmla="*/ 3620965 w 4546203"/>
              <a:gd name="connsiteY1659" fmla="*/ 1052185 h 5092591"/>
              <a:gd name="connsiteX1660" fmla="*/ 3580772 w 4546203"/>
              <a:gd name="connsiteY1660" fmla="*/ 1016767 h 5092591"/>
              <a:gd name="connsiteX1661" fmla="*/ 2205450 w 4546203"/>
              <a:gd name="connsiteY1661" fmla="*/ 1015175 h 5092591"/>
              <a:gd name="connsiteX1662" fmla="*/ 2152124 w 4546203"/>
              <a:gd name="connsiteY1662" fmla="*/ 1018757 h 5092591"/>
              <a:gd name="connsiteX1663" fmla="*/ 2156899 w 4546203"/>
              <a:gd name="connsiteY1663" fmla="*/ 1082031 h 5092591"/>
              <a:gd name="connsiteX1664" fmla="*/ 2205450 w 4546203"/>
              <a:gd name="connsiteY1664" fmla="*/ 1078848 h 5092591"/>
              <a:gd name="connsiteX1665" fmla="*/ 2205450 w 4546203"/>
              <a:gd name="connsiteY1665" fmla="*/ 1015175 h 5092591"/>
              <a:gd name="connsiteX1666" fmla="*/ 1823018 w 4546203"/>
              <a:gd name="connsiteY1666" fmla="*/ 1015175 h 5092591"/>
              <a:gd name="connsiteX1667" fmla="*/ 1784417 w 4546203"/>
              <a:gd name="connsiteY1667" fmla="*/ 1027512 h 5092591"/>
              <a:gd name="connsiteX1668" fmla="*/ 1813467 w 4546203"/>
              <a:gd name="connsiteY1668" fmla="*/ 1116653 h 5092591"/>
              <a:gd name="connsiteX1669" fmla="*/ 1849681 w 4546203"/>
              <a:gd name="connsiteY1669" fmla="*/ 1105511 h 5092591"/>
              <a:gd name="connsiteX1670" fmla="*/ 1823018 w 4546203"/>
              <a:gd name="connsiteY1670" fmla="*/ 1015175 h 5092591"/>
              <a:gd name="connsiteX1671" fmla="*/ 2306927 w 4546203"/>
              <a:gd name="connsiteY1671" fmla="*/ 1014380 h 5092591"/>
              <a:gd name="connsiteX1672" fmla="*/ 2306927 w 4546203"/>
              <a:gd name="connsiteY1672" fmla="*/ 1077654 h 5092591"/>
              <a:gd name="connsiteX1673" fmla="*/ 2356274 w 4546203"/>
              <a:gd name="connsiteY1673" fmla="*/ 1080042 h 5092591"/>
              <a:gd name="connsiteX1674" fmla="*/ 2360253 w 4546203"/>
              <a:gd name="connsiteY1674" fmla="*/ 1016767 h 5092591"/>
              <a:gd name="connsiteX1675" fmla="*/ 2306927 w 4546203"/>
              <a:gd name="connsiteY1675" fmla="*/ 1014380 h 5092591"/>
              <a:gd name="connsiteX1676" fmla="*/ 1718356 w 4546203"/>
              <a:gd name="connsiteY1676" fmla="*/ 1001645 h 5092591"/>
              <a:gd name="connsiteX1677" fmla="*/ 1679755 w 4546203"/>
              <a:gd name="connsiteY1677" fmla="*/ 1016369 h 5092591"/>
              <a:gd name="connsiteX1678" fmla="*/ 1692888 w 4546203"/>
              <a:gd name="connsiteY1678" fmla="*/ 1050991 h 5092591"/>
              <a:gd name="connsiteX1679" fmla="*/ 1730693 w 4546203"/>
              <a:gd name="connsiteY1679" fmla="*/ 1036267 h 5092591"/>
              <a:gd name="connsiteX1680" fmla="*/ 1718356 w 4546203"/>
              <a:gd name="connsiteY1680" fmla="*/ 1001645 h 5092591"/>
              <a:gd name="connsiteX1681" fmla="*/ 2476057 w 4546203"/>
              <a:gd name="connsiteY1681" fmla="*/ 995676 h 5092591"/>
              <a:gd name="connsiteX1682" fmla="*/ 2453374 w 4546203"/>
              <a:gd name="connsiteY1682" fmla="*/ 1167193 h 5092591"/>
              <a:gd name="connsiteX1683" fmla="*/ 2507495 w 4546203"/>
              <a:gd name="connsiteY1683" fmla="*/ 1175152 h 5092591"/>
              <a:gd name="connsiteX1684" fmla="*/ 2536944 w 4546203"/>
              <a:gd name="connsiteY1684" fmla="*/ 1004431 h 5092591"/>
              <a:gd name="connsiteX1685" fmla="*/ 2476057 w 4546203"/>
              <a:gd name="connsiteY1685" fmla="*/ 995676 h 5092591"/>
              <a:gd name="connsiteX1686" fmla="*/ 1044226 w 4546203"/>
              <a:gd name="connsiteY1686" fmla="*/ 994084 h 5092591"/>
              <a:gd name="connsiteX1687" fmla="*/ 1006022 w 4546203"/>
              <a:gd name="connsiteY1687" fmla="*/ 1026318 h 5092591"/>
              <a:gd name="connsiteX1688" fmla="*/ 1027114 w 4546203"/>
              <a:gd name="connsiteY1688" fmla="*/ 1051787 h 5092591"/>
              <a:gd name="connsiteX1689" fmla="*/ 1065317 w 4546203"/>
              <a:gd name="connsiteY1689" fmla="*/ 1020747 h 5092591"/>
              <a:gd name="connsiteX1690" fmla="*/ 1044226 w 4546203"/>
              <a:gd name="connsiteY1690" fmla="*/ 994084 h 5092591"/>
              <a:gd name="connsiteX1691" fmla="*/ 1764519 w 4546203"/>
              <a:gd name="connsiteY1691" fmla="*/ 985727 h 5092591"/>
              <a:gd name="connsiteX1692" fmla="*/ 1725122 w 4546203"/>
              <a:gd name="connsiteY1692" fmla="*/ 999257 h 5092591"/>
              <a:gd name="connsiteX1693" fmla="*/ 1737856 w 4546203"/>
              <a:gd name="connsiteY1693" fmla="*/ 1034277 h 5092591"/>
              <a:gd name="connsiteX1694" fmla="*/ 1776059 w 4546203"/>
              <a:gd name="connsiteY1694" fmla="*/ 1020349 h 5092591"/>
              <a:gd name="connsiteX1695" fmla="*/ 1764519 w 4546203"/>
              <a:gd name="connsiteY1695" fmla="*/ 985727 h 5092591"/>
              <a:gd name="connsiteX1696" fmla="*/ 1606134 w 4546203"/>
              <a:gd name="connsiteY1696" fmla="*/ 984931 h 5092591"/>
              <a:gd name="connsiteX1697" fmla="*/ 1567135 w 4546203"/>
              <a:gd name="connsiteY1697" fmla="*/ 1002043 h 5092591"/>
              <a:gd name="connsiteX1698" fmla="*/ 1583053 w 4546203"/>
              <a:gd name="connsiteY1698" fmla="*/ 1036665 h 5092591"/>
              <a:gd name="connsiteX1699" fmla="*/ 1621256 w 4546203"/>
              <a:gd name="connsiteY1699" fmla="*/ 1019951 h 5092591"/>
              <a:gd name="connsiteX1700" fmla="*/ 1606134 w 4546203"/>
              <a:gd name="connsiteY1700" fmla="*/ 984931 h 5092591"/>
              <a:gd name="connsiteX1701" fmla="*/ 3416815 w 4546203"/>
              <a:gd name="connsiteY1701" fmla="*/ 976972 h 5092591"/>
              <a:gd name="connsiteX1702" fmla="*/ 3388561 w 4546203"/>
              <a:gd name="connsiteY1702" fmla="*/ 1016767 h 5092591"/>
              <a:gd name="connsiteX1703" fmla="*/ 3428754 w 4546203"/>
              <a:gd name="connsiteY1703" fmla="*/ 1047012 h 5092591"/>
              <a:gd name="connsiteX1704" fmla="*/ 3458600 w 4546203"/>
              <a:gd name="connsiteY1704" fmla="*/ 1008410 h 5092591"/>
              <a:gd name="connsiteX1705" fmla="*/ 3416815 w 4546203"/>
              <a:gd name="connsiteY1705" fmla="*/ 976972 h 5092591"/>
              <a:gd name="connsiteX1706" fmla="*/ 1810681 w 4546203"/>
              <a:gd name="connsiteY1706" fmla="*/ 971799 h 5092591"/>
              <a:gd name="connsiteX1707" fmla="*/ 1771682 w 4546203"/>
              <a:gd name="connsiteY1707" fmla="*/ 984135 h 5092591"/>
              <a:gd name="connsiteX1708" fmla="*/ 1782825 w 4546203"/>
              <a:gd name="connsiteY1708" fmla="*/ 1018757 h 5092591"/>
              <a:gd name="connsiteX1709" fmla="*/ 1821426 w 4546203"/>
              <a:gd name="connsiteY1709" fmla="*/ 1007216 h 5092591"/>
              <a:gd name="connsiteX1710" fmla="*/ 1810681 w 4546203"/>
              <a:gd name="connsiteY1710" fmla="*/ 971799 h 5092591"/>
              <a:gd name="connsiteX1711" fmla="*/ 3520681 w 4546203"/>
              <a:gd name="connsiteY1711" fmla="*/ 967023 h 5092591"/>
              <a:gd name="connsiteX1712" fmla="*/ 3490437 w 4546203"/>
              <a:gd name="connsiteY1712" fmla="*/ 1005227 h 5092591"/>
              <a:gd name="connsiteX1713" fmla="*/ 3531426 w 4546203"/>
              <a:gd name="connsiteY1713" fmla="*/ 1038655 h 5092591"/>
              <a:gd name="connsiteX1714" fmla="*/ 3562466 w 4546203"/>
              <a:gd name="connsiteY1714" fmla="*/ 1000849 h 5092591"/>
              <a:gd name="connsiteX1715" fmla="*/ 3520681 w 4546203"/>
              <a:gd name="connsiteY1715" fmla="*/ 967023 h 5092591"/>
              <a:gd name="connsiteX1716" fmla="*/ 1652296 w 4546203"/>
              <a:gd name="connsiteY1716" fmla="*/ 965034 h 5092591"/>
              <a:gd name="connsiteX1717" fmla="*/ 1612899 w 4546203"/>
              <a:gd name="connsiteY1717" fmla="*/ 982145 h 5092591"/>
              <a:gd name="connsiteX1718" fmla="*/ 1628419 w 4546203"/>
              <a:gd name="connsiteY1718" fmla="*/ 1017165 h 5092591"/>
              <a:gd name="connsiteX1719" fmla="*/ 1666623 w 4546203"/>
              <a:gd name="connsiteY1719" fmla="*/ 1000849 h 5092591"/>
              <a:gd name="connsiteX1720" fmla="*/ 1652296 w 4546203"/>
              <a:gd name="connsiteY1720" fmla="*/ 965034 h 5092591"/>
              <a:gd name="connsiteX1721" fmla="*/ 1699255 w 4546203"/>
              <a:gd name="connsiteY1721" fmla="*/ 947922 h 5092591"/>
              <a:gd name="connsiteX1722" fmla="*/ 1659460 w 4546203"/>
              <a:gd name="connsiteY1722" fmla="*/ 963044 h 5092591"/>
              <a:gd name="connsiteX1723" fmla="*/ 1673388 w 4546203"/>
              <a:gd name="connsiteY1723" fmla="*/ 998859 h 5092591"/>
              <a:gd name="connsiteX1724" fmla="*/ 1712387 w 4546203"/>
              <a:gd name="connsiteY1724" fmla="*/ 984135 h 5092591"/>
              <a:gd name="connsiteX1725" fmla="*/ 1699255 w 4546203"/>
              <a:gd name="connsiteY1725" fmla="*/ 947922 h 5092591"/>
              <a:gd name="connsiteX1726" fmla="*/ 1006818 w 4546203"/>
              <a:gd name="connsiteY1726" fmla="*/ 947126 h 5092591"/>
              <a:gd name="connsiteX1727" fmla="*/ 967421 w 4546203"/>
              <a:gd name="connsiteY1727" fmla="*/ 979758 h 5092591"/>
              <a:gd name="connsiteX1728" fmla="*/ 991298 w 4546203"/>
              <a:gd name="connsiteY1728" fmla="*/ 1008410 h 5092591"/>
              <a:gd name="connsiteX1729" fmla="*/ 1030298 w 4546203"/>
              <a:gd name="connsiteY1729" fmla="*/ 976176 h 5092591"/>
              <a:gd name="connsiteX1730" fmla="*/ 1006818 w 4546203"/>
              <a:gd name="connsiteY1730" fmla="*/ 947126 h 5092591"/>
              <a:gd name="connsiteX1731" fmla="*/ 2055422 w 4546203"/>
              <a:gd name="connsiteY1731" fmla="*/ 944738 h 5092591"/>
              <a:gd name="connsiteX1732" fmla="*/ 2018810 w 4546203"/>
              <a:gd name="connsiteY1732" fmla="*/ 951105 h 5092591"/>
              <a:gd name="connsiteX1733" fmla="*/ 2025177 w 4546203"/>
              <a:gd name="connsiteY1733" fmla="*/ 991298 h 5092591"/>
              <a:gd name="connsiteX1734" fmla="*/ 2060595 w 4546203"/>
              <a:gd name="connsiteY1734" fmla="*/ 986523 h 5092591"/>
              <a:gd name="connsiteX1735" fmla="*/ 2055422 w 4546203"/>
              <a:gd name="connsiteY1735" fmla="*/ 944738 h 5092591"/>
              <a:gd name="connsiteX1736" fmla="*/ 2935294 w 4546203"/>
              <a:gd name="connsiteY1736" fmla="*/ 942350 h 5092591"/>
              <a:gd name="connsiteX1737" fmla="*/ 2917784 w 4546203"/>
              <a:gd name="connsiteY1737" fmla="*/ 984135 h 5092591"/>
              <a:gd name="connsiteX1738" fmla="*/ 2989017 w 4546203"/>
              <a:gd name="connsiteY1738" fmla="*/ 1015175 h 5092591"/>
              <a:gd name="connsiteX1739" fmla="*/ 3008119 w 4546203"/>
              <a:gd name="connsiteY1739" fmla="*/ 974982 h 5092591"/>
              <a:gd name="connsiteX1740" fmla="*/ 2935294 w 4546203"/>
              <a:gd name="connsiteY1740" fmla="*/ 942350 h 5092591"/>
              <a:gd name="connsiteX1741" fmla="*/ 2700502 w 4546203"/>
              <a:gd name="connsiteY1741" fmla="*/ 931606 h 5092591"/>
              <a:gd name="connsiteX1742" fmla="*/ 2688961 w 4546203"/>
              <a:gd name="connsiteY1742" fmla="*/ 975380 h 5092591"/>
              <a:gd name="connsiteX1743" fmla="*/ 2760593 w 4546203"/>
              <a:gd name="connsiteY1743" fmla="*/ 995676 h 5092591"/>
              <a:gd name="connsiteX1744" fmla="*/ 2773327 w 4546203"/>
              <a:gd name="connsiteY1744" fmla="*/ 953095 h 5092591"/>
              <a:gd name="connsiteX1745" fmla="*/ 2700502 w 4546203"/>
              <a:gd name="connsiteY1745" fmla="*/ 931606 h 5092591"/>
              <a:gd name="connsiteX1746" fmla="*/ 1747009 w 4546203"/>
              <a:gd name="connsiteY1746" fmla="*/ 931606 h 5092591"/>
              <a:gd name="connsiteX1747" fmla="*/ 1706418 w 4546203"/>
              <a:gd name="connsiteY1747" fmla="*/ 945534 h 5092591"/>
              <a:gd name="connsiteX1748" fmla="*/ 1719550 w 4546203"/>
              <a:gd name="connsiteY1748" fmla="*/ 981747 h 5092591"/>
              <a:gd name="connsiteX1749" fmla="*/ 1758948 w 4546203"/>
              <a:gd name="connsiteY1749" fmla="*/ 968217 h 5092591"/>
              <a:gd name="connsiteX1750" fmla="*/ 1747009 w 4546203"/>
              <a:gd name="connsiteY1750" fmla="*/ 931606 h 5092591"/>
              <a:gd name="connsiteX1751" fmla="*/ 2309713 w 4546203"/>
              <a:gd name="connsiteY1751" fmla="*/ 924442 h 5092591"/>
              <a:gd name="connsiteX1752" fmla="*/ 2309713 w 4546203"/>
              <a:gd name="connsiteY1752" fmla="*/ 985329 h 5092591"/>
              <a:gd name="connsiteX1753" fmla="*/ 2362243 w 4546203"/>
              <a:gd name="connsiteY1753" fmla="*/ 987717 h 5092591"/>
              <a:gd name="connsiteX1754" fmla="*/ 2365824 w 4546203"/>
              <a:gd name="connsiteY1754" fmla="*/ 924442 h 5092591"/>
              <a:gd name="connsiteX1755" fmla="*/ 2309713 w 4546203"/>
              <a:gd name="connsiteY1755" fmla="*/ 924442 h 5092591"/>
              <a:gd name="connsiteX1756" fmla="*/ 2228531 w 4546203"/>
              <a:gd name="connsiteY1756" fmla="*/ 923647 h 5092591"/>
              <a:gd name="connsiteX1757" fmla="*/ 2228531 w 4546203"/>
              <a:gd name="connsiteY1757" fmla="*/ 984533 h 5092591"/>
              <a:gd name="connsiteX1758" fmla="*/ 2282254 w 4546203"/>
              <a:gd name="connsiteY1758" fmla="*/ 984533 h 5092591"/>
              <a:gd name="connsiteX1759" fmla="*/ 2282254 w 4546203"/>
              <a:gd name="connsiteY1759" fmla="*/ 923647 h 5092591"/>
              <a:gd name="connsiteX1760" fmla="*/ 2228531 w 4546203"/>
              <a:gd name="connsiteY1760" fmla="*/ 923647 h 5092591"/>
              <a:gd name="connsiteX1761" fmla="*/ 2201470 w 4546203"/>
              <a:gd name="connsiteY1761" fmla="*/ 923249 h 5092591"/>
              <a:gd name="connsiteX1762" fmla="*/ 2145359 w 4546203"/>
              <a:gd name="connsiteY1762" fmla="*/ 926830 h 5092591"/>
              <a:gd name="connsiteX1763" fmla="*/ 2150532 w 4546203"/>
              <a:gd name="connsiteY1763" fmla="*/ 990502 h 5092591"/>
              <a:gd name="connsiteX1764" fmla="*/ 2204256 w 4546203"/>
              <a:gd name="connsiteY1764" fmla="*/ 986523 h 5092591"/>
              <a:gd name="connsiteX1765" fmla="*/ 2201470 w 4546203"/>
              <a:gd name="connsiteY1765" fmla="*/ 923249 h 5092591"/>
              <a:gd name="connsiteX1766" fmla="*/ 3458998 w 4546203"/>
              <a:gd name="connsiteY1766" fmla="*/ 919667 h 5092591"/>
              <a:gd name="connsiteX1767" fmla="*/ 3430346 w 4546203"/>
              <a:gd name="connsiteY1767" fmla="*/ 959462 h 5092591"/>
              <a:gd name="connsiteX1768" fmla="*/ 3472131 w 4546203"/>
              <a:gd name="connsiteY1768" fmla="*/ 990900 h 5092591"/>
              <a:gd name="connsiteX1769" fmla="*/ 3501977 w 4546203"/>
              <a:gd name="connsiteY1769" fmla="*/ 951901 h 5092591"/>
              <a:gd name="connsiteX1770" fmla="*/ 3458998 w 4546203"/>
              <a:gd name="connsiteY1770" fmla="*/ 919667 h 5092591"/>
              <a:gd name="connsiteX1771" fmla="*/ 1794365 w 4546203"/>
              <a:gd name="connsiteY1771" fmla="*/ 917279 h 5092591"/>
              <a:gd name="connsiteX1772" fmla="*/ 1753774 w 4546203"/>
              <a:gd name="connsiteY1772" fmla="*/ 929218 h 5092591"/>
              <a:gd name="connsiteX1773" fmla="*/ 1765315 w 4546203"/>
              <a:gd name="connsiteY1773" fmla="*/ 966625 h 5092591"/>
              <a:gd name="connsiteX1774" fmla="*/ 1805508 w 4546203"/>
              <a:gd name="connsiteY1774" fmla="*/ 953493 h 5092591"/>
              <a:gd name="connsiteX1775" fmla="*/ 1794365 w 4546203"/>
              <a:gd name="connsiteY1775" fmla="*/ 917279 h 5092591"/>
              <a:gd name="connsiteX1776" fmla="*/ 2592657 w 4546203"/>
              <a:gd name="connsiteY1776" fmla="*/ 906933 h 5092591"/>
              <a:gd name="connsiteX1777" fmla="*/ 2583902 w 4546203"/>
              <a:gd name="connsiteY1777" fmla="*/ 950707 h 5092591"/>
              <a:gd name="connsiteX1778" fmla="*/ 2656727 w 4546203"/>
              <a:gd name="connsiteY1778" fmla="*/ 967023 h 5092591"/>
              <a:gd name="connsiteX1779" fmla="*/ 2667472 w 4546203"/>
              <a:gd name="connsiteY1779" fmla="*/ 923647 h 5092591"/>
              <a:gd name="connsiteX1780" fmla="*/ 2592657 w 4546203"/>
              <a:gd name="connsiteY1780" fmla="*/ 906933 h 5092591"/>
              <a:gd name="connsiteX1781" fmla="*/ 2827847 w 4546203"/>
              <a:gd name="connsiteY1781" fmla="*/ 901361 h 5092591"/>
              <a:gd name="connsiteX1782" fmla="*/ 2813122 w 4546203"/>
              <a:gd name="connsiteY1782" fmla="*/ 944340 h 5092591"/>
              <a:gd name="connsiteX1783" fmla="*/ 2886346 w 4546203"/>
              <a:gd name="connsiteY1783" fmla="*/ 971003 h 5092591"/>
              <a:gd name="connsiteX1784" fmla="*/ 2902264 w 4546203"/>
              <a:gd name="connsiteY1784" fmla="*/ 929218 h 5092591"/>
              <a:gd name="connsiteX1785" fmla="*/ 2827847 w 4546203"/>
              <a:gd name="connsiteY1785" fmla="*/ 901361 h 5092591"/>
              <a:gd name="connsiteX1786" fmla="*/ 1969066 w 4546203"/>
              <a:gd name="connsiteY1786" fmla="*/ 898178 h 5092591"/>
              <a:gd name="connsiteX1787" fmla="*/ 1931261 w 4546203"/>
              <a:gd name="connsiteY1787" fmla="*/ 906137 h 5092591"/>
              <a:gd name="connsiteX1788" fmla="*/ 1940016 w 4546203"/>
              <a:gd name="connsiteY1788" fmla="*/ 946728 h 5092591"/>
              <a:gd name="connsiteX1789" fmla="*/ 1976627 w 4546203"/>
              <a:gd name="connsiteY1789" fmla="*/ 939167 h 5092591"/>
              <a:gd name="connsiteX1790" fmla="*/ 1969066 w 4546203"/>
              <a:gd name="connsiteY1790" fmla="*/ 898178 h 5092591"/>
              <a:gd name="connsiteX1791" fmla="*/ 1565941 w 4546203"/>
              <a:gd name="connsiteY1791" fmla="*/ 890617 h 5092591"/>
              <a:gd name="connsiteX1792" fmla="*/ 1524156 w 4546203"/>
              <a:gd name="connsiteY1792" fmla="*/ 908922 h 5092591"/>
              <a:gd name="connsiteX1793" fmla="*/ 1563553 w 4546203"/>
              <a:gd name="connsiteY1793" fmla="*/ 994880 h 5092591"/>
              <a:gd name="connsiteX1794" fmla="*/ 1602950 w 4546203"/>
              <a:gd name="connsiteY1794" fmla="*/ 977370 h 5092591"/>
              <a:gd name="connsiteX1795" fmla="*/ 1565941 w 4546203"/>
              <a:gd name="connsiteY1795" fmla="*/ 890617 h 5092591"/>
              <a:gd name="connsiteX1796" fmla="*/ 2960762 w 4546203"/>
              <a:gd name="connsiteY1796" fmla="*/ 882259 h 5092591"/>
              <a:gd name="connsiteX1797" fmla="*/ 2943253 w 4546203"/>
              <a:gd name="connsiteY1797" fmla="*/ 923647 h 5092591"/>
              <a:gd name="connsiteX1798" fmla="*/ 3016874 w 4546203"/>
              <a:gd name="connsiteY1798" fmla="*/ 956279 h 5092591"/>
              <a:gd name="connsiteX1799" fmla="*/ 3036373 w 4546203"/>
              <a:gd name="connsiteY1799" fmla="*/ 915687 h 5092591"/>
              <a:gd name="connsiteX1800" fmla="*/ 2960762 w 4546203"/>
              <a:gd name="connsiteY1800" fmla="*/ 882259 h 5092591"/>
              <a:gd name="connsiteX1801" fmla="*/ 2491975 w 4546203"/>
              <a:gd name="connsiteY1801" fmla="*/ 875096 h 5092591"/>
              <a:gd name="connsiteX1802" fmla="*/ 2480832 w 4546203"/>
              <a:gd name="connsiteY1802" fmla="*/ 958666 h 5092591"/>
              <a:gd name="connsiteX1803" fmla="*/ 2542913 w 4546203"/>
              <a:gd name="connsiteY1803" fmla="*/ 967819 h 5092591"/>
              <a:gd name="connsiteX1804" fmla="*/ 2557239 w 4546203"/>
              <a:gd name="connsiteY1804" fmla="*/ 884647 h 5092591"/>
              <a:gd name="connsiteX1805" fmla="*/ 2491975 w 4546203"/>
              <a:gd name="connsiteY1805" fmla="*/ 875096 h 5092591"/>
              <a:gd name="connsiteX1806" fmla="*/ 1614889 w 4546203"/>
              <a:gd name="connsiteY1806" fmla="*/ 870321 h 5092591"/>
              <a:gd name="connsiteX1807" fmla="*/ 1573104 w 4546203"/>
              <a:gd name="connsiteY1807" fmla="*/ 887831 h 5092591"/>
              <a:gd name="connsiteX1808" fmla="*/ 1609716 w 4546203"/>
              <a:gd name="connsiteY1808" fmla="*/ 974584 h 5092591"/>
              <a:gd name="connsiteX1809" fmla="*/ 1649511 w 4546203"/>
              <a:gd name="connsiteY1809" fmla="*/ 957870 h 5092591"/>
              <a:gd name="connsiteX1810" fmla="*/ 1614889 w 4546203"/>
              <a:gd name="connsiteY1810" fmla="*/ 870321 h 5092591"/>
              <a:gd name="connsiteX1811" fmla="*/ 1879527 w 4546203"/>
              <a:gd name="connsiteY1811" fmla="*/ 858382 h 5092591"/>
              <a:gd name="connsiteX1812" fmla="*/ 1841722 w 4546203"/>
              <a:gd name="connsiteY1812" fmla="*/ 867933 h 5092591"/>
              <a:gd name="connsiteX1813" fmla="*/ 1852864 w 4546203"/>
              <a:gd name="connsiteY1813" fmla="*/ 908524 h 5092591"/>
              <a:gd name="connsiteX1814" fmla="*/ 1889874 w 4546203"/>
              <a:gd name="connsiteY1814" fmla="*/ 898178 h 5092591"/>
              <a:gd name="connsiteX1815" fmla="*/ 1879527 w 4546203"/>
              <a:gd name="connsiteY1815" fmla="*/ 858382 h 5092591"/>
              <a:gd name="connsiteX1816" fmla="*/ 2848938 w 4546203"/>
              <a:gd name="connsiteY1816" fmla="*/ 840077 h 5092591"/>
              <a:gd name="connsiteX1817" fmla="*/ 2833816 w 4546203"/>
              <a:gd name="connsiteY1817" fmla="*/ 882657 h 5092591"/>
              <a:gd name="connsiteX1818" fmla="*/ 2909825 w 4546203"/>
              <a:gd name="connsiteY1818" fmla="*/ 910514 h 5092591"/>
              <a:gd name="connsiteX1819" fmla="*/ 2926141 w 4546203"/>
              <a:gd name="connsiteY1819" fmla="*/ 868331 h 5092591"/>
              <a:gd name="connsiteX1820" fmla="*/ 2848938 w 4546203"/>
              <a:gd name="connsiteY1820" fmla="*/ 840077 h 5092591"/>
              <a:gd name="connsiteX1821" fmla="*/ 1715173 w 4546203"/>
              <a:gd name="connsiteY1821" fmla="*/ 834505 h 5092591"/>
              <a:gd name="connsiteX1822" fmla="*/ 1672194 w 4546203"/>
              <a:gd name="connsiteY1822" fmla="*/ 849230 h 5092591"/>
              <a:gd name="connsiteX1823" fmla="*/ 1703632 w 4546203"/>
              <a:gd name="connsiteY1823" fmla="*/ 937973 h 5092591"/>
              <a:gd name="connsiteX1824" fmla="*/ 1744621 w 4546203"/>
              <a:gd name="connsiteY1824" fmla="*/ 924044 h 5092591"/>
              <a:gd name="connsiteX1825" fmla="*/ 1715173 w 4546203"/>
              <a:gd name="connsiteY1825" fmla="*/ 834505 h 5092591"/>
              <a:gd name="connsiteX1826" fmla="*/ 2398058 w 4546203"/>
              <a:gd name="connsiteY1826" fmla="*/ 834107 h 5092591"/>
              <a:gd name="connsiteX1827" fmla="*/ 2393283 w 4546203"/>
              <a:gd name="connsiteY1827" fmla="*/ 897382 h 5092591"/>
              <a:gd name="connsiteX1828" fmla="*/ 2450588 w 4546203"/>
              <a:gd name="connsiteY1828" fmla="*/ 902953 h 5092591"/>
              <a:gd name="connsiteX1829" fmla="*/ 2457353 w 4546203"/>
              <a:gd name="connsiteY1829" fmla="*/ 839679 h 5092591"/>
              <a:gd name="connsiteX1830" fmla="*/ 2398058 w 4546203"/>
              <a:gd name="connsiteY1830" fmla="*/ 834107 h 5092591"/>
              <a:gd name="connsiteX1831" fmla="*/ 2311305 w 4546203"/>
              <a:gd name="connsiteY1831" fmla="*/ 832515 h 5092591"/>
              <a:gd name="connsiteX1832" fmla="*/ 2311305 w 4546203"/>
              <a:gd name="connsiteY1832" fmla="*/ 893402 h 5092591"/>
              <a:gd name="connsiteX1833" fmla="*/ 2367814 w 4546203"/>
              <a:gd name="connsiteY1833" fmla="*/ 893402 h 5092591"/>
              <a:gd name="connsiteX1834" fmla="*/ 2370600 w 4546203"/>
              <a:gd name="connsiteY1834" fmla="*/ 832515 h 5092591"/>
              <a:gd name="connsiteX1835" fmla="*/ 2311305 w 4546203"/>
              <a:gd name="connsiteY1835" fmla="*/ 832515 h 5092591"/>
              <a:gd name="connsiteX1836" fmla="*/ 2197889 w 4546203"/>
              <a:gd name="connsiteY1836" fmla="*/ 830526 h 5092591"/>
              <a:gd name="connsiteX1837" fmla="*/ 2137798 w 4546203"/>
              <a:gd name="connsiteY1837" fmla="*/ 833709 h 5092591"/>
              <a:gd name="connsiteX1838" fmla="*/ 2143369 w 4546203"/>
              <a:gd name="connsiteY1838" fmla="*/ 897780 h 5092591"/>
              <a:gd name="connsiteX1839" fmla="*/ 2197889 w 4546203"/>
              <a:gd name="connsiteY1839" fmla="*/ 893800 h 5092591"/>
              <a:gd name="connsiteX1840" fmla="*/ 2197889 w 4546203"/>
              <a:gd name="connsiteY1840" fmla="*/ 830526 h 5092591"/>
              <a:gd name="connsiteX1841" fmla="*/ 1766111 w 4546203"/>
              <a:gd name="connsiteY1841" fmla="*/ 819383 h 5092591"/>
              <a:gd name="connsiteX1842" fmla="*/ 1722734 w 4546203"/>
              <a:gd name="connsiteY1842" fmla="*/ 832515 h 5092591"/>
              <a:gd name="connsiteX1843" fmla="*/ 1751387 w 4546203"/>
              <a:gd name="connsiteY1843" fmla="*/ 922055 h 5092591"/>
              <a:gd name="connsiteX1844" fmla="*/ 1792774 w 4546203"/>
              <a:gd name="connsiteY1844" fmla="*/ 908922 h 5092591"/>
              <a:gd name="connsiteX1845" fmla="*/ 1766111 w 4546203"/>
              <a:gd name="connsiteY1845" fmla="*/ 819383 h 5092591"/>
              <a:gd name="connsiteX1846" fmla="*/ 2733930 w 4546203"/>
              <a:gd name="connsiteY1846" fmla="*/ 805853 h 5092591"/>
              <a:gd name="connsiteX1847" fmla="*/ 2722389 w 4546203"/>
              <a:gd name="connsiteY1847" fmla="*/ 849230 h 5092591"/>
              <a:gd name="connsiteX1848" fmla="*/ 2799990 w 4546203"/>
              <a:gd name="connsiteY1848" fmla="*/ 871515 h 5092591"/>
              <a:gd name="connsiteX1849" fmla="*/ 2813122 w 4546203"/>
              <a:gd name="connsiteY1849" fmla="*/ 828536 h 5092591"/>
              <a:gd name="connsiteX1850" fmla="*/ 2733930 w 4546203"/>
              <a:gd name="connsiteY1850" fmla="*/ 805853 h 5092591"/>
              <a:gd name="connsiteX1851" fmla="*/ 2617330 w 4546203"/>
              <a:gd name="connsiteY1851" fmla="*/ 778792 h 5092591"/>
              <a:gd name="connsiteX1852" fmla="*/ 2608575 w 4546203"/>
              <a:gd name="connsiteY1852" fmla="*/ 822965 h 5092591"/>
              <a:gd name="connsiteX1853" fmla="*/ 2687370 w 4546203"/>
              <a:gd name="connsiteY1853" fmla="*/ 840077 h 5092591"/>
              <a:gd name="connsiteX1854" fmla="*/ 2697716 w 4546203"/>
              <a:gd name="connsiteY1854" fmla="*/ 796302 h 5092591"/>
              <a:gd name="connsiteX1855" fmla="*/ 2617330 w 4546203"/>
              <a:gd name="connsiteY1855" fmla="*/ 778792 h 5092591"/>
              <a:gd name="connsiteX1856" fmla="*/ 2869233 w 4546203"/>
              <a:gd name="connsiteY1856" fmla="*/ 777996 h 5092591"/>
              <a:gd name="connsiteX1857" fmla="*/ 2854907 w 4546203"/>
              <a:gd name="connsiteY1857" fmla="*/ 820577 h 5092591"/>
              <a:gd name="connsiteX1858" fmla="*/ 2933304 w 4546203"/>
              <a:gd name="connsiteY1858" fmla="*/ 848832 h 5092591"/>
              <a:gd name="connsiteX1859" fmla="*/ 2950018 w 4546203"/>
              <a:gd name="connsiteY1859" fmla="*/ 807047 h 5092591"/>
              <a:gd name="connsiteX1860" fmla="*/ 2869233 w 4546203"/>
              <a:gd name="connsiteY1860" fmla="*/ 777996 h 5092591"/>
              <a:gd name="connsiteX1861" fmla="*/ 1577879 w 4546203"/>
              <a:gd name="connsiteY1861" fmla="*/ 775210 h 5092591"/>
              <a:gd name="connsiteX1862" fmla="*/ 1533309 w 4546203"/>
              <a:gd name="connsiteY1862" fmla="*/ 793516 h 5092591"/>
              <a:gd name="connsiteX1863" fmla="*/ 1569920 w 4546203"/>
              <a:gd name="connsiteY1863" fmla="*/ 880668 h 5092591"/>
              <a:gd name="connsiteX1864" fmla="*/ 1612103 w 4546203"/>
              <a:gd name="connsiteY1864" fmla="*/ 862362 h 5092591"/>
              <a:gd name="connsiteX1865" fmla="*/ 1577879 w 4546203"/>
              <a:gd name="connsiteY1865" fmla="*/ 775210 h 5092591"/>
              <a:gd name="connsiteX1866" fmla="*/ 3010506 w 4546203"/>
              <a:gd name="connsiteY1866" fmla="*/ 761282 h 5092591"/>
              <a:gd name="connsiteX1867" fmla="*/ 2992997 w 4546203"/>
              <a:gd name="connsiteY1867" fmla="*/ 803067 h 5092591"/>
              <a:gd name="connsiteX1868" fmla="*/ 3072189 w 4546203"/>
              <a:gd name="connsiteY1868" fmla="*/ 838087 h 5092591"/>
              <a:gd name="connsiteX1869" fmla="*/ 3091689 w 4546203"/>
              <a:gd name="connsiteY1869" fmla="*/ 797496 h 5092591"/>
              <a:gd name="connsiteX1870" fmla="*/ 3010506 w 4546203"/>
              <a:gd name="connsiteY1870" fmla="*/ 761282 h 5092591"/>
              <a:gd name="connsiteX1871" fmla="*/ 1630807 w 4546203"/>
              <a:gd name="connsiteY1871" fmla="*/ 755313 h 5092591"/>
              <a:gd name="connsiteX1872" fmla="*/ 1585441 w 4546203"/>
              <a:gd name="connsiteY1872" fmla="*/ 772823 h 5092591"/>
              <a:gd name="connsiteX1873" fmla="*/ 1619664 w 4546203"/>
              <a:gd name="connsiteY1873" fmla="*/ 860372 h 5092591"/>
              <a:gd name="connsiteX1874" fmla="*/ 1662643 w 4546203"/>
              <a:gd name="connsiteY1874" fmla="*/ 844056 h 5092591"/>
              <a:gd name="connsiteX1875" fmla="*/ 1630807 w 4546203"/>
              <a:gd name="connsiteY1875" fmla="*/ 755313 h 5092591"/>
              <a:gd name="connsiteX1876" fmla="*/ 2750644 w 4546203"/>
              <a:gd name="connsiteY1876" fmla="*/ 742578 h 5092591"/>
              <a:gd name="connsiteX1877" fmla="*/ 2739103 w 4546203"/>
              <a:gd name="connsiteY1877" fmla="*/ 785955 h 5092591"/>
              <a:gd name="connsiteX1878" fmla="*/ 2819489 w 4546203"/>
              <a:gd name="connsiteY1878" fmla="*/ 809036 h 5092591"/>
              <a:gd name="connsiteX1879" fmla="*/ 2832622 w 4546203"/>
              <a:gd name="connsiteY1879" fmla="*/ 766058 h 5092591"/>
              <a:gd name="connsiteX1880" fmla="*/ 2750644 w 4546203"/>
              <a:gd name="connsiteY1880" fmla="*/ 742578 h 5092591"/>
              <a:gd name="connsiteX1881" fmla="*/ 2404824 w 4546203"/>
              <a:gd name="connsiteY1881" fmla="*/ 742180 h 5092591"/>
              <a:gd name="connsiteX1882" fmla="*/ 2400844 w 4546203"/>
              <a:gd name="connsiteY1882" fmla="*/ 805455 h 5092591"/>
              <a:gd name="connsiteX1883" fmla="*/ 2460935 w 4546203"/>
              <a:gd name="connsiteY1883" fmla="*/ 810628 h 5092591"/>
              <a:gd name="connsiteX1884" fmla="*/ 2467700 w 4546203"/>
              <a:gd name="connsiteY1884" fmla="*/ 747354 h 5092591"/>
              <a:gd name="connsiteX1885" fmla="*/ 2404824 w 4546203"/>
              <a:gd name="connsiteY1885" fmla="*/ 742180 h 5092591"/>
              <a:gd name="connsiteX1886" fmla="*/ 2313693 w 4546203"/>
              <a:gd name="connsiteY1886" fmla="*/ 739793 h 5092591"/>
              <a:gd name="connsiteX1887" fmla="*/ 2313693 w 4546203"/>
              <a:gd name="connsiteY1887" fmla="*/ 801077 h 5092591"/>
              <a:gd name="connsiteX1888" fmla="*/ 2372988 w 4546203"/>
              <a:gd name="connsiteY1888" fmla="*/ 801077 h 5092591"/>
              <a:gd name="connsiteX1889" fmla="*/ 2376569 w 4546203"/>
              <a:gd name="connsiteY1889" fmla="*/ 739793 h 5092591"/>
              <a:gd name="connsiteX1890" fmla="*/ 2313693 w 4546203"/>
              <a:gd name="connsiteY1890" fmla="*/ 739793 h 5092591"/>
              <a:gd name="connsiteX1891" fmla="*/ 2224153 w 4546203"/>
              <a:gd name="connsiteY1891" fmla="*/ 738997 h 5092591"/>
              <a:gd name="connsiteX1892" fmla="*/ 2224153 w 4546203"/>
              <a:gd name="connsiteY1892" fmla="*/ 799486 h 5092591"/>
              <a:gd name="connsiteX1893" fmla="*/ 2284642 w 4546203"/>
              <a:gd name="connsiteY1893" fmla="*/ 799486 h 5092591"/>
              <a:gd name="connsiteX1894" fmla="*/ 2284642 w 4546203"/>
              <a:gd name="connsiteY1894" fmla="*/ 738997 h 5092591"/>
              <a:gd name="connsiteX1895" fmla="*/ 2224153 w 4546203"/>
              <a:gd name="connsiteY1895" fmla="*/ 738997 h 5092591"/>
              <a:gd name="connsiteX1896" fmla="*/ 1684133 w 4546203"/>
              <a:gd name="connsiteY1896" fmla="*/ 737405 h 5092591"/>
              <a:gd name="connsiteX1897" fmla="*/ 1638766 w 4546203"/>
              <a:gd name="connsiteY1897" fmla="*/ 752925 h 5092591"/>
              <a:gd name="connsiteX1898" fmla="*/ 1669806 w 4546203"/>
              <a:gd name="connsiteY1898" fmla="*/ 841668 h 5092591"/>
              <a:gd name="connsiteX1899" fmla="*/ 1713183 w 4546203"/>
              <a:gd name="connsiteY1899" fmla="*/ 826546 h 5092591"/>
              <a:gd name="connsiteX1900" fmla="*/ 1684133 w 4546203"/>
              <a:gd name="connsiteY1900" fmla="*/ 737405 h 5092591"/>
              <a:gd name="connsiteX1901" fmla="*/ 1737856 w 4546203"/>
              <a:gd name="connsiteY1901" fmla="*/ 720691 h 5092591"/>
              <a:gd name="connsiteX1902" fmla="*/ 1691694 w 4546203"/>
              <a:gd name="connsiteY1902" fmla="*/ 734619 h 5092591"/>
              <a:gd name="connsiteX1903" fmla="*/ 1720744 w 4546203"/>
              <a:gd name="connsiteY1903" fmla="*/ 824556 h 5092591"/>
              <a:gd name="connsiteX1904" fmla="*/ 1764121 w 4546203"/>
              <a:gd name="connsiteY1904" fmla="*/ 810628 h 5092591"/>
              <a:gd name="connsiteX1905" fmla="*/ 1737856 w 4546203"/>
              <a:gd name="connsiteY1905" fmla="*/ 720691 h 5092591"/>
              <a:gd name="connsiteX1906" fmla="*/ 2630064 w 4546203"/>
              <a:gd name="connsiteY1906" fmla="*/ 714722 h 5092591"/>
              <a:gd name="connsiteX1907" fmla="*/ 2621708 w 4546203"/>
              <a:gd name="connsiteY1907" fmla="*/ 759292 h 5092591"/>
              <a:gd name="connsiteX1908" fmla="*/ 2703288 w 4546203"/>
              <a:gd name="connsiteY1908" fmla="*/ 776802 h 5092591"/>
              <a:gd name="connsiteX1909" fmla="*/ 2713634 w 4546203"/>
              <a:gd name="connsiteY1909" fmla="*/ 733028 h 5092591"/>
              <a:gd name="connsiteX1910" fmla="*/ 2630064 w 4546203"/>
              <a:gd name="connsiteY1910" fmla="*/ 714722 h 5092591"/>
              <a:gd name="connsiteX1911" fmla="*/ 1485953 w 4546203"/>
              <a:gd name="connsiteY1911" fmla="*/ 701987 h 5092591"/>
              <a:gd name="connsiteX1912" fmla="*/ 1439392 w 4546203"/>
              <a:gd name="connsiteY1912" fmla="*/ 722681 h 5092591"/>
              <a:gd name="connsiteX1913" fmla="*/ 1478789 w 4546203"/>
              <a:gd name="connsiteY1913" fmla="*/ 808638 h 5092591"/>
              <a:gd name="connsiteX1914" fmla="*/ 1522962 w 4546203"/>
              <a:gd name="connsiteY1914" fmla="*/ 788343 h 5092591"/>
              <a:gd name="connsiteX1915" fmla="*/ 1485953 w 4546203"/>
              <a:gd name="connsiteY1915" fmla="*/ 701987 h 5092591"/>
              <a:gd name="connsiteX1916" fmla="*/ 1540870 w 4546203"/>
              <a:gd name="connsiteY1916" fmla="*/ 680100 h 5092591"/>
              <a:gd name="connsiteX1917" fmla="*/ 1493514 w 4546203"/>
              <a:gd name="connsiteY1917" fmla="*/ 698804 h 5092591"/>
              <a:gd name="connsiteX1918" fmla="*/ 1530523 w 4546203"/>
              <a:gd name="connsiteY1918" fmla="*/ 785955 h 5092591"/>
              <a:gd name="connsiteX1919" fmla="*/ 1575094 w 4546203"/>
              <a:gd name="connsiteY1919" fmla="*/ 767251 h 5092591"/>
              <a:gd name="connsiteX1920" fmla="*/ 1540870 w 4546203"/>
              <a:gd name="connsiteY1920" fmla="*/ 680100 h 5092591"/>
              <a:gd name="connsiteX1921" fmla="*/ 1468841 w 4546203"/>
              <a:gd name="connsiteY1921" fmla="*/ 662590 h 5092591"/>
              <a:gd name="connsiteX1922" fmla="*/ 1421882 w 4546203"/>
              <a:gd name="connsiteY1922" fmla="*/ 684079 h 5092591"/>
              <a:gd name="connsiteX1923" fmla="*/ 1436607 w 4546203"/>
              <a:gd name="connsiteY1923" fmla="*/ 715916 h 5092591"/>
              <a:gd name="connsiteX1924" fmla="*/ 1483167 w 4546203"/>
              <a:gd name="connsiteY1924" fmla="*/ 694824 h 5092591"/>
              <a:gd name="connsiteX1925" fmla="*/ 1468841 w 4546203"/>
              <a:gd name="connsiteY1925" fmla="*/ 662590 h 5092591"/>
              <a:gd name="connsiteX1926" fmla="*/ 1596185 w 4546203"/>
              <a:gd name="connsiteY1926" fmla="*/ 659008 h 5092591"/>
              <a:gd name="connsiteX1927" fmla="*/ 1548829 w 4546203"/>
              <a:gd name="connsiteY1927" fmla="*/ 676916 h 5092591"/>
              <a:gd name="connsiteX1928" fmla="*/ 1582655 w 4546203"/>
              <a:gd name="connsiteY1928" fmla="*/ 764864 h 5092591"/>
              <a:gd name="connsiteX1929" fmla="*/ 1628021 w 4546203"/>
              <a:gd name="connsiteY1929" fmla="*/ 747354 h 5092591"/>
              <a:gd name="connsiteX1930" fmla="*/ 1596185 w 4546203"/>
              <a:gd name="connsiteY1930" fmla="*/ 659008 h 5092591"/>
              <a:gd name="connsiteX1931" fmla="*/ 2911018 w 4546203"/>
              <a:gd name="connsiteY1931" fmla="*/ 654233 h 5092591"/>
              <a:gd name="connsiteX1932" fmla="*/ 2897090 w 4546203"/>
              <a:gd name="connsiteY1932" fmla="*/ 696814 h 5092591"/>
              <a:gd name="connsiteX1933" fmla="*/ 2981058 w 4546203"/>
              <a:gd name="connsiteY1933" fmla="*/ 727854 h 5092591"/>
              <a:gd name="connsiteX1934" fmla="*/ 2997374 w 4546203"/>
              <a:gd name="connsiteY1934" fmla="*/ 685671 h 5092591"/>
              <a:gd name="connsiteX1935" fmla="*/ 2911018 w 4546203"/>
              <a:gd name="connsiteY1935" fmla="*/ 654233 h 5092591"/>
              <a:gd name="connsiteX1936" fmla="*/ 2191123 w 4546203"/>
              <a:gd name="connsiteY1936" fmla="*/ 646672 h 5092591"/>
              <a:gd name="connsiteX1937" fmla="*/ 2124268 w 4546203"/>
              <a:gd name="connsiteY1937" fmla="*/ 649856 h 5092591"/>
              <a:gd name="connsiteX1938" fmla="*/ 2128645 w 4546203"/>
              <a:gd name="connsiteY1938" fmla="*/ 713528 h 5092591"/>
              <a:gd name="connsiteX1939" fmla="*/ 2191123 w 4546203"/>
              <a:gd name="connsiteY1939" fmla="*/ 709946 h 5092591"/>
              <a:gd name="connsiteX1940" fmla="*/ 2191123 w 4546203"/>
              <a:gd name="connsiteY1940" fmla="*/ 646672 h 5092591"/>
              <a:gd name="connsiteX1941" fmla="*/ 2315682 w 4546203"/>
              <a:gd name="connsiteY1941" fmla="*/ 645080 h 5092591"/>
              <a:gd name="connsiteX1942" fmla="*/ 2315682 w 4546203"/>
              <a:gd name="connsiteY1942" fmla="*/ 708752 h 5092591"/>
              <a:gd name="connsiteX1943" fmla="*/ 2378161 w 4546203"/>
              <a:gd name="connsiteY1943" fmla="*/ 711538 h 5092591"/>
              <a:gd name="connsiteX1944" fmla="*/ 2381742 w 4546203"/>
              <a:gd name="connsiteY1944" fmla="*/ 647866 h 5092591"/>
              <a:gd name="connsiteX1945" fmla="*/ 2315682 w 4546203"/>
              <a:gd name="connsiteY1945" fmla="*/ 645080 h 5092591"/>
              <a:gd name="connsiteX1946" fmla="*/ 3060648 w 4546203"/>
              <a:gd name="connsiteY1946" fmla="*/ 640703 h 5092591"/>
              <a:gd name="connsiteX1947" fmla="*/ 3043138 w 4546203"/>
              <a:gd name="connsiteY1947" fmla="*/ 682090 h 5092591"/>
              <a:gd name="connsiteX1948" fmla="*/ 3127902 w 4546203"/>
              <a:gd name="connsiteY1948" fmla="*/ 719895 h 5092591"/>
              <a:gd name="connsiteX1949" fmla="*/ 3147004 w 4546203"/>
              <a:gd name="connsiteY1949" fmla="*/ 678906 h 5092591"/>
              <a:gd name="connsiteX1950" fmla="*/ 3060648 w 4546203"/>
              <a:gd name="connsiteY1950" fmla="*/ 640703 h 5092591"/>
              <a:gd name="connsiteX1951" fmla="*/ 1651899 w 4546203"/>
              <a:gd name="connsiteY1951" fmla="*/ 640305 h 5092591"/>
              <a:gd name="connsiteX1952" fmla="*/ 1604144 w 4546203"/>
              <a:gd name="connsiteY1952" fmla="*/ 656621 h 5092591"/>
              <a:gd name="connsiteX1953" fmla="*/ 1635583 w 4546203"/>
              <a:gd name="connsiteY1953" fmla="*/ 745364 h 5092591"/>
              <a:gd name="connsiteX1954" fmla="*/ 1681347 w 4546203"/>
              <a:gd name="connsiteY1954" fmla="*/ 729844 h 5092591"/>
              <a:gd name="connsiteX1955" fmla="*/ 1651899 w 4546203"/>
              <a:gd name="connsiteY1955" fmla="*/ 640305 h 5092591"/>
              <a:gd name="connsiteX1956" fmla="*/ 1524554 w 4546203"/>
              <a:gd name="connsiteY1956" fmla="*/ 639907 h 5092591"/>
              <a:gd name="connsiteX1957" fmla="*/ 1477198 w 4546203"/>
              <a:gd name="connsiteY1957" fmla="*/ 659804 h 5092591"/>
              <a:gd name="connsiteX1958" fmla="*/ 1491126 w 4546203"/>
              <a:gd name="connsiteY1958" fmla="*/ 691641 h 5092591"/>
              <a:gd name="connsiteX1959" fmla="*/ 1538482 w 4546203"/>
              <a:gd name="connsiteY1959" fmla="*/ 672539 h 5092591"/>
              <a:gd name="connsiteX1960" fmla="*/ 1524554 w 4546203"/>
              <a:gd name="connsiteY1960" fmla="*/ 639907 h 5092591"/>
              <a:gd name="connsiteX1961" fmla="*/ 1580665 w 4546203"/>
              <a:gd name="connsiteY1961" fmla="*/ 618019 h 5092591"/>
              <a:gd name="connsiteX1962" fmla="*/ 1532911 w 4546203"/>
              <a:gd name="connsiteY1962" fmla="*/ 636325 h 5092591"/>
              <a:gd name="connsiteX1963" fmla="*/ 1545645 w 4546203"/>
              <a:gd name="connsiteY1963" fmla="*/ 669355 h 5092591"/>
              <a:gd name="connsiteX1964" fmla="*/ 1593798 w 4546203"/>
              <a:gd name="connsiteY1964" fmla="*/ 651049 h 5092591"/>
              <a:gd name="connsiteX1965" fmla="*/ 1580665 w 4546203"/>
              <a:gd name="connsiteY1965" fmla="*/ 618019 h 5092591"/>
              <a:gd name="connsiteX1966" fmla="*/ 2784470 w 4546203"/>
              <a:gd name="connsiteY1966" fmla="*/ 616030 h 5092591"/>
              <a:gd name="connsiteX1967" fmla="*/ 2772531 w 4546203"/>
              <a:gd name="connsiteY1967" fmla="*/ 659008 h 5092591"/>
              <a:gd name="connsiteX1968" fmla="*/ 2858887 w 4546203"/>
              <a:gd name="connsiteY1968" fmla="*/ 684079 h 5092591"/>
              <a:gd name="connsiteX1969" fmla="*/ 2872417 w 4546203"/>
              <a:gd name="connsiteY1969" fmla="*/ 641499 h 5092591"/>
              <a:gd name="connsiteX1970" fmla="*/ 2784470 w 4546203"/>
              <a:gd name="connsiteY1970" fmla="*/ 616030 h 5092591"/>
              <a:gd name="connsiteX1971" fmla="*/ 1445759 w 4546203"/>
              <a:gd name="connsiteY1971" fmla="*/ 608071 h 5092591"/>
              <a:gd name="connsiteX1972" fmla="*/ 1396811 w 4546203"/>
              <a:gd name="connsiteY1972" fmla="*/ 630356 h 5092591"/>
              <a:gd name="connsiteX1973" fmla="*/ 1414321 w 4546203"/>
              <a:gd name="connsiteY1973" fmla="*/ 666172 h 5092591"/>
              <a:gd name="connsiteX1974" fmla="*/ 1461677 w 4546203"/>
              <a:gd name="connsiteY1974" fmla="*/ 645080 h 5092591"/>
              <a:gd name="connsiteX1975" fmla="*/ 1445759 w 4546203"/>
              <a:gd name="connsiteY1975" fmla="*/ 608071 h 5092591"/>
              <a:gd name="connsiteX1976" fmla="*/ 1639164 w 4546203"/>
              <a:gd name="connsiteY1976" fmla="*/ 598918 h 5092591"/>
              <a:gd name="connsiteX1977" fmla="*/ 1590216 w 4546203"/>
              <a:gd name="connsiteY1977" fmla="*/ 616030 h 5092591"/>
              <a:gd name="connsiteX1978" fmla="*/ 1602552 w 4546203"/>
              <a:gd name="connsiteY1978" fmla="*/ 649060 h 5092591"/>
              <a:gd name="connsiteX1979" fmla="*/ 1650307 w 4546203"/>
              <a:gd name="connsiteY1979" fmla="*/ 632744 h 5092591"/>
              <a:gd name="connsiteX1980" fmla="*/ 1639164 w 4546203"/>
              <a:gd name="connsiteY1980" fmla="*/ 598918 h 5092591"/>
              <a:gd name="connsiteX1981" fmla="*/ 2932110 w 4546203"/>
              <a:gd name="connsiteY1981" fmla="*/ 592551 h 5092591"/>
              <a:gd name="connsiteX1982" fmla="*/ 2917386 w 4546203"/>
              <a:gd name="connsiteY1982" fmla="*/ 635131 h 5092591"/>
              <a:gd name="connsiteX1983" fmla="*/ 3004935 w 4546203"/>
              <a:gd name="connsiteY1983" fmla="*/ 666968 h 5092591"/>
              <a:gd name="connsiteX1984" fmla="*/ 3020853 w 4546203"/>
              <a:gd name="connsiteY1984" fmla="*/ 625183 h 5092591"/>
              <a:gd name="connsiteX1985" fmla="*/ 2932110 w 4546203"/>
              <a:gd name="connsiteY1985" fmla="*/ 592551 h 5092591"/>
              <a:gd name="connsiteX1986" fmla="*/ 2654737 w 4546203"/>
              <a:gd name="connsiteY1986" fmla="*/ 586581 h 5092591"/>
              <a:gd name="connsiteX1987" fmla="*/ 2646778 w 4546203"/>
              <a:gd name="connsiteY1987" fmla="*/ 630754 h 5092591"/>
              <a:gd name="connsiteX1988" fmla="*/ 2733930 w 4546203"/>
              <a:gd name="connsiteY1988" fmla="*/ 649856 h 5092591"/>
              <a:gd name="connsiteX1989" fmla="*/ 2744675 w 4546203"/>
              <a:gd name="connsiteY1989" fmla="*/ 606081 h 5092591"/>
              <a:gd name="connsiteX1990" fmla="*/ 2654737 w 4546203"/>
              <a:gd name="connsiteY1990" fmla="*/ 586581 h 5092591"/>
              <a:gd name="connsiteX1991" fmla="*/ 1503860 w 4546203"/>
              <a:gd name="connsiteY1991" fmla="*/ 584989 h 5092591"/>
              <a:gd name="connsiteX1992" fmla="*/ 1454514 w 4546203"/>
              <a:gd name="connsiteY1992" fmla="*/ 605285 h 5092591"/>
              <a:gd name="connsiteX1993" fmla="*/ 1470034 w 4546203"/>
              <a:gd name="connsiteY1993" fmla="*/ 642295 h 5092591"/>
              <a:gd name="connsiteX1994" fmla="*/ 1518585 w 4546203"/>
              <a:gd name="connsiteY1994" fmla="*/ 622397 h 5092591"/>
              <a:gd name="connsiteX1995" fmla="*/ 1503860 w 4546203"/>
              <a:gd name="connsiteY1995" fmla="*/ 584989 h 5092591"/>
              <a:gd name="connsiteX1996" fmla="*/ 1696469 w 4546203"/>
              <a:gd name="connsiteY1996" fmla="*/ 581010 h 5092591"/>
              <a:gd name="connsiteX1997" fmla="*/ 1647123 w 4546203"/>
              <a:gd name="connsiteY1997" fmla="*/ 596132 h 5092591"/>
              <a:gd name="connsiteX1998" fmla="*/ 1658266 w 4546203"/>
              <a:gd name="connsiteY1998" fmla="*/ 629560 h 5092591"/>
              <a:gd name="connsiteX1999" fmla="*/ 1706816 w 4546203"/>
              <a:gd name="connsiteY1999" fmla="*/ 614836 h 5092591"/>
              <a:gd name="connsiteX2000" fmla="*/ 1696469 w 4546203"/>
              <a:gd name="connsiteY2000" fmla="*/ 581010 h 5092591"/>
              <a:gd name="connsiteX2001" fmla="*/ 1561563 w 4546203"/>
              <a:gd name="connsiteY2001" fmla="*/ 563102 h 5092591"/>
              <a:gd name="connsiteX2002" fmla="*/ 1511819 w 4546203"/>
              <a:gd name="connsiteY2002" fmla="*/ 582602 h 5092591"/>
              <a:gd name="connsiteX2003" fmla="*/ 1526942 w 4546203"/>
              <a:gd name="connsiteY2003" fmla="*/ 619611 h 5092591"/>
              <a:gd name="connsiteX2004" fmla="*/ 1575492 w 4546203"/>
              <a:gd name="connsiteY2004" fmla="*/ 600907 h 5092591"/>
              <a:gd name="connsiteX2005" fmla="*/ 1561563 w 4546203"/>
              <a:gd name="connsiteY2005" fmla="*/ 563102 h 5092591"/>
              <a:gd name="connsiteX2006" fmla="*/ 2418354 w 4546203"/>
              <a:gd name="connsiteY2006" fmla="*/ 557929 h 5092591"/>
              <a:gd name="connsiteX2007" fmla="*/ 2413977 w 4546203"/>
              <a:gd name="connsiteY2007" fmla="*/ 621203 h 5092591"/>
              <a:gd name="connsiteX2008" fmla="*/ 2480832 w 4546203"/>
              <a:gd name="connsiteY2008" fmla="*/ 627570 h 5092591"/>
              <a:gd name="connsiteX2009" fmla="*/ 2487200 w 4546203"/>
              <a:gd name="connsiteY2009" fmla="*/ 563898 h 5092591"/>
              <a:gd name="connsiteX2010" fmla="*/ 2418354 w 4546203"/>
              <a:gd name="connsiteY2010" fmla="*/ 557929 h 5092591"/>
              <a:gd name="connsiteX2011" fmla="*/ 2219378 w 4546203"/>
              <a:gd name="connsiteY2011" fmla="*/ 553551 h 5092591"/>
              <a:gd name="connsiteX2012" fmla="*/ 2219378 w 4546203"/>
              <a:gd name="connsiteY2012" fmla="*/ 614836 h 5092591"/>
              <a:gd name="connsiteX2013" fmla="*/ 2284642 w 4546203"/>
              <a:gd name="connsiteY2013" fmla="*/ 614836 h 5092591"/>
              <a:gd name="connsiteX2014" fmla="*/ 2284642 w 4546203"/>
              <a:gd name="connsiteY2014" fmla="*/ 553551 h 5092591"/>
              <a:gd name="connsiteX2015" fmla="*/ 2219378 w 4546203"/>
              <a:gd name="connsiteY2015" fmla="*/ 553551 h 5092591"/>
              <a:gd name="connsiteX2016" fmla="*/ 2318070 w 4546203"/>
              <a:gd name="connsiteY2016" fmla="*/ 552755 h 5092591"/>
              <a:gd name="connsiteX2017" fmla="*/ 2317672 w 4546203"/>
              <a:gd name="connsiteY2017" fmla="*/ 616030 h 5092591"/>
              <a:gd name="connsiteX2018" fmla="*/ 2383732 w 4546203"/>
              <a:gd name="connsiteY2018" fmla="*/ 619611 h 5092591"/>
              <a:gd name="connsiteX2019" fmla="*/ 2386916 w 4546203"/>
              <a:gd name="connsiteY2019" fmla="*/ 555939 h 5092591"/>
              <a:gd name="connsiteX2020" fmla="*/ 2318070 w 4546203"/>
              <a:gd name="connsiteY2020" fmla="*/ 552755 h 5092591"/>
              <a:gd name="connsiteX2021" fmla="*/ 1621256 w 4546203"/>
              <a:gd name="connsiteY2021" fmla="*/ 542807 h 5092591"/>
              <a:gd name="connsiteX2022" fmla="*/ 1570716 w 4546203"/>
              <a:gd name="connsiteY2022" fmla="*/ 560316 h 5092591"/>
              <a:gd name="connsiteX2023" fmla="*/ 1584247 w 4546203"/>
              <a:gd name="connsiteY2023" fmla="*/ 598122 h 5092591"/>
              <a:gd name="connsiteX2024" fmla="*/ 1633593 w 4546203"/>
              <a:gd name="connsiteY2024" fmla="*/ 581010 h 5092591"/>
              <a:gd name="connsiteX2025" fmla="*/ 1621256 w 4546203"/>
              <a:gd name="connsiteY2025" fmla="*/ 542807 h 5092591"/>
              <a:gd name="connsiteX2026" fmla="*/ 1680153 w 4546203"/>
              <a:gd name="connsiteY2026" fmla="*/ 524899 h 5092591"/>
              <a:gd name="connsiteX2027" fmla="*/ 1629215 w 4546203"/>
              <a:gd name="connsiteY2027" fmla="*/ 540021 h 5092591"/>
              <a:gd name="connsiteX2028" fmla="*/ 1641950 w 4546203"/>
              <a:gd name="connsiteY2028" fmla="*/ 578622 h 5092591"/>
              <a:gd name="connsiteX2029" fmla="*/ 1691694 w 4546203"/>
              <a:gd name="connsiteY2029" fmla="*/ 563102 h 5092591"/>
              <a:gd name="connsiteX2030" fmla="*/ 1680153 w 4546203"/>
              <a:gd name="connsiteY2030" fmla="*/ 524899 h 5092591"/>
              <a:gd name="connsiteX2031" fmla="*/ 2667472 w 4546203"/>
              <a:gd name="connsiteY2031" fmla="*/ 522113 h 5092591"/>
              <a:gd name="connsiteX2032" fmla="*/ 2659115 w 4546203"/>
              <a:gd name="connsiteY2032" fmla="*/ 566286 h 5092591"/>
              <a:gd name="connsiteX2033" fmla="*/ 2749450 w 4546203"/>
              <a:gd name="connsiteY2033" fmla="*/ 586183 h 5092591"/>
              <a:gd name="connsiteX2034" fmla="*/ 2760195 w 4546203"/>
              <a:gd name="connsiteY2034" fmla="*/ 542409 h 5092591"/>
              <a:gd name="connsiteX2035" fmla="*/ 2667472 w 4546203"/>
              <a:gd name="connsiteY2035" fmla="*/ 522113 h 5092591"/>
              <a:gd name="connsiteX2036" fmla="*/ 2425119 w 4546203"/>
              <a:gd name="connsiteY2036" fmla="*/ 465604 h 5092591"/>
              <a:gd name="connsiteX2037" fmla="*/ 2420742 w 4546203"/>
              <a:gd name="connsiteY2037" fmla="*/ 529276 h 5092591"/>
              <a:gd name="connsiteX2038" fmla="*/ 2490781 w 4546203"/>
              <a:gd name="connsiteY2038" fmla="*/ 535643 h 5092591"/>
              <a:gd name="connsiteX2039" fmla="*/ 2497148 w 4546203"/>
              <a:gd name="connsiteY2039" fmla="*/ 472369 h 5092591"/>
              <a:gd name="connsiteX2040" fmla="*/ 2425119 w 4546203"/>
              <a:gd name="connsiteY2040" fmla="*/ 465604 h 5092591"/>
              <a:gd name="connsiteX2041" fmla="*/ 2320060 w 4546203"/>
              <a:gd name="connsiteY2041" fmla="*/ 462818 h 5092591"/>
              <a:gd name="connsiteX2042" fmla="*/ 2319662 w 4546203"/>
              <a:gd name="connsiteY2042" fmla="*/ 523705 h 5092591"/>
              <a:gd name="connsiteX2043" fmla="*/ 2388508 w 4546203"/>
              <a:gd name="connsiteY2043" fmla="*/ 527286 h 5092591"/>
              <a:gd name="connsiteX2044" fmla="*/ 2392487 w 4546203"/>
              <a:gd name="connsiteY2044" fmla="*/ 462818 h 5092591"/>
              <a:gd name="connsiteX2045" fmla="*/ 2320060 w 4546203"/>
              <a:gd name="connsiteY2045" fmla="*/ 462818 h 5092591"/>
              <a:gd name="connsiteX2046" fmla="*/ 2181971 w 4546203"/>
              <a:gd name="connsiteY2046" fmla="*/ 461226 h 5092591"/>
              <a:gd name="connsiteX2047" fmla="*/ 2110339 w 4546203"/>
              <a:gd name="connsiteY2047" fmla="*/ 466002 h 5092591"/>
              <a:gd name="connsiteX2048" fmla="*/ 2115115 w 4546203"/>
              <a:gd name="connsiteY2048" fmla="*/ 528878 h 5092591"/>
              <a:gd name="connsiteX2049" fmla="*/ 2185950 w 4546203"/>
              <a:gd name="connsiteY2049" fmla="*/ 524899 h 5092591"/>
              <a:gd name="connsiteX2050" fmla="*/ 2181971 w 4546203"/>
              <a:gd name="connsiteY2050" fmla="*/ 461226 h 5092591"/>
              <a:gd name="connsiteX2051" fmla="*/ 1608523 w 4546203"/>
              <a:gd name="connsiteY2051" fmla="*/ 448890 h 5092591"/>
              <a:gd name="connsiteX2052" fmla="*/ 1620859 w 4546203"/>
              <a:gd name="connsiteY2052" fmla="*/ 481522 h 5092591"/>
              <a:gd name="connsiteX2053" fmla="*/ 1651900 w 4546203"/>
              <a:gd name="connsiteY2053" fmla="*/ 475155 h 5092591"/>
              <a:gd name="connsiteX2054" fmla="*/ 1658267 w 4546203"/>
              <a:gd name="connsiteY2054" fmla="*/ 498635 h 5092591"/>
              <a:gd name="connsiteX2055" fmla="*/ 1403576 w 4546203"/>
              <a:gd name="connsiteY2055" fmla="*/ 592950 h 5092591"/>
              <a:gd name="connsiteX2056" fmla="*/ 1391240 w 4546203"/>
              <a:gd name="connsiteY2056" fmla="*/ 566685 h 5092591"/>
              <a:gd name="connsiteX2057" fmla="*/ 1432627 w 4546203"/>
              <a:gd name="connsiteY2057" fmla="*/ 560318 h 5092591"/>
              <a:gd name="connsiteX2058" fmla="*/ 1445759 w 4546203"/>
              <a:gd name="connsiteY2058" fmla="*/ 556338 h 5092591"/>
              <a:gd name="connsiteX2059" fmla="*/ 1608125 w 4546203"/>
              <a:gd name="connsiteY2059" fmla="*/ 496247 h 5092591"/>
              <a:gd name="connsiteX2060" fmla="*/ 1622451 w 4546203"/>
              <a:gd name="connsiteY2060" fmla="*/ 489879 h 5092591"/>
              <a:gd name="connsiteX2061" fmla="*/ 1619267 w 4546203"/>
              <a:gd name="connsiteY2061" fmla="*/ 482318 h 5092591"/>
              <a:gd name="connsiteX2062" fmla="*/ 1427056 w 4546203"/>
              <a:gd name="connsiteY2062" fmla="*/ 552359 h 5092591"/>
              <a:gd name="connsiteX2063" fmla="*/ 1413525 w 4546203"/>
              <a:gd name="connsiteY2063" fmla="*/ 520920 h 5092591"/>
              <a:gd name="connsiteX2064" fmla="*/ 1608523 w 4546203"/>
              <a:gd name="connsiteY2064" fmla="*/ 448890 h 5092591"/>
              <a:gd name="connsiteX2065" fmla="*/ 2322448 w 4546203"/>
              <a:gd name="connsiteY2065" fmla="*/ 370891 h 5092591"/>
              <a:gd name="connsiteX2066" fmla="*/ 2322845 w 4546203"/>
              <a:gd name="connsiteY2066" fmla="*/ 432574 h 5092591"/>
              <a:gd name="connsiteX2067" fmla="*/ 2394875 w 4546203"/>
              <a:gd name="connsiteY2067" fmla="*/ 432574 h 5092591"/>
              <a:gd name="connsiteX2068" fmla="*/ 2398058 w 4546203"/>
              <a:gd name="connsiteY2068" fmla="*/ 370891 h 5092591"/>
              <a:gd name="connsiteX2069" fmla="*/ 2322448 w 4546203"/>
              <a:gd name="connsiteY2069" fmla="*/ 370891 h 5092591"/>
              <a:gd name="connsiteX2070" fmla="*/ 2215398 w 4546203"/>
              <a:gd name="connsiteY2070" fmla="*/ 369697 h 5092591"/>
              <a:gd name="connsiteX2071" fmla="*/ 2215398 w 4546203"/>
              <a:gd name="connsiteY2071" fmla="*/ 430982 h 5092591"/>
              <a:gd name="connsiteX2072" fmla="*/ 2287428 w 4546203"/>
              <a:gd name="connsiteY2072" fmla="*/ 430982 h 5092591"/>
              <a:gd name="connsiteX2073" fmla="*/ 2287428 w 4546203"/>
              <a:gd name="connsiteY2073" fmla="*/ 369697 h 5092591"/>
              <a:gd name="connsiteX2074" fmla="*/ 2215398 w 4546203"/>
              <a:gd name="connsiteY2074" fmla="*/ 369697 h 5092591"/>
              <a:gd name="connsiteX2075" fmla="*/ 2178787 w 4546203"/>
              <a:gd name="connsiteY2075" fmla="*/ 369299 h 5092591"/>
              <a:gd name="connsiteX2076" fmla="*/ 2103176 w 4546203"/>
              <a:gd name="connsiteY2076" fmla="*/ 374075 h 5092591"/>
              <a:gd name="connsiteX2077" fmla="*/ 2108350 w 4546203"/>
              <a:gd name="connsiteY2077" fmla="*/ 437747 h 5092591"/>
              <a:gd name="connsiteX2078" fmla="*/ 2182368 w 4546203"/>
              <a:gd name="connsiteY2078" fmla="*/ 432574 h 5092591"/>
              <a:gd name="connsiteX2079" fmla="*/ 2178787 w 4546203"/>
              <a:gd name="connsiteY2079" fmla="*/ 369299 h 5092591"/>
              <a:gd name="connsiteX2080" fmla="*/ 2438650 w 4546203"/>
              <a:gd name="connsiteY2080" fmla="*/ 281352 h 5092591"/>
              <a:gd name="connsiteX2081" fmla="*/ 2433874 w 4546203"/>
              <a:gd name="connsiteY2081" fmla="*/ 345024 h 5092591"/>
              <a:gd name="connsiteX2082" fmla="*/ 2510281 w 4546203"/>
              <a:gd name="connsiteY2082" fmla="*/ 351790 h 5092591"/>
              <a:gd name="connsiteX2083" fmla="*/ 2517444 w 4546203"/>
              <a:gd name="connsiteY2083" fmla="*/ 288515 h 5092591"/>
              <a:gd name="connsiteX2084" fmla="*/ 2438650 w 4546203"/>
              <a:gd name="connsiteY2084" fmla="*/ 281352 h 5092591"/>
              <a:gd name="connsiteX2085" fmla="*/ 2212215 w 4546203"/>
              <a:gd name="connsiteY2085" fmla="*/ 276975 h 5092591"/>
              <a:gd name="connsiteX2086" fmla="*/ 2212215 w 4546203"/>
              <a:gd name="connsiteY2086" fmla="*/ 337463 h 5092591"/>
              <a:gd name="connsiteX2087" fmla="*/ 2288622 w 4546203"/>
              <a:gd name="connsiteY2087" fmla="*/ 337463 h 5092591"/>
              <a:gd name="connsiteX2088" fmla="*/ 2288622 w 4546203"/>
              <a:gd name="connsiteY2088" fmla="*/ 276975 h 5092591"/>
              <a:gd name="connsiteX2089" fmla="*/ 2212215 w 4546203"/>
              <a:gd name="connsiteY2089" fmla="*/ 276975 h 5092591"/>
              <a:gd name="connsiteX2090" fmla="*/ 2445415 w 4546203"/>
              <a:gd name="connsiteY2090" fmla="*/ 189425 h 5092591"/>
              <a:gd name="connsiteX2091" fmla="*/ 2440639 w 4546203"/>
              <a:gd name="connsiteY2091" fmla="*/ 252700 h 5092591"/>
              <a:gd name="connsiteX2092" fmla="*/ 2520230 w 4546203"/>
              <a:gd name="connsiteY2092" fmla="*/ 259863 h 5092591"/>
              <a:gd name="connsiteX2093" fmla="*/ 2526995 w 4546203"/>
              <a:gd name="connsiteY2093" fmla="*/ 196588 h 5092591"/>
              <a:gd name="connsiteX2094" fmla="*/ 2445415 w 4546203"/>
              <a:gd name="connsiteY2094" fmla="*/ 189425 h 5092591"/>
              <a:gd name="connsiteX2095" fmla="*/ 2170828 w 4546203"/>
              <a:gd name="connsiteY2095" fmla="*/ 184650 h 5092591"/>
              <a:gd name="connsiteX2096" fmla="*/ 2089248 w 4546203"/>
              <a:gd name="connsiteY2096" fmla="*/ 189823 h 5092591"/>
              <a:gd name="connsiteX2097" fmla="*/ 2094421 w 4546203"/>
              <a:gd name="connsiteY2097" fmla="*/ 253097 h 5092591"/>
              <a:gd name="connsiteX2098" fmla="*/ 2174409 w 4546203"/>
              <a:gd name="connsiteY2098" fmla="*/ 248322 h 5092591"/>
              <a:gd name="connsiteX2099" fmla="*/ 2170828 w 4546203"/>
              <a:gd name="connsiteY2099" fmla="*/ 184650 h 5092591"/>
              <a:gd name="connsiteX2100" fmla="*/ 2210225 w 4546203"/>
              <a:gd name="connsiteY2100" fmla="*/ 184252 h 5092591"/>
              <a:gd name="connsiteX2101" fmla="*/ 2210225 w 4546203"/>
              <a:gd name="connsiteY2101" fmla="*/ 245536 h 5092591"/>
              <a:gd name="connsiteX2102" fmla="*/ 2289020 w 4546203"/>
              <a:gd name="connsiteY2102" fmla="*/ 245536 h 5092591"/>
              <a:gd name="connsiteX2103" fmla="*/ 2289020 w 4546203"/>
              <a:gd name="connsiteY2103" fmla="*/ 184252 h 5092591"/>
              <a:gd name="connsiteX2104" fmla="*/ 2210225 w 4546203"/>
              <a:gd name="connsiteY2104" fmla="*/ 184252 h 5092591"/>
              <a:gd name="connsiteX2105" fmla="*/ 2175205 w 4546203"/>
              <a:gd name="connsiteY2105" fmla="*/ 0 h 5092591"/>
              <a:gd name="connsiteX2106" fmla="*/ 2282652 w 4546203"/>
              <a:gd name="connsiteY2106" fmla="*/ 0 h 5092591"/>
              <a:gd name="connsiteX2107" fmla="*/ 2282652 w 4546203"/>
              <a:gd name="connsiteY2107" fmla="*/ 33030 h 5092591"/>
              <a:gd name="connsiteX2108" fmla="*/ 2342345 w 4546203"/>
              <a:gd name="connsiteY2108" fmla="*/ 33030 h 5092591"/>
              <a:gd name="connsiteX2109" fmla="*/ 2342345 w 4546203"/>
              <a:gd name="connsiteY2109" fmla="*/ 0 h 5092591"/>
              <a:gd name="connsiteX2110" fmla="*/ 2366222 w 4546203"/>
              <a:gd name="connsiteY2110" fmla="*/ 0 h 5092591"/>
              <a:gd name="connsiteX2111" fmla="*/ 2411589 w 4546203"/>
              <a:gd name="connsiteY2111" fmla="*/ 3980 h 5092591"/>
              <a:gd name="connsiteX2112" fmla="*/ 2530179 w 4546203"/>
              <a:gd name="connsiteY2112" fmla="*/ 12734 h 5092591"/>
              <a:gd name="connsiteX2113" fmla="*/ 2530179 w 4546203"/>
              <a:gd name="connsiteY2113" fmla="*/ 45367 h 5092591"/>
              <a:gd name="connsiteX2114" fmla="*/ 2545301 w 4546203"/>
              <a:gd name="connsiteY2114" fmla="*/ 50142 h 5092591"/>
              <a:gd name="connsiteX2115" fmla="*/ 2538535 w 4546203"/>
              <a:gd name="connsiteY2115" fmla="*/ 118590 h 5092591"/>
              <a:gd name="connsiteX2116" fmla="*/ 2571168 w 4546203"/>
              <a:gd name="connsiteY2116" fmla="*/ 125355 h 5092591"/>
              <a:gd name="connsiteX2117" fmla="*/ 2483618 w 4546203"/>
              <a:gd name="connsiteY2117" fmla="*/ 837689 h 5092591"/>
              <a:gd name="connsiteX2118" fmla="*/ 2567188 w 4546203"/>
              <a:gd name="connsiteY2118" fmla="*/ 849627 h 5092591"/>
              <a:gd name="connsiteX2119" fmla="*/ 2632054 w 4546203"/>
              <a:gd name="connsiteY2119" fmla="*/ 476746 h 5092591"/>
              <a:gd name="connsiteX2120" fmla="*/ 2664686 w 4546203"/>
              <a:gd name="connsiteY2120" fmla="*/ 480726 h 5092591"/>
              <a:gd name="connsiteX2121" fmla="*/ 2675033 w 4546203"/>
              <a:gd name="connsiteY2121" fmla="*/ 432972 h 5092591"/>
              <a:gd name="connsiteX2122" fmla="*/ 2706869 w 4546203"/>
              <a:gd name="connsiteY2122" fmla="*/ 437747 h 5092591"/>
              <a:gd name="connsiteX2123" fmla="*/ 2715624 w 4546203"/>
              <a:gd name="connsiteY2123" fmla="*/ 414666 h 5092591"/>
              <a:gd name="connsiteX2124" fmla="*/ 2904651 w 4546203"/>
              <a:gd name="connsiteY2124" fmla="*/ 463216 h 5092591"/>
              <a:gd name="connsiteX2125" fmla="*/ 2899478 w 4546203"/>
              <a:gd name="connsiteY2125" fmla="*/ 487491 h 5092591"/>
              <a:gd name="connsiteX2126" fmla="*/ 2976680 w 4546203"/>
              <a:gd name="connsiteY2126" fmla="*/ 512562 h 5092591"/>
              <a:gd name="connsiteX2127" fmla="*/ 2988221 w 4546203"/>
              <a:gd name="connsiteY2127" fmla="*/ 490675 h 5092591"/>
              <a:gd name="connsiteX2128" fmla="*/ 3170085 w 4546203"/>
              <a:gd name="connsiteY2128" fmla="*/ 563500 h 5092591"/>
              <a:gd name="connsiteX2129" fmla="*/ 3161330 w 4546203"/>
              <a:gd name="connsiteY2129" fmla="*/ 585387 h 5092591"/>
              <a:gd name="connsiteX2130" fmla="*/ 3177248 w 4546203"/>
              <a:gd name="connsiteY2130" fmla="*/ 596132 h 5092591"/>
              <a:gd name="connsiteX2131" fmla="*/ 3157351 w 4546203"/>
              <a:gd name="connsiteY2131" fmla="*/ 640305 h 5092591"/>
              <a:gd name="connsiteX2132" fmla="*/ 3190779 w 4546203"/>
              <a:gd name="connsiteY2132" fmla="*/ 657815 h 5092591"/>
              <a:gd name="connsiteX2133" fmla="*/ 2948028 w 4546203"/>
              <a:gd name="connsiteY2133" fmla="*/ 1156051 h 5092591"/>
              <a:gd name="connsiteX2134" fmla="*/ 2962752 w 4546203"/>
              <a:gd name="connsiteY2134" fmla="*/ 1161224 h 5092591"/>
              <a:gd name="connsiteX2135" fmla="*/ 2892713 w 4546203"/>
              <a:gd name="connsiteY2135" fmla="*/ 1303293 h 5092591"/>
              <a:gd name="connsiteX2136" fmla="*/ 2900672 w 4546203"/>
              <a:gd name="connsiteY2136" fmla="*/ 1307272 h 5092591"/>
              <a:gd name="connsiteX2137" fmla="*/ 2971905 w 4546203"/>
              <a:gd name="connsiteY2137" fmla="*/ 1167989 h 5092591"/>
              <a:gd name="connsiteX2138" fmla="*/ 2980660 w 4546203"/>
              <a:gd name="connsiteY2138" fmla="*/ 1185897 h 5092591"/>
              <a:gd name="connsiteX2139" fmla="*/ 2913406 w 4546203"/>
              <a:gd name="connsiteY2139" fmla="*/ 1314037 h 5092591"/>
              <a:gd name="connsiteX2140" fmla="*/ 2961558 w 4546203"/>
              <a:gd name="connsiteY2140" fmla="*/ 1339506 h 5092591"/>
              <a:gd name="connsiteX2141" fmla="*/ 2977476 w 4546203"/>
              <a:gd name="connsiteY2141" fmla="*/ 1300905 h 5092591"/>
              <a:gd name="connsiteX2142" fmla="*/ 2979864 w 4546203"/>
              <a:gd name="connsiteY2142" fmla="*/ 1290558 h 5092591"/>
              <a:gd name="connsiteX2143" fmla="*/ 2965936 w 4546203"/>
              <a:gd name="connsiteY2143" fmla="*/ 1281007 h 5092591"/>
              <a:gd name="connsiteX2144" fmla="*/ 2979864 w 4546203"/>
              <a:gd name="connsiteY2144" fmla="*/ 1256334 h 5092591"/>
              <a:gd name="connsiteX2145" fmla="*/ 3003741 w 4546203"/>
              <a:gd name="connsiteY2145" fmla="*/ 1260712 h 5092591"/>
              <a:gd name="connsiteX2146" fmla="*/ 3005333 w 4546203"/>
              <a:gd name="connsiteY2146" fmla="*/ 1254345 h 5092591"/>
              <a:gd name="connsiteX2147" fmla="*/ 2979068 w 4546203"/>
              <a:gd name="connsiteY2147" fmla="*/ 1236835 h 5092591"/>
              <a:gd name="connsiteX2148" fmla="*/ 2994190 w 4546203"/>
              <a:gd name="connsiteY2148" fmla="*/ 1210172 h 5092591"/>
              <a:gd name="connsiteX2149" fmla="*/ 3013690 w 4546203"/>
              <a:gd name="connsiteY2149" fmla="*/ 1220519 h 5092591"/>
              <a:gd name="connsiteX2150" fmla="*/ 3025231 w 4546203"/>
              <a:gd name="connsiteY2150" fmla="*/ 1220121 h 5092591"/>
              <a:gd name="connsiteX2151" fmla="*/ 3018863 w 4546203"/>
              <a:gd name="connsiteY2151" fmla="*/ 1210172 h 5092591"/>
              <a:gd name="connsiteX2152" fmla="*/ 2991007 w 4546203"/>
              <a:gd name="connsiteY2152" fmla="*/ 1193856 h 5092591"/>
              <a:gd name="connsiteX2153" fmla="*/ 3006129 w 4546203"/>
              <a:gd name="connsiteY2153" fmla="*/ 1166397 h 5092591"/>
              <a:gd name="connsiteX2154" fmla="*/ 3035975 w 4546203"/>
              <a:gd name="connsiteY2154" fmla="*/ 1182315 h 5092591"/>
              <a:gd name="connsiteX2155" fmla="*/ 3047118 w 4546203"/>
              <a:gd name="connsiteY2155" fmla="*/ 1181121 h 5092591"/>
              <a:gd name="connsiteX2156" fmla="*/ 3041945 w 4546203"/>
              <a:gd name="connsiteY2156" fmla="*/ 1172366 h 5092591"/>
              <a:gd name="connsiteX2157" fmla="*/ 3002547 w 4546203"/>
              <a:gd name="connsiteY2157" fmla="*/ 1149683 h 5092591"/>
              <a:gd name="connsiteX2158" fmla="*/ 3017670 w 4546203"/>
              <a:gd name="connsiteY2158" fmla="*/ 1122622 h 5092591"/>
              <a:gd name="connsiteX2159" fmla="*/ 3055077 w 4546203"/>
              <a:gd name="connsiteY2159" fmla="*/ 1142918 h 5092591"/>
              <a:gd name="connsiteX2160" fmla="*/ 3068607 w 4546203"/>
              <a:gd name="connsiteY2160" fmla="*/ 1143316 h 5092591"/>
              <a:gd name="connsiteX2161" fmla="*/ 3060250 w 4546203"/>
              <a:gd name="connsiteY2161" fmla="*/ 1132173 h 5092591"/>
              <a:gd name="connsiteX2162" fmla="*/ 3013690 w 4546203"/>
              <a:gd name="connsiteY2162" fmla="*/ 1105909 h 5092591"/>
              <a:gd name="connsiteX2163" fmla="*/ 3028414 w 4546203"/>
              <a:gd name="connsiteY2163" fmla="*/ 1078450 h 5092591"/>
              <a:gd name="connsiteX2164" fmla="*/ 3062240 w 4546203"/>
              <a:gd name="connsiteY2164" fmla="*/ 1096358 h 5092591"/>
              <a:gd name="connsiteX2165" fmla="*/ 3091689 w 4546203"/>
              <a:gd name="connsiteY2165" fmla="*/ 1099143 h 5092591"/>
              <a:gd name="connsiteX2166" fmla="*/ 3024435 w 4546203"/>
              <a:gd name="connsiteY2166" fmla="*/ 1061736 h 5092591"/>
              <a:gd name="connsiteX2167" fmla="*/ 3039159 w 4546203"/>
              <a:gd name="connsiteY2167" fmla="*/ 1033879 h 5092591"/>
              <a:gd name="connsiteX2168" fmla="*/ 3097658 w 4546203"/>
              <a:gd name="connsiteY2168" fmla="*/ 1065317 h 5092591"/>
              <a:gd name="connsiteX2169" fmla="*/ 3112382 w 4546203"/>
              <a:gd name="connsiteY2169" fmla="*/ 1065715 h 5092591"/>
              <a:gd name="connsiteX2170" fmla="*/ 3103627 w 4546203"/>
              <a:gd name="connsiteY2170" fmla="*/ 1054971 h 5092591"/>
              <a:gd name="connsiteX2171" fmla="*/ 3035179 w 4546203"/>
              <a:gd name="connsiteY2171" fmla="*/ 1017165 h 5092591"/>
              <a:gd name="connsiteX2172" fmla="*/ 3049108 w 4546203"/>
              <a:gd name="connsiteY2172" fmla="*/ 989309 h 5092591"/>
              <a:gd name="connsiteX2173" fmla="*/ 3104025 w 4546203"/>
              <a:gd name="connsiteY2173" fmla="*/ 1017961 h 5092591"/>
              <a:gd name="connsiteX2174" fmla="*/ 3157749 w 4546203"/>
              <a:gd name="connsiteY2174" fmla="*/ 1032685 h 5092591"/>
              <a:gd name="connsiteX2175" fmla="*/ 3189187 w 4546203"/>
              <a:gd name="connsiteY2175" fmla="*/ 982145 h 5092591"/>
              <a:gd name="connsiteX2176" fmla="*/ 3308572 w 4546203"/>
              <a:gd name="connsiteY2176" fmla="*/ 1058552 h 5092591"/>
              <a:gd name="connsiteX2177" fmla="*/ 3463376 w 4546203"/>
              <a:gd name="connsiteY2177" fmla="*/ 837689 h 5092591"/>
              <a:gd name="connsiteX2178" fmla="*/ 3498793 w 4546203"/>
              <a:gd name="connsiteY2178" fmla="*/ 861566 h 5092591"/>
              <a:gd name="connsiteX2179" fmla="*/ 3526650 w 4546203"/>
              <a:gd name="connsiteY2179" fmla="*/ 825750 h 5092591"/>
              <a:gd name="connsiteX2180" fmla="*/ 3559680 w 4546203"/>
              <a:gd name="connsiteY2180" fmla="*/ 849230 h 5092591"/>
              <a:gd name="connsiteX2181" fmla="*/ 3579578 w 4546203"/>
              <a:gd name="connsiteY2181" fmla="*/ 827740 h 5092591"/>
              <a:gd name="connsiteX2182" fmla="*/ 3757462 w 4546203"/>
              <a:gd name="connsiteY2182" fmla="*/ 979758 h 5092591"/>
              <a:gd name="connsiteX2183" fmla="*/ 3737565 w 4546203"/>
              <a:gd name="connsiteY2183" fmla="*/ 1004431 h 5092591"/>
              <a:gd name="connsiteX2184" fmla="*/ 3764625 w 4546203"/>
              <a:gd name="connsiteY2184" fmla="*/ 1023930 h 5092591"/>
              <a:gd name="connsiteX2185" fmla="*/ 3729208 w 4546203"/>
              <a:gd name="connsiteY2185" fmla="*/ 1062930 h 5092591"/>
              <a:gd name="connsiteX2186" fmla="*/ 3762238 w 4546203"/>
              <a:gd name="connsiteY2186" fmla="*/ 1087205 h 5092591"/>
              <a:gd name="connsiteX2187" fmla="*/ 3500385 w 4546203"/>
              <a:gd name="connsiteY2187" fmla="*/ 1343486 h 5092591"/>
              <a:gd name="connsiteX2188" fmla="*/ 3530232 w 4546203"/>
              <a:gd name="connsiteY2188" fmla="*/ 1376118 h 5092591"/>
              <a:gd name="connsiteX2189" fmla="*/ 3322899 w 4546203"/>
              <a:gd name="connsiteY2189" fmla="*/ 1569125 h 5092591"/>
              <a:gd name="connsiteX2190" fmla="*/ 3377816 w 4546203"/>
              <a:gd name="connsiteY2190" fmla="*/ 1606134 h 5092591"/>
              <a:gd name="connsiteX2191" fmla="*/ 3386969 w 4546203"/>
              <a:gd name="connsiteY2191" fmla="*/ 1596583 h 5092591"/>
              <a:gd name="connsiteX2192" fmla="*/ 3359510 w 4546203"/>
              <a:gd name="connsiteY2192" fmla="*/ 1563951 h 5092591"/>
              <a:gd name="connsiteX2193" fmla="*/ 3375826 w 4546203"/>
              <a:gd name="connsiteY2193" fmla="*/ 1549625 h 5092591"/>
              <a:gd name="connsiteX2194" fmla="*/ 3404081 w 4546203"/>
              <a:gd name="connsiteY2194" fmla="*/ 1580665 h 5092591"/>
              <a:gd name="connsiteX2195" fmla="*/ 3416815 w 4546203"/>
              <a:gd name="connsiteY2195" fmla="*/ 1568727 h 5092591"/>
              <a:gd name="connsiteX2196" fmla="*/ 3389755 w 4546203"/>
              <a:gd name="connsiteY2196" fmla="*/ 1536493 h 5092591"/>
              <a:gd name="connsiteX2197" fmla="*/ 3406071 w 4546203"/>
              <a:gd name="connsiteY2197" fmla="*/ 1522166 h 5092591"/>
              <a:gd name="connsiteX2198" fmla="*/ 3434723 w 4546203"/>
              <a:gd name="connsiteY2198" fmla="*/ 1553605 h 5092591"/>
              <a:gd name="connsiteX2199" fmla="*/ 3447856 w 4546203"/>
              <a:gd name="connsiteY2199" fmla="*/ 1542462 h 5092591"/>
              <a:gd name="connsiteX2200" fmla="*/ 3419601 w 4546203"/>
              <a:gd name="connsiteY2200" fmla="*/ 1509034 h 5092591"/>
              <a:gd name="connsiteX2201" fmla="*/ 3436315 w 4546203"/>
              <a:gd name="connsiteY2201" fmla="*/ 1494708 h 5092591"/>
              <a:gd name="connsiteX2202" fmla="*/ 3465763 w 4546203"/>
              <a:gd name="connsiteY2202" fmla="*/ 1527340 h 5092591"/>
              <a:gd name="connsiteX2203" fmla="*/ 3478896 w 4546203"/>
              <a:gd name="connsiteY2203" fmla="*/ 1515799 h 5092591"/>
              <a:gd name="connsiteX2204" fmla="*/ 3449845 w 4546203"/>
              <a:gd name="connsiteY2204" fmla="*/ 1481575 h 5092591"/>
              <a:gd name="connsiteX2205" fmla="*/ 3466559 w 4546203"/>
              <a:gd name="connsiteY2205" fmla="*/ 1467249 h 5092591"/>
              <a:gd name="connsiteX2206" fmla="*/ 3498793 w 4546203"/>
              <a:gd name="connsiteY2206" fmla="*/ 1502667 h 5092591"/>
              <a:gd name="connsiteX2207" fmla="*/ 3482079 w 4546203"/>
              <a:gd name="connsiteY2207" fmla="*/ 1452127 h 5092591"/>
              <a:gd name="connsiteX2208" fmla="*/ 3496406 w 4546203"/>
              <a:gd name="connsiteY2208" fmla="*/ 1439790 h 5092591"/>
              <a:gd name="connsiteX2209" fmla="*/ 3529834 w 4546203"/>
              <a:gd name="connsiteY2209" fmla="*/ 1475606 h 5092591"/>
              <a:gd name="connsiteX2210" fmla="*/ 3512722 w 4546203"/>
              <a:gd name="connsiteY2210" fmla="*/ 1424270 h 5092591"/>
              <a:gd name="connsiteX2211" fmla="*/ 3527048 w 4546203"/>
              <a:gd name="connsiteY2211" fmla="*/ 1411934 h 5092591"/>
              <a:gd name="connsiteX2212" fmla="*/ 3560874 w 4546203"/>
              <a:gd name="connsiteY2212" fmla="*/ 1448943 h 5092591"/>
              <a:gd name="connsiteX2213" fmla="*/ 3573210 w 4546203"/>
              <a:gd name="connsiteY2213" fmla="*/ 1436607 h 5092591"/>
              <a:gd name="connsiteX2214" fmla="*/ 3541374 w 4546203"/>
              <a:gd name="connsiteY2214" fmla="*/ 1398801 h 5092591"/>
              <a:gd name="connsiteX2215" fmla="*/ 3557292 w 4546203"/>
              <a:gd name="connsiteY2215" fmla="*/ 1384475 h 5092591"/>
              <a:gd name="connsiteX2216" fmla="*/ 3590322 w 4546203"/>
              <a:gd name="connsiteY2216" fmla="*/ 1420689 h 5092591"/>
              <a:gd name="connsiteX2217" fmla="*/ 3603057 w 4546203"/>
              <a:gd name="connsiteY2217" fmla="*/ 1409148 h 5092591"/>
              <a:gd name="connsiteX2218" fmla="*/ 3571221 w 4546203"/>
              <a:gd name="connsiteY2218" fmla="*/ 1371342 h 5092591"/>
              <a:gd name="connsiteX2219" fmla="*/ 3590322 w 4546203"/>
              <a:gd name="connsiteY2219" fmla="*/ 1354231 h 5092591"/>
              <a:gd name="connsiteX2220" fmla="*/ 3630118 w 4546203"/>
              <a:gd name="connsiteY2220" fmla="*/ 1398801 h 5092591"/>
              <a:gd name="connsiteX2221" fmla="*/ 3671903 w 4546203"/>
              <a:gd name="connsiteY2221" fmla="*/ 1364975 h 5092591"/>
              <a:gd name="connsiteX2222" fmla="*/ 3787707 w 4546203"/>
              <a:gd name="connsiteY2222" fmla="*/ 1517789 h 5092591"/>
              <a:gd name="connsiteX2223" fmla="*/ 3743932 w 4546203"/>
              <a:gd name="connsiteY2223" fmla="*/ 1548829 h 5092591"/>
              <a:gd name="connsiteX2224" fmla="*/ 3779350 w 4546203"/>
              <a:gd name="connsiteY2224" fmla="*/ 1604144 h 5092591"/>
              <a:gd name="connsiteX2225" fmla="*/ 3585547 w 4546203"/>
              <a:gd name="connsiteY2225" fmla="*/ 1725918 h 5092591"/>
              <a:gd name="connsiteX2226" fmla="*/ 3659964 w 4546203"/>
              <a:gd name="connsiteY2226" fmla="*/ 1858436 h 5092591"/>
              <a:gd name="connsiteX2227" fmla="*/ 3698565 w 4546203"/>
              <a:gd name="connsiteY2227" fmla="*/ 1834161 h 5092591"/>
              <a:gd name="connsiteX2228" fmla="*/ 3732789 w 4546203"/>
              <a:gd name="connsiteY2228" fmla="*/ 1807498 h 5092591"/>
              <a:gd name="connsiteX2229" fmla="*/ 3794870 w 4546203"/>
              <a:gd name="connsiteY2229" fmla="*/ 1944791 h 5092591"/>
              <a:gd name="connsiteX2230" fmla="*/ 3844216 w 4546203"/>
              <a:gd name="connsiteY2230" fmla="*/ 1926088 h 5092591"/>
              <a:gd name="connsiteX2231" fmla="*/ 3861726 w 4546203"/>
              <a:gd name="connsiteY2231" fmla="*/ 1968270 h 5092591"/>
              <a:gd name="connsiteX2232" fmla="*/ 3902317 w 4546203"/>
              <a:gd name="connsiteY2232" fmla="*/ 1954342 h 5092591"/>
              <a:gd name="connsiteX2233" fmla="*/ 3946091 w 4546203"/>
              <a:gd name="connsiteY2233" fmla="*/ 2094421 h 5092591"/>
              <a:gd name="connsiteX2234" fmla="*/ 3905102 w 4546203"/>
              <a:gd name="connsiteY2234" fmla="*/ 2106360 h 5092591"/>
              <a:gd name="connsiteX2235" fmla="*/ 3916643 w 4546203"/>
              <a:gd name="connsiteY2235" fmla="*/ 2155706 h 5092591"/>
              <a:gd name="connsiteX2236" fmla="*/ 3782135 w 4546203"/>
              <a:gd name="connsiteY2236" fmla="*/ 2187940 h 5092591"/>
              <a:gd name="connsiteX2237" fmla="*/ 3821533 w 4546203"/>
              <a:gd name="connsiteY2237" fmla="*/ 2467700 h 5092591"/>
              <a:gd name="connsiteX2238" fmla="*/ 3659964 w 4546203"/>
              <a:gd name="connsiteY2238" fmla="*/ 2476455 h 5092591"/>
              <a:gd name="connsiteX2239" fmla="*/ 3659964 w 4546203"/>
              <a:gd name="connsiteY2239" fmla="*/ 2634442 h 5092591"/>
              <a:gd name="connsiteX2240" fmla="*/ 3698565 w 4546203"/>
              <a:gd name="connsiteY2240" fmla="*/ 2637228 h 5092591"/>
              <a:gd name="connsiteX2241" fmla="*/ 3801635 w 4546203"/>
              <a:gd name="connsiteY2241" fmla="*/ 2643595 h 5092591"/>
              <a:gd name="connsiteX2242" fmla="*/ 3811584 w 4546203"/>
              <a:gd name="connsiteY2242" fmla="*/ 2659911 h 5092591"/>
              <a:gd name="connsiteX2243" fmla="*/ 3656780 w 4546203"/>
              <a:gd name="connsiteY2243" fmla="*/ 2649564 h 5092591"/>
              <a:gd name="connsiteX2244" fmla="*/ 3653995 w 4546203"/>
              <a:gd name="connsiteY2244" fmla="*/ 2694533 h 5092591"/>
              <a:gd name="connsiteX2245" fmla="*/ 3808002 w 4546203"/>
              <a:gd name="connsiteY2245" fmla="*/ 2726767 h 5092591"/>
              <a:gd name="connsiteX2246" fmla="*/ 3828696 w 4546203"/>
              <a:gd name="connsiteY2246" fmla="*/ 2761389 h 5092591"/>
              <a:gd name="connsiteX2247" fmla="*/ 3946887 w 4546203"/>
              <a:gd name="connsiteY2247" fmla="*/ 2863662 h 5092591"/>
              <a:gd name="connsiteX2248" fmla="*/ 4050753 w 4546203"/>
              <a:gd name="connsiteY2248" fmla="*/ 3351949 h 5092591"/>
              <a:gd name="connsiteX2249" fmla="*/ 3941316 w 4546203"/>
              <a:gd name="connsiteY2249" fmla="*/ 3603853 h 5092591"/>
              <a:gd name="connsiteX2250" fmla="*/ 3947683 w 4546203"/>
              <a:gd name="connsiteY2250" fmla="*/ 3623751 h 5092591"/>
              <a:gd name="connsiteX2251" fmla="*/ 4024886 w 4546203"/>
              <a:gd name="connsiteY2251" fmla="*/ 3494018 h 5092591"/>
              <a:gd name="connsiteX2252" fmla="*/ 4094130 w 4546203"/>
              <a:gd name="connsiteY2252" fmla="*/ 3531824 h 5092591"/>
              <a:gd name="connsiteX2253" fmla="*/ 4009366 w 4546203"/>
              <a:gd name="connsiteY2253" fmla="*/ 3674688 h 5092591"/>
              <a:gd name="connsiteX2254" fmla="*/ 4028069 w 4546203"/>
              <a:gd name="connsiteY2254" fmla="*/ 3687025 h 5092591"/>
              <a:gd name="connsiteX2255" fmla="*/ 4110446 w 4546203"/>
              <a:gd name="connsiteY2255" fmla="*/ 3549732 h 5092591"/>
              <a:gd name="connsiteX2256" fmla="*/ 4177700 w 4546203"/>
              <a:gd name="connsiteY2256" fmla="*/ 3586741 h 5092591"/>
              <a:gd name="connsiteX2257" fmla="*/ 4089752 w 4546203"/>
              <a:gd name="connsiteY2257" fmla="*/ 3734381 h 5092591"/>
              <a:gd name="connsiteX2258" fmla="*/ 4109650 w 4546203"/>
              <a:gd name="connsiteY2258" fmla="*/ 3748309 h 5092591"/>
              <a:gd name="connsiteX2259" fmla="*/ 4195608 w 4546203"/>
              <a:gd name="connsiteY2259" fmla="*/ 3605445 h 5092591"/>
              <a:gd name="connsiteX2260" fmla="*/ 4261270 w 4546203"/>
              <a:gd name="connsiteY2260" fmla="*/ 3641658 h 5092591"/>
              <a:gd name="connsiteX2261" fmla="*/ 4169343 w 4546203"/>
              <a:gd name="connsiteY2261" fmla="*/ 3794472 h 5092591"/>
              <a:gd name="connsiteX2262" fmla="*/ 4190434 w 4546203"/>
              <a:gd name="connsiteY2262" fmla="*/ 3810390 h 5092591"/>
              <a:gd name="connsiteX2263" fmla="*/ 4280769 w 4546203"/>
              <a:gd name="connsiteY2263" fmla="*/ 3661954 h 5092591"/>
              <a:gd name="connsiteX2264" fmla="*/ 4344442 w 4546203"/>
              <a:gd name="connsiteY2264" fmla="*/ 3697372 h 5092591"/>
              <a:gd name="connsiteX2265" fmla="*/ 4247739 w 4546203"/>
              <a:gd name="connsiteY2265" fmla="*/ 3856155 h 5092591"/>
              <a:gd name="connsiteX2266" fmla="*/ 4270422 w 4546203"/>
              <a:gd name="connsiteY2266" fmla="*/ 3874460 h 5092591"/>
              <a:gd name="connsiteX2267" fmla="*/ 4283157 w 4546203"/>
              <a:gd name="connsiteY2267" fmla="*/ 3858542 h 5092591"/>
              <a:gd name="connsiteX2268" fmla="*/ 4376278 w 4546203"/>
              <a:gd name="connsiteY2268" fmla="*/ 3752289 h 5092591"/>
              <a:gd name="connsiteX2269" fmla="*/ 4418461 w 4546203"/>
              <a:gd name="connsiteY2269" fmla="*/ 3723239 h 5092591"/>
              <a:gd name="connsiteX2270" fmla="*/ 4443531 w 4546203"/>
              <a:gd name="connsiteY2270" fmla="*/ 3737963 h 5092591"/>
              <a:gd name="connsiteX2271" fmla="*/ 4439950 w 4546203"/>
              <a:gd name="connsiteY2271" fmla="*/ 3780942 h 5092591"/>
              <a:gd name="connsiteX2272" fmla="*/ 4384635 w 4546203"/>
              <a:gd name="connsiteY2272" fmla="*/ 3923408 h 5092591"/>
              <a:gd name="connsiteX2273" fmla="*/ 4394186 w 4546203"/>
              <a:gd name="connsiteY2273" fmla="*/ 3976336 h 5092591"/>
              <a:gd name="connsiteX2274" fmla="*/ 4527897 w 4546203"/>
              <a:gd name="connsiteY2274" fmla="*/ 4092140 h 5092591"/>
              <a:gd name="connsiteX2275" fmla="*/ 4546203 w 4546203"/>
              <a:gd name="connsiteY2275" fmla="*/ 4104079 h 5092591"/>
              <a:gd name="connsiteX2276" fmla="*/ 4546203 w 4546203"/>
              <a:gd name="connsiteY2276" fmla="*/ 4112038 h 5092591"/>
              <a:gd name="connsiteX2277" fmla="*/ 4531479 w 4546203"/>
              <a:gd name="connsiteY2277" fmla="*/ 4123181 h 5092591"/>
              <a:gd name="connsiteX2278" fmla="*/ 4330513 w 4546203"/>
              <a:gd name="connsiteY2278" fmla="*/ 4014142 h 5092591"/>
              <a:gd name="connsiteX2279" fmla="*/ 4317381 w 4546203"/>
              <a:gd name="connsiteY2279" fmla="*/ 4029662 h 5092591"/>
              <a:gd name="connsiteX2280" fmla="*/ 4198393 w 4546203"/>
              <a:gd name="connsiteY2280" fmla="*/ 4143078 h 5092591"/>
              <a:gd name="connsiteX2281" fmla="*/ 4140690 w 4546203"/>
              <a:gd name="connsiteY2281" fmla="*/ 4156608 h 5092591"/>
              <a:gd name="connsiteX2282" fmla="*/ 4142282 w 4546203"/>
              <a:gd name="connsiteY2282" fmla="*/ 4099303 h 5092591"/>
              <a:gd name="connsiteX2283" fmla="*/ 4201577 w 4546203"/>
              <a:gd name="connsiteY2283" fmla="*/ 3984693 h 5092591"/>
              <a:gd name="connsiteX2284" fmla="*/ 4222668 w 4546203"/>
              <a:gd name="connsiteY2284" fmla="*/ 3950867 h 5092591"/>
              <a:gd name="connsiteX2285" fmla="*/ 4197597 w 4546203"/>
              <a:gd name="connsiteY2285" fmla="*/ 3935745 h 5092591"/>
              <a:gd name="connsiteX2286" fmla="*/ 4084579 w 4546203"/>
              <a:gd name="connsiteY2286" fmla="*/ 4079406 h 5092591"/>
              <a:gd name="connsiteX2287" fmla="*/ 4028865 w 4546203"/>
              <a:gd name="connsiteY2287" fmla="*/ 4032447 h 5092591"/>
              <a:gd name="connsiteX2288" fmla="*/ 4134323 w 4546203"/>
              <a:gd name="connsiteY2288" fmla="*/ 3897940 h 5092591"/>
              <a:gd name="connsiteX2289" fmla="*/ 4112037 w 4546203"/>
              <a:gd name="connsiteY2289" fmla="*/ 3884011 h 5092591"/>
              <a:gd name="connsiteX2290" fmla="*/ 4002999 w 4546203"/>
              <a:gd name="connsiteY2290" fmla="*/ 4021703 h 5092591"/>
              <a:gd name="connsiteX2291" fmla="*/ 3946091 w 4546203"/>
              <a:gd name="connsiteY2291" fmla="*/ 3973152 h 5092591"/>
              <a:gd name="connsiteX2292" fmla="*/ 4047967 w 4546203"/>
              <a:gd name="connsiteY2292" fmla="*/ 3844216 h 5092591"/>
              <a:gd name="connsiteX2293" fmla="*/ 4027274 w 4546203"/>
              <a:gd name="connsiteY2293" fmla="*/ 3831482 h 5092591"/>
              <a:gd name="connsiteX2294" fmla="*/ 3921816 w 4546203"/>
              <a:gd name="connsiteY2294" fmla="*/ 3963204 h 5092591"/>
              <a:gd name="connsiteX2295" fmla="*/ 3863715 w 4546203"/>
              <a:gd name="connsiteY2295" fmla="*/ 3913062 h 5092591"/>
              <a:gd name="connsiteX2296" fmla="*/ 3962010 w 4546203"/>
              <a:gd name="connsiteY2296" fmla="*/ 3788901 h 5092591"/>
              <a:gd name="connsiteX2297" fmla="*/ 3943306 w 4546203"/>
              <a:gd name="connsiteY2297" fmla="*/ 3776962 h 5092591"/>
              <a:gd name="connsiteX2298" fmla="*/ 3841430 w 4546203"/>
              <a:gd name="connsiteY2298" fmla="*/ 3903909 h 5092591"/>
              <a:gd name="connsiteX2299" fmla="*/ 3781737 w 4546203"/>
              <a:gd name="connsiteY2299" fmla="*/ 3852175 h 5092591"/>
              <a:gd name="connsiteX2300" fmla="*/ 3876450 w 4546203"/>
              <a:gd name="connsiteY2300" fmla="*/ 3733585 h 5092591"/>
              <a:gd name="connsiteX2301" fmla="*/ 3858940 w 4546203"/>
              <a:gd name="connsiteY2301" fmla="*/ 3723239 h 5092591"/>
              <a:gd name="connsiteX2302" fmla="*/ 3761044 w 4546203"/>
              <a:gd name="connsiteY2302" fmla="*/ 3843818 h 5092591"/>
              <a:gd name="connsiteX2303" fmla="*/ 3731993 w 4546203"/>
              <a:gd name="connsiteY2303" fmla="*/ 3819145 h 5092591"/>
              <a:gd name="connsiteX2304" fmla="*/ 3718463 w 4546203"/>
              <a:gd name="connsiteY2304" fmla="*/ 3815166 h 5092591"/>
              <a:gd name="connsiteX2305" fmla="*/ 3647229 w 4546203"/>
              <a:gd name="connsiteY2305" fmla="*/ 3850981 h 5092591"/>
              <a:gd name="connsiteX2306" fmla="*/ 3770197 w 4546203"/>
              <a:gd name="connsiteY2306" fmla="*/ 3967979 h 5092591"/>
              <a:gd name="connsiteX2307" fmla="*/ 3714086 w 4546203"/>
              <a:gd name="connsiteY2307" fmla="*/ 4010560 h 5092591"/>
              <a:gd name="connsiteX2308" fmla="*/ 3734381 w 4546203"/>
              <a:gd name="connsiteY2308" fmla="*/ 4029662 h 5092591"/>
              <a:gd name="connsiteX2309" fmla="*/ 3783329 w 4546203"/>
              <a:gd name="connsiteY2309" fmla="*/ 3980316 h 5092591"/>
              <a:gd name="connsiteX2310" fmla="*/ 3802431 w 4546203"/>
              <a:gd name="connsiteY2310" fmla="*/ 4001009 h 5092591"/>
              <a:gd name="connsiteX2311" fmla="*/ 3774574 w 4546203"/>
              <a:gd name="connsiteY2311" fmla="*/ 4031651 h 5092591"/>
              <a:gd name="connsiteX2312" fmla="*/ 3806410 w 4546203"/>
              <a:gd name="connsiteY2312" fmla="*/ 4051549 h 5092591"/>
              <a:gd name="connsiteX2313" fmla="*/ 3770197 w 4546203"/>
              <a:gd name="connsiteY2313" fmla="*/ 4089355 h 5092591"/>
              <a:gd name="connsiteX2314" fmla="*/ 3840236 w 4546203"/>
              <a:gd name="connsiteY2314" fmla="*/ 4149445 h 5092591"/>
              <a:gd name="connsiteX2315" fmla="*/ 3804819 w 4546203"/>
              <a:gd name="connsiteY2315" fmla="*/ 4180087 h 5092591"/>
              <a:gd name="connsiteX2316" fmla="*/ 3884011 w 4546203"/>
              <a:gd name="connsiteY2316" fmla="*/ 4264851 h 5092591"/>
              <a:gd name="connsiteX2317" fmla="*/ 3816359 w 4546203"/>
              <a:gd name="connsiteY2317" fmla="*/ 4326136 h 5092591"/>
              <a:gd name="connsiteX2318" fmla="*/ 3741146 w 4546203"/>
              <a:gd name="connsiteY2318" fmla="*/ 4239382 h 5092591"/>
              <a:gd name="connsiteX2319" fmla="*/ 3706127 w 4546203"/>
              <a:gd name="connsiteY2319" fmla="*/ 4267637 h 5092591"/>
              <a:gd name="connsiteX2320" fmla="*/ 3648025 w 4546203"/>
              <a:gd name="connsiteY2320" fmla="*/ 4199189 h 5092591"/>
              <a:gd name="connsiteX2321" fmla="*/ 3619373 w 4546203"/>
              <a:gd name="connsiteY2321" fmla="*/ 4220679 h 5092591"/>
              <a:gd name="connsiteX2322" fmla="*/ 3595098 w 4546203"/>
              <a:gd name="connsiteY2322" fmla="*/ 4193220 h 5092591"/>
              <a:gd name="connsiteX2323" fmla="*/ 3566445 w 4546203"/>
              <a:gd name="connsiteY2323" fmla="*/ 4214311 h 5092591"/>
              <a:gd name="connsiteX2324" fmla="*/ 3351551 w 4546203"/>
              <a:gd name="connsiteY2324" fmla="*/ 3937735 h 5092591"/>
              <a:gd name="connsiteX2325" fmla="*/ 3297828 w 4546203"/>
              <a:gd name="connsiteY2325" fmla="*/ 3978326 h 5092591"/>
              <a:gd name="connsiteX2326" fmla="*/ 3314940 w 4546203"/>
              <a:gd name="connsiteY2326" fmla="*/ 4004591 h 5092591"/>
              <a:gd name="connsiteX2327" fmla="*/ 3278726 w 4546203"/>
              <a:gd name="connsiteY2327" fmla="*/ 4031651 h 5092591"/>
              <a:gd name="connsiteX2328" fmla="*/ 3307379 w 4546203"/>
              <a:gd name="connsiteY2328" fmla="*/ 4075824 h 5092591"/>
              <a:gd name="connsiteX2329" fmla="*/ 3182422 w 4546203"/>
              <a:gd name="connsiteY2329" fmla="*/ 4153425 h 5092591"/>
              <a:gd name="connsiteX2330" fmla="*/ 3155759 w 4546203"/>
              <a:gd name="connsiteY2330" fmla="*/ 4107660 h 5092591"/>
              <a:gd name="connsiteX2331" fmla="*/ 3111188 w 4546203"/>
              <a:gd name="connsiteY2331" fmla="*/ 4131140 h 5092591"/>
              <a:gd name="connsiteX2332" fmla="*/ 3043537 w 4546203"/>
              <a:gd name="connsiteY2332" fmla="*/ 4004193 h 5092591"/>
              <a:gd name="connsiteX2333" fmla="*/ 2986629 w 4546203"/>
              <a:gd name="connsiteY2333" fmla="*/ 4033641 h 5092591"/>
              <a:gd name="connsiteX2334" fmla="*/ 3196350 w 4546203"/>
              <a:gd name="connsiteY2334" fmla="*/ 4470990 h 5092591"/>
              <a:gd name="connsiteX2335" fmla="*/ 3162524 w 4546203"/>
              <a:gd name="connsiteY2335" fmla="*/ 4486908 h 5092591"/>
              <a:gd name="connsiteX2336" fmla="*/ 3151779 w 4546203"/>
              <a:gd name="connsiteY2336" fmla="*/ 4487307 h 5092591"/>
              <a:gd name="connsiteX2337" fmla="*/ 3131882 w 4546203"/>
              <a:gd name="connsiteY2337" fmla="*/ 4486113 h 5092591"/>
              <a:gd name="connsiteX2338" fmla="*/ 2883958 w 4546203"/>
              <a:gd name="connsiteY2338" fmla="*/ 4577244 h 5092591"/>
              <a:gd name="connsiteX2339" fmla="*/ 2870029 w 4546203"/>
              <a:gd name="connsiteY2339" fmla="*/ 4583213 h 5092591"/>
              <a:gd name="connsiteX2340" fmla="*/ 2831428 w 4546203"/>
              <a:gd name="connsiteY2340" fmla="*/ 4607488 h 5092591"/>
              <a:gd name="connsiteX2341" fmla="*/ 2739103 w 4546203"/>
              <a:gd name="connsiteY2341" fmla="*/ 4264851 h 5092591"/>
              <a:gd name="connsiteX2342" fmla="*/ 2715624 w 4546203"/>
              <a:gd name="connsiteY2342" fmla="*/ 4271616 h 5092591"/>
              <a:gd name="connsiteX2343" fmla="*/ 2727563 w 4546203"/>
              <a:gd name="connsiteY2343" fmla="*/ 4323748 h 5092591"/>
              <a:gd name="connsiteX2344" fmla="*/ 2539729 w 4546203"/>
              <a:gd name="connsiteY2344" fmla="*/ 4360758 h 5092591"/>
              <a:gd name="connsiteX2345" fmla="*/ 2530576 w 4546203"/>
              <a:gd name="connsiteY2345" fmla="*/ 4308228 h 5092591"/>
              <a:gd name="connsiteX2346" fmla="*/ 2465710 w 4546203"/>
              <a:gd name="connsiteY2346" fmla="*/ 4314993 h 5092591"/>
              <a:gd name="connsiteX2347" fmla="*/ 2462129 w 4546203"/>
              <a:gd name="connsiteY2347" fmla="*/ 4289524 h 5092591"/>
              <a:gd name="connsiteX2348" fmla="*/ 2433476 w 4546203"/>
              <a:gd name="connsiteY2348" fmla="*/ 4018519 h 5092591"/>
              <a:gd name="connsiteX2349" fmla="*/ 2413181 w 4546203"/>
              <a:gd name="connsiteY2349" fmla="*/ 4009366 h 5092591"/>
              <a:gd name="connsiteX2350" fmla="*/ 2503118 w 4546203"/>
              <a:gd name="connsiteY2350" fmla="*/ 4975594 h 5092591"/>
              <a:gd name="connsiteX2351" fmla="*/ 2474465 w 4546203"/>
              <a:gd name="connsiteY2351" fmla="*/ 4980767 h 5092591"/>
              <a:gd name="connsiteX2352" fmla="*/ 2479241 w 4546203"/>
              <a:gd name="connsiteY2352" fmla="*/ 5049612 h 5092591"/>
              <a:gd name="connsiteX2353" fmla="*/ 2449792 w 4546203"/>
              <a:gd name="connsiteY2353" fmla="*/ 5054388 h 5092591"/>
              <a:gd name="connsiteX2354" fmla="*/ 2449792 w 4546203"/>
              <a:gd name="connsiteY2354" fmla="*/ 5085428 h 5092591"/>
              <a:gd name="connsiteX2355" fmla="*/ 2370202 w 4546203"/>
              <a:gd name="connsiteY2355" fmla="*/ 5092591 h 5092591"/>
              <a:gd name="connsiteX2356" fmla="*/ 2262755 w 4546203"/>
              <a:gd name="connsiteY2356" fmla="*/ 5092591 h 5092591"/>
              <a:gd name="connsiteX2357" fmla="*/ 2262755 w 4546203"/>
              <a:gd name="connsiteY2357" fmla="*/ 5059561 h 5092591"/>
              <a:gd name="connsiteX2358" fmla="*/ 2203062 w 4546203"/>
              <a:gd name="connsiteY2358" fmla="*/ 5059561 h 5092591"/>
              <a:gd name="connsiteX2359" fmla="*/ 2203062 w 4546203"/>
              <a:gd name="connsiteY2359" fmla="*/ 5092591 h 5092591"/>
              <a:gd name="connsiteX2360" fmla="*/ 2179185 w 4546203"/>
              <a:gd name="connsiteY2360" fmla="*/ 5092591 h 5092591"/>
              <a:gd name="connsiteX2361" fmla="*/ 2149736 w 4546203"/>
              <a:gd name="connsiteY2361" fmla="*/ 5089408 h 5092591"/>
              <a:gd name="connsiteX2362" fmla="*/ 2016422 w 4546203"/>
              <a:gd name="connsiteY2362" fmla="*/ 5079857 h 5092591"/>
              <a:gd name="connsiteX2363" fmla="*/ 2000504 w 4546203"/>
              <a:gd name="connsiteY2363" fmla="*/ 5042847 h 5092591"/>
              <a:gd name="connsiteX2364" fmla="*/ 2007270 w 4546203"/>
              <a:gd name="connsiteY2364" fmla="*/ 4974399 h 5092591"/>
              <a:gd name="connsiteX2365" fmla="*/ 1974637 w 4546203"/>
              <a:gd name="connsiteY2365" fmla="*/ 4967634 h 5092591"/>
              <a:gd name="connsiteX2366" fmla="*/ 2062187 w 4546203"/>
              <a:gd name="connsiteY2366" fmla="*/ 4255300 h 5092591"/>
              <a:gd name="connsiteX2367" fmla="*/ 1978219 w 4546203"/>
              <a:gd name="connsiteY2367" fmla="*/ 4243362 h 5092591"/>
              <a:gd name="connsiteX2368" fmla="*/ 1913353 w 4546203"/>
              <a:gd name="connsiteY2368" fmla="*/ 4615845 h 5092591"/>
              <a:gd name="connsiteX2369" fmla="*/ 1880721 w 4546203"/>
              <a:gd name="connsiteY2369" fmla="*/ 4611467 h 5092591"/>
              <a:gd name="connsiteX2370" fmla="*/ 1870374 w 4546203"/>
              <a:gd name="connsiteY2370" fmla="*/ 4659620 h 5092591"/>
              <a:gd name="connsiteX2371" fmla="*/ 1838538 w 4546203"/>
              <a:gd name="connsiteY2371" fmla="*/ 4655242 h 5092591"/>
              <a:gd name="connsiteX2372" fmla="*/ 1829783 w 4546203"/>
              <a:gd name="connsiteY2372" fmla="*/ 4677925 h 5092591"/>
              <a:gd name="connsiteX2373" fmla="*/ 1640756 w 4546203"/>
              <a:gd name="connsiteY2373" fmla="*/ 4629375 h 5092591"/>
              <a:gd name="connsiteX2374" fmla="*/ 1645929 w 4546203"/>
              <a:gd name="connsiteY2374" fmla="*/ 4605498 h 5092591"/>
              <a:gd name="connsiteX2375" fmla="*/ 1568329 w 4546203"/>
              <a:gd name="connsiteY2375" fmla="*/ 4580029 h 5092591"/>
              <a:gd name="connsiteX2376" fmla="*/ 1558380 w 4546203"/>
              <a:gd name="connsiteY2376" fmla="*/ 4602713 h 5092591"/>
              <a:gd name="connsiteX2377" fmla="*/ 1375720 w 4546203"/>
              <a:gd name="connsiteY2377" fmla="*/ 4529887 h 5092591"/>
              <a:gd name="connsiteX2378" fmla="*/ 1384475 w 4546203"/>
              <a:gd name="connsiteY2378" fmla="*/ 4508000 h 5092591"/>
              <a:gd name="connsiteX2379" fmla="*/ 1368557 w 4546203"/>
              <a:gd name="connsiteY2379" fmla="*/ 4497255 h 5092591"/>
              <a:gd name="connsiteX2380" fmla="*/ 1388454 w 4546203"/>
              <a:gd name="connsiteY2380" fmla="*/ 4453082 h 5092591"/>
              <a:gd name="connsiteX2381" fmla="*/ 1354628 w 4546203"/>
              <a:gd name="connsiteY2381" fmla="*/ 4435573 h 5092591"/>
              <a:gd name="connsiteX2382" fmla="*/ 1595389 w 4546203"/>
              <a:gd name="connsiteY2382" fmla="*/ 3941714 h 5092591"/>
              <a:gd name="connsiteX2383" fmla="*/ 1583849 w 4546203"/>
              <a:gd name="connsiteY2383" fmla="*/ 3929378 h 5092591"/>
              <a:gd name="connsiteX2384" fmla="*/ 1652694 w 4546203"/>
              <a:gd name="connsiteY2384" fmla="*/ 3790493 h 5092591"/>
              <a:gd name="connsiteX2385" fmla="*/ 1644337 w 4546203"/>
              <a:gd name="connsiteY2385" fmla="*/ 3786513 h 5092591"/>
              <a:gd name="connsiteX2386" fmla="*/ 1573104 w 4546203"/>
              <a:gd name="connsiteY2386" fmla="*/ 3925398 h 5092591"/>
              <a:gd name="connsiteX2387" fmla="*/ 1564349 w 4546203"/>
              <a:gd name="connsiteY2387" fmla="*/ 3907092 h 5092591"/>
              <a:gd name="connsiteX2388" fmla="*/ 1631205 w 4546203"/>
              <a:gd name="connsiteY2388" fmla="*/ 3779350 h 5092591"/>
              <a:gd name="connsiteX2389" fmla="*/ 1582655 w 4546203"/>
              <a:gd name="connsiteY2389" fmla="*/ 3753483 h 5092591"/>
              <a:gd name="connsiteX2390" fmla="*/ 1567135 w 4546203"/>
              <a:gd name="connsiteY2390" fmla="*/ 3792482 h 5092591"/>
              <a:gd name="connsiteX2391" fmla="*/ 1564349 w 4546203"/>
              <a:gd name="connsiteY2391" fmla="*/ 3802829 h 5092591"/>
              <a:gd name="connsiteX2392" fmla="*/ 1578277 w 4546203"/>
              <a:gd name="connsiteY2392" fmla="*/ 3812380 h 5092591"/>
              <a:gd name="connsiteX2393" fmla="*/ 1564349 w 4546203"/>
              <a:gd name="connsiteY2393" fmla="*/ 3837053 h 5092591"/>
              <a:gd name="connsiteX2394" fmla="*/ 1540472 w 4546203"/>
              <a:gd name="connsiteY2394" fmla="*/ 3832277 h 5092591"/>
              <a:gd name="connsiteX2395" fmla="*/ 1538880 w 4546203"/>
              <a:gd name="connsiteY2395" fmla="*/ 3838645 h 5092591"/>
              <a:gd name="connsiteX2396" fmla="*/ 1565145 w 4546203"/>
              <a:gd name="connsiteY2396" fmla="*/ 3856155 h 5092591"/>
              <a:gd name="connsiteX2397" fmla="*/ 1550421 w 4546203"/>
              <a:gd name="connsiteY2397" fmla="*/ 3882419 h 5092591"/>
              <a:gd name="connsiteX2398" fmla="*/ 1529329 w 4546203"/>
              <a:gd name="connsiteY2398" fmla="*/ 3871277 h 5092591"/>
              <a:gd name="connsiteX2399" fmla="*/ 1519380 w 4546203"/>
              <a:gd name="connsiteY2399" fmla="*/ 3872471 h 5092591"/>
              <a:gd name="connsiteX2400" fmla="*/ 1523758 w 4546203"/>
              <a:gd name="connsiteY2400" fmla="*/ 3881623 h 5092591"/>
              <a:gd name="connsiteX2401" fmla="*/ 1553604 w 4546203"/>
              <a:gd name="connsiteY2401" fmla="*/ 3898736 h 5092591"/>
              <a:gd name="connsiteX2402" fmla="*/ 1538482 w 4546203"/>
              <a:gd name="connsiteY2402" fmla="*/ 3926592 h 5092591"/>
              <a:gd name="connsiteX2403" fmla="*/ 1512217 w 4546203"/>
              <a:gd name="connsiteY2403" fmla="*/ 3912664 h 5092591"/>
              <a:gd name="connsiteX2404" fmla="*/ 1497493 w 4546203"/>
              <a:gd name="connsiteY2404" fmla="*/ 3911868 h 5092591"/>
              <a:gd name="connsiteX2405" fmla="*/ 1505850 w 4546203"/>
              <a:gd name="connsiteY2405" fmla="*/ 3922613 h 5092591"/>
              <a:gd name="connsiteX2406" fmla="*/ 1541666 w 4546203"/>
              <a:gd name="connsiteY2406" fmla="*/ 3943306 h 5092591"/>
              <a:gd name="connsiteX2407" fmla="*/ 1526544 w 4546203"/>
              <a:gd name="connsiteY2407" fmla="*/ 3970765 h 5092591"/>
              <a:gd name="connsiteX2408" fmla="*/ 1487544 w 4546203"/>
              <a:gd name="connsiteY2408" fmla="*/ 3949673 h 5092591"/>
              <a:gd name="connsiteX2409" fmla="*/ 1475606 w 4546203"/>
              <a:gd name="connsiteY2409" fmla="*/ 3950071 h 5092591"/>
              <a:gd name="connsiteX2410" fmla="*/ 1481973 w 4546203"/>
              <a:gd name="connsiteY2410" fmla="*/ 3960020 h 5092591"/>
              <a:gd name="connsiteX2411" fmla="*/ 1530125 w 4546203"/>
              <a:gd name="connsiteY2411" fmla="*/ 3987081 h 5092591"/>
              <a:gd name="connsiteX2412" fmla="*/ 1515799 w 4546203"/>
              <a:gd name="connsiteY2412" fmla="*/ 4014142 h 5092591"/>
              <a:gd name="connsiteX2413" fmla="*/ 1451729 w 4546203"/>
              <a:gd name="connsiteY2413" fmla="*/ 3994244 h 5092591"/>
              <a:gd name="connsiteX2414" fmla="*/ 1519380 w 4546203"/>
              <a:gd name="connsiteY2414" fmla="*/ 4031651 h 5092591"/>
              <a:gd name="connsiteX2415" fmla="*/ 1504656 w 4546203"/>
              <a:gd name="connsiteY2415" fmla="*/ 4059508 h 5092591"/>
              <a:gd name="connsiteX2416" fmla="*/ 1446157 w 4546203"/>
              <a:gd name="connsiteY2416" fmla="*/ 4028468 h 5092591"/>
              <a:gd name="connsiteX2417" fmla="*/ 1431433 w 4546203"/>
              <a:gd name="connsiteY2417" fmla="*/ 4027672 h 5092591"/>
              <a:gd name="connsiteX2418" fmla="*/ 1440188 w 4546203"/>
              <a:gd name="connsiteY2418" fmla="*/ 4038417 h 5092591"/>
              <a:gd name="connsiteX2419" fmla="*/ 1509034 w 4546203"/>
              <a:gd name="connsiteY2419" fmla="*/ 4076222 h 5092591"/>
              <a:gd name="connsiteX2420" fmla="*/ 1495503 w 4546203"/>
              <a:gd name="connsiteY2420" fmla="*/ 4103283 h 5092591"/>
              <a:gd name="connsiteX2421" fmla="*/ 1384475 w 4546203"/>
              <a:gd name="connsiteY2421" fmla="*/ 4064681 h 5092591"/>
              <a:gd name="connsiteX2422" fmla="*/ 1355424 w 4546203"/>
              <a:gd name="connsiteY2422" fmla="*/ 4111640 h 5092591"/>
              <a:gd name="connsiteX2423" fmla="*/ 1235641 w 4546203"/>
              <a:gd name="connsiteY2423" fmla="*/ 4034835 h 5092591"/>
              <a:gd name="connsiteX2424" fmla="*/ 1080838 w 4546203"/>
              <a:gd name="connsiteY2424" fmla="*/ 4255698 h 5092591"/>
              <a:gd name="connsiteX2425" fmla="*/ 1045420 w 4546203"/>
              <a:gd name="connsiteY2425" fmla="*/ 4231821 h 5092591"/>
              <a:gd name="connsiteX2426" fmla="*/ 1017563 w 4546203"/>
              <a:gd name="connsiteY2426" fmla="*/ 4268035 h 5092591"/>
              <a:gd name="connsiteX2427" fmla="*/ 984533 w 4546203"/>
              <a:gd name="connsiteY2427" fmla="*/ 4244556 h 5092591"/>
              <a:gd name="connsiteX2428" fmla="*/ 964636 w 4546203"/>
              <a:gd name="connsiteY2428" fmla="*/ 4266045 h 5092591"/>
              <a:gd name="connsiteX2429" fmla="*/ 786353 w 4546203"/>
              <a:gd name="connsiteY2429" fmla="*/ 4114425 h 5092591"/>
              <a:gd name="connsiteX2430" fmla="*/ 804261 w 4546203"/>
              <a:gd name="connsiteY2430" fmla="*/ 4092140 h 5092591"/>
              <a:gd name="connsiteX2431" fmla="*/ 781180 w 4546203"/>
              <a:gd name="connsiteY2431" fmla="*/ 4067467 h 5092591"/>
              <a:gd name="connsiteX2432" fmla="*/ 812220 w 4546203"/>
              <a:gd name="connsiteY2432" fmla="*/ 4034835 h 5092591"/>
              <a:gd name="connsiteX2433" fmla="*/ 783965 w 4546203"/>
              <a:gd name="connsiteY2433" fmla="*/ 4004988 h 5092591"/>
              <a:gd name="connsiteX2434" fmla="*/ 1043430 w 4546203"/>
              <a:gd name="connsiteY2434" fmla="*/ 3750697 h 5092591"/>
              <a:gd name="connsiteX2435" fmla="*/ 1013584 w 4546203"/>
              <a:gd name="connsiteY2435" fmla="*/ 3718065 h 5092591"/>
              <a:gd name="connsiteX2436" fmla="*/ 1220917 w 4546203"/>
              <a:gd name="connsiteY2436" fmla="*/ 3525059 h 5092591"/>
              <a:gd name="connsiteX2437" fmla="*/ 1167989 w 4546203"/>
              <a:gd name="connsiteY2437" fmla="*/ 3489243 h 5092591"/>
              <a:gd name="connsiteX2438" fmla="*/ 1158040 w 4546203"/>
              <a:gd name="connsiteY2438" fmla="*/ 3498396 h 5092591"/>
              <a:gd name="connsiteX2439" fmla="*/ 1184305 w 4546203"/>
              <a:gd name="connsiteY2439" fmla="*/ 3529834 h 5092591"/>
              <a:gd name="connsiteX2440" fmla="*/ 1167989 w 4546203"/>
              <a:gd name="connsiteY2440" fmla="*/ 3543762 h 5092591"/>
              <a:gd name="connsiteX2441" fmla="*/ 1139734 w 4546203"/>
              <a:gd name="connsiteY2441" fmla="*/ 3513120 h 5092591"/>
              <a:gd name="connsiteX2442" fmla="*/ 1127000 w 4546203"/>
              <a:gd name="connsiteY2442" fmla="*/ 3525059 h 5092591"/>
              <a:gd name="connsiteX2443" fmla="*/ 1154061 w 4546203"/>
              <a:gd name="connsiteY2443" fmla="*/ 3557293 h 5092591"/>
              <a:gd name="connsiteX2444" fmla="*/ 1137745 w 4546203"/>
              <a:gd name="connsiteY2444" fmla="*/ 3571221 h 5092591"/>
              <a:gd name="connsiteX2445" fmla="*/ 1107898 w 4546203"/>
              <a:gd name="connsiteY2445" fmla="*/ 3539783 h 5092591"/>
              <a:gd name="connsiteX2446" fmla="*/ 1095562 w 4546203"/>
              <a:gd name="connsiteY2446" fmla="*/ 3551721 h 5092591"/>
              <a:gd name="connsiteX2447" fmla="*/ 1123418 w 4546203"/>
              <a:gd name="connsiteY2447" fmla="*/ 3584751 h 5092591"/>
              <a:gd name="connsiteX2448" fmla="*/ 1107102 w 4546203"/>
              <a:gd name="connsiteY2448" fmla="*/ 3598680 h 5092591"/>
              <a:gd name="connsiteX2449" fmla="*/ 1075266 w 4546203"/>
              <a:gd name="connsiteY2449" fmla="*/ 3564854 h 5092591"/>
              <a:gd name="connsiteX2450" fmla="*/ 1062930 w 4546203"/>
              <a:gd name="connsiteY2450" fmla="*/ 3576792 h 5092591"/>
              <a:gd name="connsiteX2451" fmla="*/ 1093174 w 4546203"/>
              <a:gd name="connsiteY2451" fmla="*/ 3612210 h 5092591"/>
              <a:gd name="connsiteX2452" fmla="*/ 1076858 w 4546203"/>
              <a:gd name="connsiteY2452" fmla="*/ 3626536 h 5092591"/>
              <a:gd name="connsiteX2453" fmla="*/ 1044624 w 4546203"/>
              <a:gd name="connsiteY2453" fmla="*/ 3591118 h 5092591"/>
              <a:gd name="connsiteX2454" fmla="*/ 1061338 w 4546203"/>
              <a:gd name="connsiteY2454" fmla="*/ 3641658 h 5092591"/>
              <a:gd name="connsiteX2455" fmla="*/ 1046614 w 4546203"/>
              <a:gd name="connsiteY2455" fmla="*/ 3653995 h 5092591"/>
              <a:gd name="connsiteX2456" fmla="*/ 1014379 w 4546203"/>
              <a:gd name="connsiteY2456" fmla="*/ 3619373 h 5092591"/>
              <a:gd name="connsiteX2457" fmla="*/ 1001247 w 4546203"/>
              <a:gd name="connsiteY2457" fmla="*/ 3630118 h 5092591"/>
              <a:gd name="connsiteX2458" fmla="*/ 1032685 w 4546203"/>
              <a:gd name="connsiteY2458" fmla="*/ 3667923 h 5092591"/>
              <a:gd name="connsiteX2459" fmla="*/ 1016767 w 4546203"/>
              <a:gd name="connsiteY2459" fmla="*/ 3681056 h 5092591"/>
              <a:gd name="connsiteX2460" fmla="*/ 972197 w 4546203"/>
              <a:gd name="connsiteY2460" fmla="*/ 3659566 h 5092591"/>
              <a:gd name="connsiteX2461" fmla="*/ 1002043 w 4546203"/>
              <a:gd name="connsiteY2461" fmla="*/ 3694984 h 5092591"/>
              <a:gd name="connsiteX2462" fmla="*/ 986125 w 4546203"/>
              <a:gd name="connsiteY2462" fmla="*/ 3709708 h 5092591"/>
              <a:gd name="connsiteX2463" fmla="*/ 952697 w 4546203"/>
              <a:gd name="connsiteY2463" fmla="*/ 3673495 h 5092591"/>
              <a:gd name="connsiteX2464" fmla="*/ 939565 w 4546203"/>
              <a:gd name="connsiteY2464" fmla="*/ 3685035 h 5092591"/>
              <a:gd name="connsiteX2465" fmla="*/ 971401 w 4546203"/>
              <a:gd name="connsiteY2465" fmla="*/ 3722841 h 5092591"/>
              <a:gd name="connsiteX2466" fmla="*/ 952299 w 4546203"/>
              <a:gd name="connsiteY2466" fmla="*/ 3739953 h 5092591"/>
              <a:gd name="connsiteX2467" fmla="*/ 912504 w 4546203"/>
              <a:gd name="connsiteY2467" fmla="*/ 3694984 h 5092591"/>
              <a:gd name="connsiteX2468" fmla="*/ 871117 w 4546203"/>
              <a:gd name="connsiteY2468" fmla="*/ 3729208 h 5092591"/>
              <a:gd name="connsiteX2469" fmla="*/ 754915 w 4546203"/>
              <a:gd name="connsiteY2469" fmla="*/ 3575996 h 5092591"/>
              <a:gd name="connsiteX2470" fmla="*/ 798690 w 4546203"/>
              <a:gd name="connsiteY2470" fmla="*/ 3544956 h 5092591"/>
              <a:gd name="connsiteX2471" fmla="*/ 763272 w 4546203"/>
              <a:gd name="connsiteY2471" fmla="*/ 3489243 h 5092591"/>
              <a:gd name="connsiteX2472" fmla="*/ 957472 w 4546203"/>
              <a:gd name="connsiteY2472" fmla="*/ 3367470 h 5092591"/>
              <a:gd name="connsiteX2473" fmla="*/ 882259 w 4546203"/>
              <a:gd name="connsiteY2473" fmla="*/ 3233758 h 5092591"/>
              <a:gd name="connsiteX2474" fmla="*/ 844852 w 4546203"/>
              <a:gd name="connsiteY2474" fmla="*/ 3259227 h 5092591"/>
              <a:gd name="connsiteX2475" fmla="*/ 810628 w 4546203"/>
              <a:gd name="connsiteY2475" fmla="*/ 3286287 h 5092591"/>
              <a:gd name="connsiteX2476" fmla="*/ 748150 w 4546203"/>
              <a:gd name="connsiteY2476" fmla="*/ 3148596 h 5092591"/>
              <a:gd name="connsiteX2477" fmla="*/ 698804 w 4546203"/>
              <a:gd name="connsiteY2477" fmla="*/ 3167698 h 5092591"/>
              <a:gd name="connsiteX2478" fmla="*/ 681294 w 4546203"/>
              <a:gd name="connsiteY2478" fmla="*/ 3125515 h 5092591"/>
              <a:gd name="connsiteX2479" fmla="*/ 640703 w 4546203"/>
              <a:gd name="connsiteY2479" fmla="*/ 3139045 h 5092591"/>
              <a:gd name="connsiteX2480" fmla="*/ 596928 w 4546203"/>
              <a:gd name="connsiteY2480" fmla="*/ 2999364 h 5092591"/>
              <a:gd name="connsiteX2481" fmla="*/ 637917 w 4546203"/>
              <a:gd name="connsiteY2481" fmla="*/ 2987027 h 5092591"/>
              <a:gd name="connsiteX2482" fmla="*/ 626774 w 4546203"/>
              <a:gd name="connsiteY2482" fmla="*/ 2938079 h 5092591"/>
              <a:gd name="connsiteX2483" fmla="*/ 765262 w 4546203"/>
              <a:gd name="connsiteY2483" fmla="*/ 2904651 h 5092591"/>
              <a:gd name="connsiteX2484" fmla="*/ 726262 w 4546203"/>
              <a:gd name="connsiteY2484" fmla="*/ 2625289 h 5092591"/>
              <a:gd name="connsiteX2485" fmla="*/ 883851 w 4546203"/>
              <a:gd name="connsiteY2485" fmla="*/ 2616932 h 5092591"/>
              <a:gd name="connsiteX2486" fmla="*/ 883851 w 4546203"/>
              <a:gd name="connsiteY2486" fmla="*/ 2459343 h 5092591"/>
              <a:gd name="connsiteX2487" fmla="*/ 850025 w 4546203"/>
              <a:gd name="connsiteY2487" fmla="*/ 2456558 h 5092591"/>
              <a:gd name="connsiteX2488" fmla="*/ 742976 w 4546203"/>
              <a:gd name="connsiteY2488" fmla="*/ 2450190 h 5092591"/>
              <a:gd name="connsiteX2489" fmla="*/ 731834 w 4546203"/>
              <a:gd name="connsiteY2489" fmla="*/ 2433476 h 5092591"/>
              <a:gd name="connsiteX2490" fmla="*/ 887035 w 4546203"/>
              <a:gd name="connsiteY2490" fmla="*/ 2444221 h 5092591"/>
              <a:gd name="connsiteX2491" fmla="*/ 889821 w 4546203"/>
              <a:gd name="connsiteY2491" fmla="*/ 2399252 h 5092591"/>
              <a:gd name="connsiteX2492" fmla="*/ 734619 w 4546203"/>
              <a:gd name="connsiteY2492" fmla="*/ 2366620 h 5092591"/>
              <a:gd name="connsiteX2493" fmla="*/ 718303 w 4546203"/>
              <a:gd name="connsiteY2493" fmla="*/ 2333590 h 5092591"/>
              <a:gd name="connsiteX2494" fmla="*/ 622397 w 4546203"/>
              <a:gd name="connsiteY2494" fmla="*/ 2256786 h 5092591"/>
              <a:gd name="connsiteX2495" fmla="*/ 485103 w 4546203"/>
              <a:gd name="connsiteY2495" fmla="*/ 1785610 h 5092591"/>
              <a:gd name="connsiteX2496" fmla="*/ 602101 w 4546203"/>
              <a:gd name="connsiteY2496" fmla="*/ 1490728 h 5092591"/>
              <a:gd name="connsiteX2497" fmla="*/ 596530 w 4546203"/>
              <a:gd name="connsiteY2497" fmla="*/ 1469637 h 5092591"/>
              <a:gd name="connsiteX2498" fmla="*/ 518929 w 4546203"/>
              <a:gd name="connsiteY2498" fmla="*/ 1599767 h 5092591"/>
              <a:gd name="connsiteX2499" fmla="*/ 449288 w 4546203"/>
              <a:gd name="connsiteY2499" fmla="*/ 1562359 h 5092591"/>
              <a:gd name="connsiteX2500" fmla="*/ 534052 w 4546203"/>
              <a:gd name="connsiteY2500" fmla="*/ 1419893 h 5092591"/>
              <a:gd name="connsiteX2501" fmla="*/ 515746 w 4546203"/>
              <a:gd name="connsiteY2501" fmla="*/ 1406760 h 5092591"/>
              <a:gd name="connsiteX2502" fmla="*/ 432972 w 4546203"/>
              <a:gd name="connsiteY2502" fmla="*/ 1544452 h 5092591"/>
              <a:gd name="connsiteX2503" fmla="*/ 365320 w 4546203"/>
              <a:gd name="connsiteY2503" fmla="*/ 1507442 h 5092591"/>
              <a:gd name="connsiteX2504" fmla="*/ 453665 w 4546203"/>
              <a:gd name="connsiteY2504" fmla="*/ 1359802 h 5092591"/>
              <a:gd name="connsiteX2505" fmla="*/ 433768 w 4546203"/>
              <a:gd name="connsiteY2505" fmla="*/ 1345476 h 5092591"/>
              <a:gd name="connsiteX2506" fmla="*/ 347412 w 4546203"/>
              <a:gd name="connsiteY2506" fmla="*/ 1488340 h 5092591"/>
              <a:gd name="connsiteX2507" fmla="*/ 281750 w 4546203"/>
              <a:gd name="connsiteY2507" fmla="*/ 1452127 h 5092591"/>
              <a:gd name="connsiteX2508" fmla="*/ 373677 w 4546203"/>
              <a:gd name="connsiteY2508" fmla="*/ 1299313 h 5092591"/>
              <a:gd name="connsiteX2509" fmla="*/ 352585 w 4546203"/>
              <a:gd name="connsiteY2509" fmla="*/ 1283395 h 5092591"/>
              <a:gd name="connsiteX2510" fmla="*/ 262250 w 4546203"/>
              <a:gd name="connsiteY2510" fmla="*/ 1431831 h 5092591"/>
              <a:gd name="connsiteX2511" fmla="*/ 198578 w 4546203"/>
              <a:gd name="connsiteY2511" fmla="*/ 1396413 h 5092591"/>
              <a:gd name="connsiteX2512" fmla="*/ 294882 w 4546203"/>
              <a:gd name="connsiteY2512" fmla="*/ 1237631 h 5092591"/>
              <a:gd name="connsiteX2513" fmla="*/ 272597 w 4546203"/>
              <a:gd name="connsiteY2513" fmla="*/ 1220121 h 5092591"/>
              <a:gd name="connsiteX2514" fmla="*/ 196190 w 4546203"/>
              <a:gd name="connsiteY2514" fmla="*/ 1310854 h 5092591"/>
              <a:gd name="connsiteX2515" fmla="*/ 132120 w 4546203"/>
              <a:gd name="connsiteY2515" fmla="*/ 1366567 h 5092591"/>
              <a:gd name="connsiteX2516" fmla="*/ 97100 w 4546203"/>
              <a:gd name="connsiteY2516" fmla="*/ 1345476 h 5092591"/>
              <a:gd name="connsiteX2517" fmla="*/ 98692 w 4546203"/>
              <a:gd name="connsiteY2517" fmla="*/ 1331547 h 5092591"/>
              <a:gd name="connsiteX2518" fmla="*/ 158385 w 4546203"/>
              <a:gd name="connsiteY2518" fmla="*/ 1167989 h 5092591"/>
              <a:gd name="connsiteX2519" fmla="*/ 149630 w 4546203"/>
              <a:gd name="connsiteY2519" fmla="*/ 1118245 h 5092591"/>
              <a:gd name="connsiteX2520" fmla="*/ 63672 w 4546203"/>
              <a:gd name="connsiteY2520" fmla="*/ 1044226 h 5092591"/>
              <a:gd name="connsiteX2521" fmla="*/ 0 w 4546203"/>
              <a:gd name="connsiteY2521" fmla="*/ 990900 h 5092591"/>
              <a:gd name="connsiteX2522" fmla="*/ 0 w 4546203"/>
              <a:gd name="connsiteY2522" fmla="*/ 982941 h 5092591"/>
              <a:gd name="connsiteX2523" fmla="*/ 14724 w 4546203"/>
              <a:gd name="connsiteY2523" fmla="*/ 971401 h 5092591"/>
              <a:gd name="connsiteX2524" fmla="*/ 215292 w 4546203"/>
              <a:gd name="connsiteY2524" fmla="*/ 1080440 h 5092591"/>
              <a:gd name="connsiteX2525" fmla="*/ 228424 w 4546203"/>
              <a:gd name="connsiteY2525" fmla="*/ 1064919 h 5092591"/>
              <a:gd name="connsiteX2526" fmla="*/ 344228 w 4546203"/>
              <a:gd name="connsiteY2526" fmla="*/ 953891 h 5092591"/>
              <a:gd name="connsiteX2527" fmla="*/ 386809 w 4546203"/>
              <a:gd name="connsiteY2527" fmla="*/ 933993 h 5092591"/>
              <a:gd name="connsiteX2528" fmla="*/ 411880 w 4546203"/>
              <a:gd name="connsiteY2528" fmla="*/ 955085 h 5092591"/>
              <a:gd name="connsiteX2529" fmla="*/ 402727 w 4546203"/>
              <a:gd name="connsiteY2529" fmla="*/ 995278 h 5092591"/>
              <a:gd name="connsiteX2530" fmla="*/ 333882 w 4546203"/>
              <a:gd name="connsiteY2530" fmla="*/ 1125010 h 5092591"/>
              <a:gd name="connsiteX2531" fmla="*/ 322739 w 4546203"/>
              <a:gd name="connsiteY2531" fmla="*/ 1143714 h 5092591"/>
              <a:gd name="connsiteX2532" fmla="*/ 347810 w 4546203"/>
              <a:gd name="connsiteY2532" fmla="*/ 1158438 h 5092591"/>
              <a:gd name="connsiteX2533" fmla="*/ 460828 w 4546203"/>
              <a:gd name="connsiteY2533" fmla="*/ 1014777 h 5092591"/>
              <a:gd name="connsiteX2534" fmla="*/ 516144 w 4546203"/>
              <a:gd name="connsiteY2534" fmla="*/ 1061736 h 5092591"/>
              <a:gd name="connsiteX2535" fmla="*/ 410686 w 4546203"/>
              <a:gd name="connsiteY2535" fmla="*/ 1196642 h 5092591"/>
              <a:gd name="connsiteX2536" fmla="*/ 433370 w 4546203"/>
              <a:gd name="connsiteY2536" fmla="*/ 1210172 h 5092591"/>
              <a:gd name="connsiteX2537" fmla="*/ 542408 w 4546203"/>
              <a:gd name="connsiteY2537" fmla="*/ 1072481 h 5092591"/>
              <a:gd name="connsiteX2538" fmla="*/ 599316 w 4546203"/>
              <a:gd name="connsiteY2538" fmla="*/ 1121031 h 5092591"/>
              <a:gd name="connsiteX2539" fmla="*/ 497838 w 4546203"/>
              <a:gd name="connsiteY2539" fmla="*/ 1249967 h 5092591"/>
              <a:gd name="connsiteX2540" fmla="*/ 518133 w 4546203"/>
              <a:gd name="connsiteY2540" fmla="*/ 1263100 h 5092591"/>
              <a:gd name="connsiteX2541" fmla="*/ 623591 w 4546203"/>
              <a:gd name="connsiteY2541" fmla="*/ 1130979 h 5092591"/>
              <a:gd name="connsiteX2542" fmla="*/ 681692 w 4546203"/>
              <a:gd name="connsiteY2542" fmla="*/ 1181121 h 5092591"/>
              <a:gd name="connsiteX2543" fmla="*/ 583398 w 4546203"/>
              <a:gd name="connsiteY2543" fmla="*/ 1305283 h 5092591"/>
              <a:gd name="connsiteX2544" fmla="*/ 602499 w 4546203"/>
              <a:gd name="connsiteY2544" fmla="*/ 1316823 h 5092591"/>
              <a:gd name="connsiteX2545" fmla="*/ 704375 w 4546203"/>
              <a:gd name="connsiteY2545" fmla="*/ 1190274 h 5092591"/>
              <a:gd name="connsiteX2546" fmla="*/ 764068 w 4546203"/>
              <a:gd name="connsiteY2546" fmla="*/ 1242008 h 5092591"/>
              <a:gd name="connsiteX2547" fmla="*/ 669355 w 4546203"/>
              <a:gd name="connsiteY2547" fmla="*/ 1360598 h 5092591"/>
              <a:gd name="connsiteX2548" fmla="*/ 686865 w 4546203"/>
              <a:gd name="connsiteY2548" fmla="*/ 1370547 h 5092591"/>
              <a:gd name="connsiteX2549" fmla="*/ 784363 w 4546203"/>
              <a:gd name="connsiteY2549" fmla="*/ 1250365 h 5092591"/>
              <a:gd name="connsiteX2550" fmla="*/ 814210 w 4546203"/>
              <a:gd name="connsiteY2550" fmla="*/ 1275436 h 5092591"/>
              <a:gd name="connsiteX2551" fmla="*/ 829332 w 4546203"/>
              <a:gd name="connsiteY2551" fmla="*/ 1277426 h 5092591"/>
              <a:gd name="connsiteX2552" fmla="*/ 898178 w 4546203"/>
              <a:gd name="connsiteY2552" fmla="*/ 1243202 h 5092591"/>
              <a:gd name="connsiteX2553" fmla="*/ 777598 w 4546203"/>
              <a:gd name="connsiteY2553" fmla="*/ 1127796 h 5092591"/>
              <a:gd name="connsiteX2554" fmla="*/ 829730 w 4546203"/>
              <a:gd name="connsiteY2554" fmla="*/ 1082031 h 5092591"/>
              <a:gd name="connsiteX2555" fmla="*/ 809434 w 4546203"/>
              <a:gd name="connsiteY2555" fmla="*/ 1062930 h 5092591"/>
              <a:gd name="connsiteX2556" fmla="*/ 762078 w 4546203"/>
              <a:gd name="connsiteY2556" fmla="*/ 1111878 h 5092591"/>
              <a:gd name="connsiteX2557" fmla="*/ 740589 w 4546203"/>
              <a:gd name="connsiteY2557" fmla="*/ 1094368 h 5092591"/>
              <a:gd name="connsiteX2558" fmla="*/ 768843 w 4546203"/>
              <a:gd name="connsiteY2558" fmla="*/ 1064124 h 5092591"/>
              <a:gd name="connsiteX2559" fmla="*/ 734619 w 4546203"/>
              <a:gd name="connsiteY2559" fmla="*/ 1037859 h 5092591"/>
              <a:gd name="connsiteX2560" fmla="*/ 778394 w 4546203"/>
              <a:gd name="connsiteY2560" fmla="*/ 1009604 h 5092591"/>
              <a:gd name="connsiteX2561" fmla="*/ 703181 w 4546203"/>
              <a:gd name="connsiteY2561" fmla="*/ 943544 h 5092591"/>
              <a:gd name="connsiteX2562" fmla="*/ 740589 w 4546203"/>
              <a:gd name="connsiteY2562" fmla="*/ 914096 h 5092591"/>
              <a:gd name="connsiteX2563" fmla="*/ 660998 w 4546203"/>
              <a:gd name="connsiteY2563" fmla="*/ 828934 h 5092591"/>
              <a:gd name="connsiteX2564" fmla="*/ 728650 w 4546203"/>
              <a:gd name="connsiteY2564" fmla="*/ 767649 h 5092591"/>
              <a:gd name="connsiteX2565" fmla="*/ 804261 w 4546203"/>
              <a:gd name="connsiteY2565" fmla="*/ 854801 h 5092591"/>
              <a:gd name="connsiteX2566" fmla="*/ 839281 w 4546203"/>
              <a:gd name="connsiteY2566" fmla="*/ 826148 h 5092591"/>
              <a:gd name="connsiteX2567" fmla="*/ 896984 w 4546203"/>
              <a:gd name="connsiteY2567" fmla="*/ 894994 h 5092591"/>
              <a:gd name="connsiteX2568" fmla="*/ 926034 w 4546203"/>
              <a:gd name="connsiteY2568" fmla="*/ 873107 h 5092591"/>
              <a:gd name="connsiteX2569" fmla="*/ 949911 w 4546203"/>
              <a:gd name="connsiteY2569" fmla="*/ 900963 h 5092591"/>
              <a:gd name="connsiteX2570" fmla="*/ 978962 w 4546203"/>
              <a:gd name="connsiteY2570" fmla="*/ 879872 h 5092591"/>
              <a:gd name="connsiteX2571" fmla="*/ 1193458 w 4546203"/>
              <a:gd name="connsiteY2571" fmla="*/ 1156051 h 5092591"/>
              <a:gd name="connsiteX2572" fmla="*/ 1247181 w 4546203"/>
              <a:gd name="connsiteY2572" fmla="*/ 1115857 h 5092591"/>
              <a:gd name="connsiteX2573" fmla="*/ 1230070 w 4546203"/>
              <a:gd name="connsiteY2573" fmla="*/ 1089195 h 5092591"/>
              <a:gd name="connsiteX2574" fmla="*/ 1266283 w 4546203"/>
              <a:gd name="connsiteY2574" fmla="*/ 1062532 h 5092591"/>
              <a:gd name="connsiteX2575" fmla="*/ 1237631 w 4546203"/>
              <a:gd name="connsiteY2575" fmla="*/ 1017961 h 5092591"/>
              <a:gd name="connsiteX2576" fmla="*/ 1362587 w 4546203"/>
              <a:gd name="connsiteY2576" fmla="*/ 940758 h 5092591"/>
              <a:gd name="connsiteX2577" fmla="*/ 1389250 w 4546203"/>
              <a:gd name="connsiteY2577" fmla="*/ 986125 h 5092591"/>
              <a:gd name="connsiteX2578" fmla="*/ 1433821 w 4546203"/>
              <a:gd name="connsiteY2578" fmla="*/ 962646 h 5092591"/>
              <a:gd name="connsiteX2579" fmla="*/ 1501473 w 4546203"/>
              <a:gd name="connsiteY2579" fmla="*/ 1089195 h 5092591"/>
              <a:gd name="connsiteX2580" fmla="*/ 1558380 w 4546203"/>
              <a:gd name="connsiteY2580" fmla="*/ 1059746 h 5092591"/>
              <a:gd name="connsiteX2581" fmla="*/ 1348659 w 4546203"/>
              <a:gd name="connsiteY2581" fmla="*/ 622397 h 5092591"/>
              <a:gd name="connsiteX2582" fmla="*/ 1384077 w 4546203"/>
              <a:gd name="connsiteY2582" fmla="*/ 605683 h 5092591"/>
              <a:gd name="connsiteX2583" fmla="*/ 1392832 w 4546203"/>
              <a:gd name="connsiteY2583" fmla="*/ 605683 h 5092591"/>
              <a:gd name="connsiteX2584" fmla="*/ 1414719 w 4546203"/>
              <a:gd name="connsiteY2584" fmla="*/ 606877 h 5092591"/>
              <a:gd name="connsiteX2585" fmla="*/ 1660653 w 4546203"/>
              <a:gd name="connsiteY2585" fmla="*/ 516144 h 5092591"/>
              <a:gd name="connsiteX2586" fmla="*/ 1674980 w 4546203"/>
              <a:gd name="connsiteY2586" fmla="*/ 510572 h 5092591"/>
              <a:gd name="connsiteX2587" fmla="*/ 1713979 w 4546203"/>
              <a:gd name="connsiteY2587" fmla="*/ 485899 h 5092591"/>
              <a:gd name="connsiteX2588" fmla="*/ 1806702 w 4546203"/>
              <a:gd name="connsiteY2588" fmla="*/ 828536 h 5092591"/>
              <a:gd name="connsiteX2589" fmla="*/ 1829783 w 4546203"/>
              <a:gd name="connsiteY2589" fmla="*/ 820975 h 5092591"/>
              <a:gd name="connsiteX2590" fmla="*/ 1818242 w 4546203"/>
              <a:gd name="connsiteY2590" fmla="*/ 769241 h 5092591"/>
              <a:gd name="connsiteX2591" fmla="*/ 2005678 w 4546203"/>
              <a:gd name="connsiteY2591" fmla="*/ 732232 h 5092591"/>
              <a:gd name="connsiteX2592" fmla="*/ 2014831 w 4546203"/>
              <a:gd name="connsiteY2592" fmla="*/ 784761 h 5092591"/>
              <a:gd name="connsiteX2593" fmla="*/ 2080095 w 4546203"/>
              <a:gd name="connsiteY2593" fmla="*/ 777598 h 5092591"/>
              <a:gd name="connsiteX2594" fmla="*/ 2113125 w 4546203"/>
              <a:gd name="connsiteY2594" fmla="*/ 1086807 h 5092591"/>
              <a:gd name="connsiteX2595" fmla="*/ 2130635 w 4546203"/>
              <a:gd name="connsiteY2595" fmla="*/ 1070093 h 5092591"/>
              <a:gd name="connsiteX2596" fmla="*/ 2097605 w 4546203"/>
              <a:gd name="connsiteY2596" fmla="*/ 715518 h 5092591"/>
              <a:gd name="connsiteX2597" fmla="*/ 2043881 w 4546203"/>
              <a:gd name="connsiteY2597" fmla="*/ 137293 h 5092591"/>
              <a:gd name="connsiteX2598" fmla="*/ 2043881 w 4546203"/>
              <a:gd name="connsiteY2598" fmla="*/ 116600 h 5092591"/>
              <a:gd name="connsiteX2599" fmla="*/ 2070942 w 4546203"/>
              <a:gd name="connsiteY2599" fmla="*/ 111824 h 5092591"/>
              <a:gd name="connsiteX2600" fmla="*/ 2066166 w 4546203"/>
              <a:gd name="connsiteY2600" fmla="*/ 42979 h 5092591"/>
              <a:gd name="connsiteX2601" fmla="*/ 2095615 w 4546203"/>
              <a:gd name="connsiteY2601" fmla="*/ 38203 h 5092591"/>
              <a:gd name="connsiteX2602" fmla="*/ 2095615 w 4546203"/>
              <a:gd name="connsiteY2602" fmla="*/ 7163 h 5092591"/>
              <a:gd name="connsiteX2603" fmla="*/ 2175205 w 4546203"/>
              <a:gd name="connsiteY2603" fmla="*/ 0 h 5092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</a:cxnLst>
            <a:rect l="l" t="t" r="r" b="b"/>
            <a:pathLst>
              <a:path w="4546203" h="5092591">
                <a:moveTo>
                  <a:pt x="2251214" y="4846657"/>
                </a:moveTo>
                <a:cubicBezTo>
                  <a:pt x="2251214" y="4868146"/>
                  <a:pt x="2251214" y="4887646"/>
                  <a:pt x="2251214" y="4907544"/>
                </a:cubicBezTo>
                <a:cubicBezTo>
                  <a:pt x="2278673" y="4907544"/>
                  <a:pt x="2304540" y="4907544"/>
                  <a:pt x="2330407" y="4907544"/>
                </a:cubicBezTo>
                <a:cubicBezTo>
                  <a:pt x="2330407" y="4886452"/>
                  <a:pt x="2330407" y="4866952"/>
                  <a:pt x="2330407" y="4846657"/>
                </a:cubicBezTo>
                <a:cubicBezTo>
                  <a:pt x="2301754" y="4846657"/>
                  <a:pt x="2276683" y="4846657"/>
                  <a:pt x="2251214" y="4846657"/>
                </a:cubicBezTo>
                <a:close/>
                <a:moveTo>
                  <a:pt x="2445813" y="4838698"/>
                </a:moveTo>
                <a:cubicBezTo>
                  <a:pt x="2417956" y="4840290"/>
                  <a:pt x="2392885" y="4841882"/>
                  <a:pt x="2365824" y="4843474"/>
                </a:cubicBezTo>
                <a:cubicBezTo>
                  <a:pt x="2367018" y="4864963"/>
                  <a:pt x="2367814" y="4884860"/>
                  <a:pt x="2369008" y="4907146"/>
                </a:cubicBezTo>
                <a:cubicBezTo>
                  <a:pt x="2397263" y="4905554"/>
                  <a:pt x="2423129" y="4903962"/>
                  <a:pt x="2450588" y="4902370"/>
                </a:cubicBezTo>
                <a:cubicBezTo>
                  <a:pt x="2448598" y="4880085"/>
                  <a:pt x="2447404" y="4860585"/>
                  <a:pt x="2445813" y="4838698"/>
                </a:cubicBezTo>
                <a:close/>
                <a:moveTo>
                  <a:pt x="2019208" y="4832729"/>
                </a:moveTo>
                <a:cubicBezTo>
                  <a:pt x="2016820" y="4855014"/>
                  <a:pt x="2014831" y="4874514"/>
                  <a:pt x="2012841" y="4895605"/>
                </a:cubicBezTo>
                <a:cubicBezTo>
                  <a:pt x="2041095" y="4897993"/>
                  <a:pt x="2067360" y="4900381"/>
                  <a:pt x="2094421" y="4902768"/>
                </a:cubicBezTo>
                <a:cubicBezTo>
                  <a:pt x="2096013" y="4880483"/>
                  <a:pt x="2097605" y="4860983"/>
                  <a:pt x="2099196" y="4839494"/>
                </a:cubicBezTo>
                <a:cubicBezTo>
                  <a:pt x="2070942" y="4837106"/>
                  <a:pt x="2045473" y="4835116"/>
                  <a:pt x="2019208" y="4832729"/>
                </a:cubicBezTo>
                <a:close/>
                <a:moveTo>
                  <a:pt x="2251612" y="4753934"/>
                </a:moveTo>
                <a:cubicBezTo>
                  <a:pt x="2251612" y="4775026"/>
                  <a:pt x="2251612" y="4795321"/>
                  <a:pt x="2251612" y="4814821"/>
                </a:cubicBezTo>
                <a:cubicBezTo>
                  <a:pt x="2278275" y="4814821"/>
                  <a:pt x="2303346" y="4814821"/>
                  <a:pt x="2328019" y="4814821"/>
                </a:cubicBezTo>
                <a:cubicBezTo>
                  <a:pt x="2328019" y="4793730"/>
                  <a:pt x="2328019" y="4774628"/>
                  <a:pt x="2328019" y="4753934"/>
                </a:cubicBezTo>
                <a:cubicBezTo>
                  <a:pt x="2301356" y="4753934"/>
                  <a:pt x="2277081" y="4753934"/>
                  <a:pt x="2251612" y="4753934"/>
                </a:cubicBezTo>
                <a:close/>
                <a:moveTo>
                  <a:pt x="2029157" y="4740404"/>
                </a:moveTo>
                <a:cubicBezTo>
                  <a:pt x="2027167" y="4761894"/>
                  <a:pt x="2024779" y="4781791"/>
                  <a:pt x="2022392" y="4803678"/>
                </a:cubicBezTo>
                <a:cubicBezTo>
                  <a:pt x="2049452" y="4806066"/>
                  <a:pt x="2074125" y="4808454"/>
                  <a:pt x="2101186" y="4811239"/>
                </a:cubicBezTo>
                <a:cubicBezTo>
                  <a:pt x="2102778" y="4788158"/>
                  <a:pt x="2104370" y="4768659"/>
                  <a:pt x="2105564" y="4747965"/>
                </a:cubicBezTo>
                <a:cubicBezTo>
                  <a:pt x="2079697" y="4745577"/>
                  <a:pt x="2055422" y="4743189"/>
                  <a:pt x="2029157" y="4740404"/>
                </a:cubicBezTo>
                <a:close/>
                <a:moveTo>
                  <a:pt x="2252408" y="4661609"/>
                </a:moveTo>
                <a:cubicBezTo>
                  <a:pt x="2252408" y="4682701"/>
                  <a:pt x="2252408" y="4702201"/>
                  <a:pt x="2252408" y="4722894"/>
                </a:cubicBezTo>
                <a:cubicBezTo>
                  <a:pt x="2277081" y="4722894"/>
                  <a:pt x="2300560" y="4722894"/>
                  <a:pt x="2324835" y="4722894"/>
                </a:cubicBezTo>
                <a:cubicBezTo>
                  <a:pt x="2324835" y="4701007"/>
                  <a:pt x="2324835" y="4681507"/>
                  <a:pt x="2324835" y="4661609"/>
                </a:cubicBezTo>
                <a:cubicBezTo>
                  <a:pt x="2299764" y="4661609"/>
                  <a:pt x="2276683" y="4661609"/>
                  <a:pt x="2252408" y="4661609"/>
                </a:cubicBezTo>
                <a:close/>
                <a:moveTo>
                  <a:pt x="2144961" y="4660017"/>
                </a:moveTo>
                <a:cubicBezTo>
                  <a:pt x="2143767" y="4679915"/>
                  <a:pt x="2142971" y="4699415"/>
                  <a:pt x="2141777" y="4721302"/>
                </a:cubicBezTo>
                <a:cubicBezTo>
                  <a:pt x="2168042" y="4721302"/>
                  <a:pt x="2192317" y="4721302"/>
                  <a:pt x="2217388" y="4721302"/>
                </a:cubicBezTo>
                <a:cubicBezTo>
                  <a:pt x="2217388" y="4701405"/>
                  <a:pt x="2217388" y="4681507"/>
                  <a:pt x="2217388" y="4660017"/>
                </a:cubicBezTo>
                <a:cubicBezTo>
                  <a:pt x="2193113" y="4660017"/>
                  <a:pt x="2170032" y="4660017"/>
                  <a:pt x="2144961" y="4660017"/>
                </a:cubicBezTo>
                <a:close/>
                <a:moveTo>
                  <a:pt x="2431088" y="4654844"/>
                </a:moveTo>
                <a:cubicBezTo>
                  <a:pt x="2406018" y="4656834"/>
                  <a:pt x="2382538" y="4658426"/>
                  <a:pt x="2357467" y="4660017"/>
                </a:cubicBezTo>
                <a:cubicBezTo>
                  <a:pt x="2358661" y="4681507"/>
                  <a:pt x="2359855" y="4701007"/>
                  <a:pt x="2361049" y="4723292"/>
                </a:cubicBezTo>
                <a:cubicBezTo>
                  <a:pt x="2387712" y="4721302"/>
                  <a:pt x="2411191" y="4719710"/>
                  <a:pt x="2436660" y="4718119"/>
                </a:cubicBezTo>
                <a:cubicBezTo>
                  <a:pt x="2435068" y="4696231"/>
                  <a:pt x="2433476" y="4676334"/>
                  <a:pt x="2431088" y="4654844"/>
                </a:cubicBezTo>
                <a:close/>
                <a:moveTo>
                  <a:pt x="2150930" y="4567295"/>
                </a:moveTo>
                <a:cubicBezTo>
                  <a:pt x="2149736" y="4587193"/>
                  <a:pt x="2148543" y="4605896"/>
                  <a:pt x="2146951" y="4628580"/>
                </a:cubicBezTo>
                <a:cubicBezTo>
                  <a:pt x="2171624" y="4629375"/>
                  <a:pt x="2194705" y="4630569"/>
                  <a:pt x="2219378" y="4631763"/>
                </a:cubicBezTo>
                <a:cubicBezTo>
                  <a:pt x="2219378" y="4609876"/>
                  <a:pt x="2219378" y="4589978"/>
                  <a:pt x="2219378" y="4567295"/>
                </a:cubicBezTo>
                <a:cubicBezTo>
                  <a:pt x="2196695" y="4567295"/>
                  <a:pt x="2174012" y="4567295"/>
                  <a:pt x="2150930" y="4567295"/>
                </a:cubicBezTo>
                <a:close/>
                <a:moveTo>
                  <a:pt x="2424323" y="4562918"/>
                </a:moveTo>
                <a:cubicBezTo>
                  <a:pt x="2400048" y="4564509"/>
                  <a:pt x="2377365" y="4565703"/>
                  <a:pt x="2353488" y="4567295"/>
                </a:cubicBezTo>
                <a:cubicBezTo>
                  <a:pt x="2355080" y="4590376"/>
                  <a:pt x="2356274" y="4610273"/>
                  <a:pt x="2357467" y="4630967"/>
                </a:cubicBezTo>
                <a:cubicBezTo>
                  <a:pt x="2382936" y="4629375"/>
                  <a:pt x="2404824" y="4627783"/>
                  <a:pt x="2429497" y="4626192"/>
                </a:cubicBezTo>
                <a:cubicBezTo>
                  <a:pt x="2427905" y="4605100"/>
                  <a:pt x="2426711" y="4585601"/>
                  <a:pt x="2424323" y="4562918"/>
                </a:cubicBezTo>
                <a:close/>
                <a:moveTo>
                  <a:pt x="2049452" y="4556550"/>
                </a:moveTo>
                <a:cubicBezTo>
                  <a:pt x="2047065" y="4578039"/>
                  <a:pt x="2045075" y="4597937"/>
                  <a:pt x="2042687" y="4619427"/>
                </a:cubicBezTo>
                <a:cubicBezTo>
                  <a:pt x="2067360" y="4621814"/>
                  <a:pt x="2090044" y="4624202"/>
                  <a:pt x="2114717" y="4626590"/>
                </a:cubicBezTo>
                <a:cubicBezTo>
                  <a:pt x="2116309" y="4605100"/>
                  <a:pt x="2117900" y="4584805"/>
                  <a:pt x="2119492" y="4563315"/>
                </a:cubicBezTo>
                <a:cubicBezTo>
                  <a:pt x="2095615" y="4560928"/>
                  <a:pt x="2073330" y="4558938"/>
                  <a:pt x="2049452" y="4556550"/>
                </a:cubicBezTo>
                <a:close/>
                <a:moveTo>
                  <a:pt x="2897488" y="4513571"/>
                </a:moveTo>
                <a:cubicBezTo>
                  <a:pt x="2880376" y="4518744"/>
                  <a:pt x="2864856" y="4523520"/>
                  <a:pt x="2847744" y="4528693"/>
                </a:cubicBezTo>
                <a:cubicBezTo>
                  <a:pt x="2852122" y="4542622"/>
                  <a:pt x="2855703" y="4554560"/>
                  <a:pt x="2859683" y="4567295"/>
                </a:cubicBezTo>
                <a:cubicBezTo>
                  <a:pt x="2877988" y="4562121"/>
                  <a:pt x="2893509" y="4557346"/>
                  <a:pt x="2910223" y="4551775"/>
                </a:cubicBezTo>
                <a:cubicBezTo>
                  <a:pt x="2905845" y="4538244"/>
                  <a:pt x="2901866" y="4526704"/>
                  <a:pt x="2897488" y="4513571"/>
                </a:cubicBezTo>
                <a:close/>
                <a:moveTo>
                  <a:pt x="1790386" y="4506408"/>
                </a:moveTo>
                <a:cubicBezTo>
                  <a:pt x="1786406" y="4521928"/>
                  <a:pt x="1783223" y="4535061"/>
                  <a:pt x="1779641" y="4549785"/>
                </a:cubicBezTo>
                <a:cubicBezTo>
                  <a:pt x="1811079" y="4556550"/>
                  <a:pt x="1840130" y="4562918"/>
                  <a:pt x="1872364" y="4570080"/>
                </a:cubicBezTo>
                <a:cubicBezTo>
                  <a:pt x="1875547" y="4553764"/>
                  <a:pt x="1877935" y="4540632"/>
                  <a:pt x="1881119" y="4525908"/>
                </a:cubicBezTo>
                <a:cubicBezTo>
                  <a:pt x="1850079" y="4519143"/>
                  <a:pt x="1820630" y="4512775"/>
                  <a:pt x="1790386" y="4506408"/>
                </a:cubicBezTo>
                <a:close/>
                <a:moveTo>
                  <a:pt x="3136658" y="4499245"/>
                </a:moveTo>
                <a:cubicBezTo>
                  <a:pt x="3139842" y="4505612"/>
                  <a:pt x="3143423" y="4513173"/>
                  <a:pt x="3148995" y="4525908"/>
                </a:cubicBezTo>
                <a:cubicBezTo>
                  <a:pt x="3132679" y="4528295"/>
                  <a:pt x="3119546" y="4529887"/>
                  <a:pt x="3106414" y="4531877"/>
                </a:cubicBezTo>
                <a:cubicBezTo>
                  <a:pt x="3103230" y="4532275"/>
                  <a:pt x="3100046" y="4533469"/>
                  <a:pt x="3096863" y="4534662"/>
                </a:cubicBezTo>
                <a:cubicBezTo>
                  <a:pt x="3039956" y="4555357"/>
                  <a:pt x="2983446" y="4576050"/>
                  <a:pt x="2926936" y="4597142"/>
                </a:cubicBezTo>
                <a:cubicBezTo>
                  <a:pt x="2923355" y="4598336"/>
                  <a:pt x="2920569" y="4600724"/>
                  <a:pt x="2917784" y="4602714"/>
                </a:cubicBezTo>
                <a:cubicBezTo>
                  <a:pt x="2918579" y="4604703"/>
                  <a:pt x="2919773" y="4607091"/>
                  <a:pt x="2920569" y="4609479"/>
                </a:cubicBezTo>
                <a:cubicBezTo>
                  <a:pt x="2984242" y="4585999"/>
                  <a:pt x="3047517" y="4562918"/>
                  <a:pt x="3112383" y="4539439"/>
                </a:cubicBezTo>
                <a:cubicBezTo>
                  <a:pt x="3116760" y="4548990"/>
                  <a:pt x="3120740" y="4558540"/>
                  <a:pt x="3126311" y="4570877"/>
                </a:cubicBezTo>
                <a:cubicBezTo>
                  <a:pt x="3061445" y="4594754"/>
                  <a:pt x="2997374" y="4618632"/>
                  <a:pt x="2931314" y="4642907"/>
                </a:cubicBezTo>
                <a:cubicBezTo>
                  <a:pt x="2926539" y="4630172"/>
                  <a:pt x="2922957" y="4621019"/>
                  <a:pt x="2918977" y="4609876"/>
                </a:cubicBezTo>
                <a:cubicBezTo>
                  <a:pt x="2909427" y="4611866"/>
                  <a:pt x="2899876" y="4614254"/>
                  <a:pt x="2888335" y="4617040"/>
                </a:cubicBezTo>
                <a:cubicBezTo>
                  <a:pt x="2885947" y="4608683"/>
                  <a:pt x="2883958" y="4601122"/>
                  <a:pt x="2881570" y="4593560"/>
                </a:cubicBezTo>
                <a:cubicBezTo>
                  <a:pt x="2967130" y="4561724"/>
                  <a:pt x="3051098" y="4530683"/>
                  <a:pt x="3136658" y="4499245"/>
                </a:cubicBezTo>
                <a:close/>
                <a:moveTo>
                  <a:pt x="2955987" y="4494470"/>
                </a:moveTo>
                <a:cubicBezTo>
                  <a:pt x="2938477" y="4500439"/>
                  <a:pt x="2922957" y="4505612"/>
                  <a:pt x="2905845" y="4511184"/>
                </a:cubicBezTo>
                <a:cubicBezTo>
                  <a:pt x="2910621" y="4524714"/>
                  <a:pt x="2914998" y="4536652"/>
                  <a:pt x="2919376" y="4549387"/>
                </a:cubicBezTo>
                <a:cubicBezTo>
                  <a:pt x="2936885" y="4543020"/>
                  <a:pt x="2952405" y="4537846"/>
                  <a:pt x="2969119" y="4532275"/>
                </a:cubicBezTo>
                <a:cubicBezTo>
                  <a:pt x="2964344" y="4518744"/>
                  <a:pt x="2960365" y="4507204"/>
                  <a:pt x="2955987" y="4494470"/>
                </a:cubicBezTo>
                <a:close/>
                <a:moveTo>
                  <a:pt x="2254398" y="4476562"/>
                </a:moveTo>
                <a:cubicBezTo>
                  <a:pt x="2254398" y="4498449"/>
                  <a:pt x="2254398" y="4517949"/>
                  <a:pt x="2254398" y="4538244"/>
                </a:cubicBezTo>
                <a:cubicBezTo>
                  <a:pt x="2277081" y="4538244"/>
                  <a:pt x="2298172" y="4538244"/>
                  <a:pt x="2320060" y="4538244"/>
                </a:cubicBezTo>
                <a:cubicBezTo>
                  <a:pt x="2320060" y="4517153"/>
                  <a:pt x="2320060" y="4496857"/>
                  <a:pt x="2320060" y="4476562"/>
                </a:cubicBezTo>
                <a:cubicBezTo>
                  <a:pt x="2297775" y="4476562"/>
                  <a:pt x="2276683" y="4476562"/>
                  <a:pt x="2254398" y="4476562"/>
                </a:cubicBezTo>
                <a:close/>
                <a:moveTo>
                  <a:pt x="3013292" y="4472980"/>
                </a:moveTo>
                <a:cubicBezTo>
                  <a:pt x="2996180" y="4479348"/>
                  <a:pt x="2981058" y="4484919"/>
                  <a:pt x="2964344" y="4491286"/>
                </a:cubicBezTo>
                <a:cubicBezTo>
                  <a:pt x="2969119" y="4504816"/>
                  <a:pt x="2973099" y="4516357"/>
                  <a:pt x="2977874" y="4529489"/>
                </a:cubicBezTo>
                <a:cubicBezTo>
                  <a:pt x="2995384" y="4522724"/>
                  <a:pt x="3010904" y="4516755"/>
                  <a:pt x="3028016" y="4510388"/>
                </a:cubicBezTo>
                <a:cubicBezTo>
                  <a:pt x="3022843" y="4497255"/>
                  <a:pt x="3018465" y="4486510"/>
                  <a:pt x="3013292" y="4472980"/>
                </a:cubicBezTo>
                <a:close/>
                <a:moveTo>
                  <a:pt x="2156104" y="4472582"/>
                </a:moveTo>
                <a:cubicBezTo>
                  <a:pt x="2154910" y="4494867"/>
                  <a:pt x="2154114" y="4514765"/>
                  <a:pt x="2152920" y="4537051"/>
                </a:cubicBezTo>
                <a:cubicBezTo>
                  <a:pt x="2177195" y="4537051"/>
                  <a:pt x="2199083" y="4537051"/>
                  <a:pt x="2222164" y="4537051"/>
                </a:cubicBezTo>
                <a:cubicBezTo>
                  <a:pt x="2222164" y="4516755"/>
                  <a:pt x="2222164" y="4497653"/>
                  <a:pt x="2222164" y="4475766"/>
                </a:cubicBezTo>
                <a:cubicBezTo>
                  <a:pt x="2199878" y="4474970"/>
                  <a:pt x="2179185" y="4473776"/>
                  <a:pt x="2156104" y="4472582"/>
                </a:cubicBezTo>
                <a:close/>
                <a:moveTo>
                  <a:pt x="2059401" y="4465021"/>
                </a:moveTo>
                <a:cubicBezTo>
                  <a:pt x="2057014" y="4486510"/>
                  <a:pt x="2055024" y="4506408"/>
                  <a:pt x="2052636" y="4528295"/>
                </a:cubicBezTo>
                <a:cubicBezTo>
                  <a:pt x="2076513" y="4530285"/>
                  <a:pt x="2098401" y="4532275"/>
                  <a:pt x="2121482" y="4534265"/>
                </a:cubicBezTo>
                <a:cubicBezTo>
                  <a:pt x="2123074" y="4511979"/>
                  <a:pt x="2124665" y="4492480"/>
                  <a:pt x="2126257" y="4470990"/>
                </a:cubicBezTo>
                <a:cubicBezTo>
                  <a:pt x="2103574" y="4469000"/>
                  <a:pt x="2082483" y="4467011"/>
                  <a:pt x="2059401" y="4465021"/>
                </a:cubicBezTo>
                <a:close/>
                <a:moveTo>
                  <a:pt x="2881172" y="4462236"/>
                </a:moveTo>
                <a:cubicBezTo>
                  <a:pt x="2864060" y="4467409"/>
                  <a:pt x="2849336" y="4472184"/>
                  <a:pt x="2833020" y="4477358"/>
                </a:cubicBezTo>
                <a:cubicBezTo>
                  <a:pt x="2836602" y="4488898"/>
                  <a:pt x="2839387" y="4498847"/>
                  <a:pt x="2842571" y="4511184"/>
                </a:cubicBezTo>
                <a:cubicBezTo>
                  <a:pt x="2860479" y="4505612"/>
                  <a:pt x="2875203" y="4501235"/>
                  <a:pt x="2891917" y="4496061"/>
                </a:cubicBezTo>
                <a:cubicBezTo>
                  <a:pt x="2887937" y="4483725"/>
                  <a:pt x="2884754" y="4473378"/>
                  <a:pt x="2881172" y="4462236"/>
                </a:cubicBezTo>
                <a:close/>
                <a:moveTo>
                  <a:pt x="3070199" y="4449899"/>
                </a:moveTo>
                <a:cubicBezTo>
                  <a:pt x="3052291" y="4457460"/>
                  <a:pt x="3037169" y="4463827"/>
                  <a:pt x="3021649" y="4470195"/>
                </a:cubicBezTo>
                <a:cubicBezTo>
                  <a:pt x="3026823" y="4483725"/>
                  <a:pt x="3031598" y="4494867"/>
                  <a:pt x="3036373" y="4507602"/>
                </a:cubicBezTo>
                <a:cubicBezTo>
                  <a:pt x="3053883" y="4500041"/>
                  <a:pt x="3069403" y="4493674"/>
                  <a:pt x="3085719" y="4486908"/>
                </a:cubicBezTo>
                <a:cubicBezTo>
                  <a:pt x="3080148" y="4473776"/>
                  <a:pt x="3075771" y="4463031"/>
                  <a:pt x="3070199" y="4449899"/>
                </a:cubicBezTo>
                <a:close/>
                <a:moveTo>
                  <a:pt x="2937283" y="4443134"/>
                </a:moveTo>
                <a:cubicBezTo>
                  <a:pt x="2920171" y="4449103"/>
                  <a:pt x="2905049" y="4454674"/>
                  <a:pt x="2889131" y="4460644"/>
                </a:cubicBezTo>
                <a:cubicBezTo>
                  <a:pt x="2893509" y="4472582"/>
                  <a:pt x="2896692" y="4482531"/>
                  <a:pt x="2900672" y="4493276"/>
                </a:cubicBezTo>
                <a:cubicBezTo>
                  <a:pt x="2917386" y="4487705"/>
                  <a:pt x="2932110" y="4482531"/>
                  <a:pt x="2949620" y="4476562"/>
                </a:cubicBezTo>
                <a:cubicBezTo>
                  <a:pt x="2945242" y="4464225"/>
                  <a:pt x="2941263" y="4454276"/>
                  <a:pt x="2937283" y="4443134"/>
                </a:cubicBezTo>
                <a:close/>
                <a:moveTo>
                  <a:pt x="1805906" y="4442736"/>
                </a:moveTo>
                <a:cubicBezTo>
                  <a:pt x="1802324" y="4457460"/>
                  <a:pt x="1799141" y="4470990"/>
                  <a:pt x="1795161" y="4486510"/>
                </a:cubicBezTo>
                <a:cubicBezTo>
                  <a:pt x="1826599" y="4493276"/>
                  <a:pt x="1854854" y="4499245"/>
                  <a:pt x="1885098" y="4506010"/>
                </a:cubicBezTo>
                <a:cubicBezTo>
                  <a:pt x="1887884" y="4489694"/>
                  <a:pt x="1890670" y="4476164"/>
                  <a:pt x="1893455" y="4461838"/>
                </a:cubicBezTo>
                <a:cubicBezTo>
                  <a:pt x="1862813" y="4455072"/>
                  <a:pt x="1834956" y="4449103"/>
                  <a:pt x="1805906" y="4442736"/>
                </a:cubicBezTo>
                <a:close/>
                <a:moveTo>
                  <a:pt x="3125515" y="4426022"/>
                </a:moveTo>
                <a:cubicBezTo>
                  <a:pt x="3108403" y="4433583"/>
                  <a:pt x="3093678" y="4440348"/>
                  <a:pt x="3078158" y="4447113"/>
                </a:cubicBezTo>
                <a:cubicBezTo>
                  <a:pt x="3083332" y="4459848"/>
                  <a:pt x="3088107" y="4470592"/>
                  <a:pt x="3093678" y="4484123"/>
                </a:cubicBezTo>
                <a:cubicBezTo>
                  <a:pt x="3110790" y="4476164"/>
                  <a:pt x="3126311" y="4469399"/>
                  <a:pt x="3142626" y="4461838"/>
                </a:cubicBezTo>
                <a:cubicBezTo>
                  <a:pt x="3136259" y="4448705"/>
                  <a:pt x="3131086" y="4437563"/>
                  <a:pt x="3125515" y="4426022"/>
                </a:cubicBezTo>
                <a:close/>
                <a:moveTo>
                  <a:pt x="1534503" y="4425226"/>
                </a:moveTo>
                <a:cubicBezTo>
                  <a:pt x="1528931" y="4439552"/>
                  <a:pt x="1524156" y="4452287"/>
                  <a:pt x="1518187" y="4467011"/>
                </a:cubicBezTo>
                <a:cubicBezTo>
                  <a:pt x="1548431" y="4478154"/>
                  <a:pt x="1577481" y="4488500"/>
                  <a:pt x="1607328" y="4499643"/>
                </a:cubicBezTo>
                <a:cubicBezTo>
                  <a:pt x="1612501" y="4484521"/>
                  <a:pt x="1617277" y="4471786"/>
                  <a:pt x="1621654" y="4457062"/>
                </a:cubicBezTo>
                <a:cubicBezTo>
                  <a:pt x="1592206" y="4446317"/>
                  <a:pt x="1563951" y="4435971"/>
                  <a:pt x="1534503" y="4425226"/>
                </a:cubicBezTo>
                <a:close/>
                <a:moveTo>
                  <a:pt x="2993394" y="4422440"/>
                </a:moveTo>
                <a:cubicBezTo>
                  <a:pt x="2976680" y="4428807"/>
                  <a:pt x="2961558" y="4434777"/>
                  <a:pt x="2945640" y="4440746"/>
                </a:cubicBezTo>
                <a:cubicBezTo>
                  <a:pt x="2950416" y="4452685"/>
                  <a:pt x="2954395" y="4463031"/>
                  <a:pt x="2958375" y="4473378"/>
                </a:cubicBezTo>
                <a:cubicBezTo>
                  <a:pt x="2975089" y="4467011"/>
                  <a:pt x="2989813" y="4461440"/>
                  <a:pt x="3006527" y="4455072"/>
                </a:cubicBezTo>
                <a:cubicBezTo>
                  <a:pt x="3001752" y="4443134"/>
                  <a:pt x="2997772" y="4433583"/>
                  <a:pt x="2993394" y="4422440"/>
                </a:cubicBezTo>
                <a:close/>
                <a:moveTo>
                  <a:pt x="1680949" y="4407318"/>
                </a:moveTo>
                <a:cubicBezTo>
                  <a:pt x="1676174" y="4422838"/>
                  <a:pt x="1672194" y="4435573"/>
                  <a:pt x="1667817" y="4450297"/>
                </a:cubicBezTo>
                <a:cubicBezTo>
                  <a:pt x="1698061" y="4459052"/>
                  <a:pt x="1726315" y="4467409"/>
                  <a:pt x="1755764" y="4475766"/>
                </a:cubicBezTo>
                <a:cubicBezTo>
                  <a:pt x="1759743" y="4460644"/>
                  <a:pt x="1763325" y="4447511"/>
                  <a:pt x="1767305" y="4431991"/>
                </a:cubicBezTo>
                <a:cubicBezTo>
                  <a:pt x="1737856" y="4423634"/>
                  <a:pt x="1709999" y="4415675"/>
                  <a:pt x="1680949" y="4407318"/>
                </a:cubicBezTo>
                <a:close/>
                <a:moveTo>
                  <a:pt x="3048710" y="4400155"/>
                </a:moveTo>
                <a:cubicBezTo>
                  <a:pt x="3031996" y="4407318"/>
                  <a:pt x="3017272" y="4413686"/>
                  <a:pt x="3001752" y="4420451"/>
                </a:cubicBezTo>
                <a:cubicBezTo>
                  <a:pt x="3006527" y="4431991"/>
                  <a:pt x="3010506" y="4441542"/>
                  <a:pt x="3014884" y="4452685"/>
                </a:cubicBezTo>
                <a:cubicBezTo>
                  <a:pt x="3031200" y="4445920"/>
                  <a:pt x="3046322" y="4439950"/>
                  <a:pt x="3062638" y="4433185"/>
                </a:cubicBezTo>
                <a:cubicBezTo>
                  <a:pt x="3057863" y="4421645"/>
                  <a:pt x="3053883" y="4412094"/>
                  <a:pt x="3048710" y="4400155"/>
                </a:cubicBezTo>
                <a:close/>
                <a:moveTo>
                  <a:pt x="2161277" y="4383043"/>
                </a:moveTo>
                <a:cubicBezTo>
                  <a:pt x="2160481" y="4402941"/>
                  <a:pt x="2159287" y="4422440"/>
                  <a:pt x="2158094" y="4444328"/>
                </a:cubicBezTo>
                <a:cubicBezTo>
                  <a:pt x="2181175" y="4444328"/>
                  <a:pt x="2201868" y="4444328"/>
                  <a:pt x="2224153" y="4444328"/>
                </a:cubicBezTo>
                <a:cubicBezTo>
                  <a:pt x="2224153" y="4424828"/>
                  <a:pt x="2224153" y="4404930"/>
                  <a:pt x="2224153" y="4383043"/>
                </a:cubicBezTo>
                <a:cubicBezTo>
                  <a:pt x="2203858" y="4383043"/>
                  <a:pt x="2183164" y="4383043"/>
                  <a:pt x="2161277" y="4383043"/>
                </a:cubicBezTo>
                <a:close/>
                <a:moveTo>
                  <a:pt x="2411191" y="4378666"/>
                </a:moveTo>
                <a:cubicBezTo>
                  <a:pt x="2388508" y="4379860"/>
                  <a:pt x="2368610" y="4381053"/>
                  <a:pt x="2346723" y="4382247"/>
                </a:cubicBezTo>
                <a:cubicBezTo>
                  <a:pt x="2347916" y="4404532"/>
                  <a:pt x="2348712" y="4424430"/>
                  <a:pt x="2349906" y="4445920"/>
                </a:cubicBezTo>
                <a:cubicBezTo>
                  <a:pt x="2372988" y="4444328"/>
                  <a:pt x="2393681" y="4443134"/>
                  <a:pt x="2415170" y="4441940"/>
                </a:cubicBezTo>
                <a:cubicBezTo>
                  <a:pt x="2413977" y="4419655"/>
                  <a:pt x="2412783" y="4400553"/>
                  <a:pt x="2411191" y="4378666"/>
                </a:cubicBezTo>
                <a:close/>
                <a:moveTo>
                  <a:pt x="3103229" y="4376676"/>
                </a:moveTo>
                <a:cubicBezTo>
                  <a:pt x="3086913" y="4383839"/>
                  <a:pt x="3072189" y="4390604"/>
                  <a:pt x="3056669" y="4397369"/>
                </a:cubicBezTo>
                <a:cubicBezTo>
                  <a:pt x="3061842" y="4409308"/>
                  <a:pt x="3066220" y="4418859"/>
                  <a:pt x="3070995" y="4430001"/>
                </a:cubicBezTo>
                <a:cubicBezTo>
                  <a:pt x="3087709" y="4422440"/>
                  <a:pt x="3102831" y="4415675"/>
                  <a:pt x="3118351" y="4408512"/>
                </a:cubicBezTo>
                <a:cubicBezTo>
                  <a:pt x="3112780" y="4396573"/>
                  <a:pt x="3108403" y="4387022"/>
                  <a:pt x="3103229" y="4376676"/>
                </a:cubicBezTo>
                <a:close/>
                <a:moveTo>
                  <a:pt x="1411933" y="4372696"/>
                </a:moveTo>
                <a:cubicBezTo>
                  <a:pt x="1405566" y="4386227"/>
                  <a:pt x="1399597" y="4398961"/>
                  <a:pt x="1392832" y="4413287"/>
                </a:cubicBezTo>
                <a:cubicBezTo>
                  <a:pt x="1422280" y="4426420"/>
                  <a:pt x="1449739" y="4438358"/>
                  <a:pt x="1479187" y="4451491"/>
                </a:cubicBezTo>
                <a:cubicBezTo>
                  <a:pt x="1485555" y="4436369"/>
                  <a:pt x="1490728" y="4423634"/>
                  <a:pt x="1496697" y="4410104"/>
                </a:cubicBezTo>
                <a:cubicBezTo>
                  <a:pt x="1467647" y="4397369"/>
                  <a:pt x="1440586" y="4385431"/>
                  <a:pt x="1411933" y="4372696"/>
                </a:cubicBezTo>
                <a:close/>
                <a:moveTo>
                  <a:pt x="1558778" y="4364339"/>
                </a:moveTo>
                <a:cubicBezTo>
                  <a:pt x="1553206" y="4379063"/>
                  <a:pt x="1548033" y="4392196"/>
                  <a:pt x="1542462" y="4406522"/>
                </a:cubicBezTo>
                <a:cubicBezTo>
                  <a:pt x="1572308" y="4417665"/>
                  <a:pt x="1600165" y="4427614"/>
                  <a:pt x="1628817" y="4437961"/>
                </a:cubicBezTo>
                <a:cubicBezTo>
                  <a:pt x="1633991" y="4422440"/>
                  <a:pt x="1637970" y="4409308"/>
                  <a:pt x="1642746" y="4394982"/>
                </a:cubicBezTo>
                <a:cubicBezTo>
                  <a:pt x="1614093" y="4384635"/>
                  <a:pt x="1587032" y="4374686"/>
                  <a:pt x="1558778" y="4364339"/>
                </a:cubicBezTo>
                <a:close/>
                <a:moveTo>
                  <a:pt x="2904253" y="4347227"/>
                </a:moveTo>
                <a:cubicBezTo>
                  <a:pt x="2888335" y="4352401"/>
                  <a:pt x="2874009" y="4357176"/>
                  <a:pt x="2858489" y="4362350"/>
                </a:cubicBezTo>
                <a:cubicBezTo>
                  <a:pt x="2868040" y="4392594"/>
                  <a:pt x="2877591" y="4421246"/>
                  <a:pt x="2887539" y="4452287"/>
                </a:cubicBezTo>
                <a:cubicBezTo>
                  <a:pt x="2905049" y="4446317"/>
                  <a:pt x="2919773" y="4441144"/>
                  <a:pt x="2935691" y="4435573"/>
                </a:cubicBezTo>
                <a:cubicBezTo>
                  <a:pt x="2924947" y="4405328"/>
                  <a:pt x="2914998" y="4377074"/>
                  <a:pt x="2904253" y="4347227"/>
                </a:cubicBezTo>
                <a:close/>
                <a:moveTo>
                  <a:pt x="2956783" y="4327330"/>
                </a:moveTo>
                <a:cubicBezTo>
                  <a:pt x="2940865" y="4333299"/>
                  <a:pt x="2927335" y="4338473"/>
                  <a:pt x="2911416" y="4344442"/>
                </a:cubicBezTo>
                <a:cubicBezTo>
                  <a:pt x="2922559" y="4375482"/>
                  <a:pt x="2932906" y="4403737"/>
                  <a:pt x="2943253" y="4433185"/>
                </a:cubicBezTo>
                <a:cubicBezTo>
                  <a:pt x="2959967" y="4426818"/>
                  <a:pt x="2974691" y="4421246"/>
                  <a:pt x="2991007" y="4415277"/>
                </a:cubicBezTo>
                <a:cubicBezTo>
                  <a:pt x="2979466" y="4385033"/>
                  <a:pt x="2968324" y="4356778"/>
                  <a:pt x="2956783" y="4327330"/>
                </a:cubicBezTo>
                <a:close/>
                <a:moveTo>
                  <a:pt x="1836150" y="4315789"/>
                </a:moveTo>
                <a:cubicBezTo>
                  <a:pt x="1832569" y="4331707"/>
                  <a:pt x="1829783" y="4344840"/>
                  <a:pt x="1826599" y="4359564"/>
                </a:cubicBezTo>
                <a:cubicBezTo>
                  <a:pt x="1854854" y="4365931"/>
                  <a:pt x="1881119" y="4371502"/>
                  <a:pt x="1909771" y="4377870"/>
                </a:cubicBezTo>
                <a:cubicBezTo>
                  <a:pt x="1912955" y="4361553"/>
                  <a:pt x="1915343" y="4348421"/>
                  <a:pt x="1918128" y="4333299"/>
                </a:cubicBezTo>
                <a:cubicBezTo>
                  <a:pt x="1890272" y="4327330"/>
                  <a:pt x="1863609" y="4321758"/>
                  <a:pt x="1836150" y="4315789"/>
                </a:cubicBezTo>
                <a:close/>
                <a:moveTo>
                  <a:pt x="3009313" y="4306239"/>
                </a:moveTo>
                <a:cubicBezTo>
                  <a:pt x="2993394" y="4312606"/>
                  <a:pt x="2979864" y="4318177"/>
                  <a:pt x="2964344" y="4324544"/>
                </a:cubicBezTo>
                <a:cubicBezTo>
                  <a:pt x="2976283" y="4354788"/>
                  <a:pt x="2987425" y="4383441"/>
                  <a:pt x="2998966" y="4412094"/>
                </a:cubicBezTo>
                <a:cubicBezTo>
                  <a:pt x="3015680" y="4405328"/>
                  <a:pt x="3029608" y="4399757"/>
                  <a:pt x="3045924" y="4392992"/>
                </a:cubicBezTo>
                <a:cubicBezTo>
                  <a:pt x="3033190" y="4363145"/>
                  <a:pt x="3021649" y="4335289"/>
                  <a:pt x="3009313" y="4306239"/>
                </a:cubicBezTo>
                <a:close/>
                <a:moveTo>
                  <a:pt x="2166848" y="4291116"/>
                </a:moveTo>
                <a:cubicBezTo>
                  <a:pt x="2165654" y="4311014"/>
                  <a:pt x="2164461" y="4330514"/>
                  <a:pt x="2163267" y="4352003"/>
                </a:cubicBezTo>
                <a:cubicBezTo>
                  <a:pt x="2184756" y="4352003"/>
                  <a:pt x="2204654" y="4352003"/>
                  <a:pt x="2226143" y="4352003"/>
                </a:cubicBezTo>
                <a:cubicBezTo>
                  <a:pt x="2226143" y="4332105"/>
                  <a:pt x="2226143" y="4312606"/>
                  <a:pt x="2225745" y="4291116"/>
                </a:cubicBezTo>
                <a:cubicBezTo>
                  <a:pt x="2206246" y="4291116"/>
                  <a:pt x="2187144" y="4291116"/>
                  <a:pt x="2166848" y="4291116"/>
                </a:cubicBezTo>
                <a:close/>
                <a:moveTo>
                  <a:pt x="2297619" y="4290519"/>
                </a:moveTo>
                <a:cubicBezTo>
                  <a:pt x="2288995" y="4290868"/>
                  <a:pt x="2276683" y="4292012"/>
                  <a:pt x="2259173" y="4292310"/>
                </a:cubicBezTo>
                <a:cubicBezTo>
                  <a:pt x="2258377" y="4292310"/>
                  <a:pt x="2257979" y="4292708"/>
                  <a:pt x="2255592" y="4293902"/>
                </a:cubicBezTo>
                <a:cubicBezTo>
                  <a:pt x="2255592" y="4313799"/>
                  <a:pt x="2255592" y="4333299"/>
                  <a:pt x="2255592" y="4353197"/>
                </a:cubicBezTo>
                <a:cubicBezTo>
                  <a:pt x="2276683" y="4353197"/>
                  <a:pt x="2296581" y="4353197"/>
                  <a:pt x="2316478" y="4353197"/>
                </a:cubicBezTo>
                <a:cubicBezTo>
                  <a:pt x="2316179" y="4295594"/>
                  <a:pt x="2323492" y="4289475"/>
                  <a:pt x="2297619" y="4290519"/>
                </a:cubicBezTo>
                <a:close/>
                <a:moveTo>
                  <a:pt x="3061046" y="4283555"/>
                </a:moveTo>
                <a:cubicBezTo>
                  <a:pt x="3045526" y="4290320"/>
                  <a:pt x="3031996" y="4296688"/>
                  <a:pt x="3016874" y="4303453"/>
                </a:cubicBezTo>
                <a:cubicBezTo>
                  <a:pt x="3029608" y="4332901"/>
                  <a:pt x="3041547" y="4361156"/>
                  <a:pt x="3053883" y="4390206"/>
                </a:cubicBezTo>
                <a:cubicBezTo>
                  <a:pt x="3070597" y="4382645"/>
                  <a:pt x="3084526" y="4376278"/>
                  <a:pt x="3100046" y="4369115"/>
                </a:cubicBezTo>
                <a:cubicBezTo>
                  <a:pt x="3086913" y="4340064"/>
                  <a:pt x="3074577" y="4313401"/>
                  <a:pt x="3061046" y="4283555"/>
                </a:cubicBezTo>
                <a:close/>
                <a:moveTo>
                  <a:pt x="1719948" y="4283157"/>
                </a:moveTo>
                <a:cubicBezTo>
                  <a:pt x="1715571" y="4298677"/>
                  <a:pt x="1711591" y="4311809"/>
                  <a:pt x="1706816" y="4326136"/>
                </a:cubicBezTo>
                <a:cubicBezTo>
                  <a:pt x="1734673" y="4334493"/>
                  <a:pt x="1760539" y="4341656"/>
                  <a:pt x="1788794" y="4350013"/>
                </a:cubicBezTo>
                <a:cubicBezTo>
                  <a:pt x="1793171" y="4334493"/>
                  <a:pt x="1796753" y="4321360"/>
                  <a:pt x="1800733" y="4306239"/>
                </a:cubicBezTo>
                <a:cubicBezTo>
                  <a:pt x="1773274" y="4298279"/>
                  <a:pt x="1747407" y="4290718"/>
                  <a:pt x="1719948" y="4283157"/>
                </a:cubicBezTo>
                <a:close/>
                <a:moveTo>
                  <a:pt x="2079299" y="4281167"/>
                </a:moveTo>
                <a:cubicBezTo>
                  <a:pt x="2076911" y="4303055"/>
                  <a:pt x="2074921" y="4322952"/>
                  <a:pt x="2072534" y="4344442"/>
                </a:cubicBezTo>
                <a:cubicBezTo>
                  <a:pt x="2094023" y="4346432"/>
                  <a:pt x="2113523" y="4348023"/>
                  <a:pt x="2135012" y="4350013"/>
                </a:cubicBezTo>
                <a:cubicBezTo>
                  <a:pt x="2136604" y="4327728"/>
                  <a:pt x="2138196" y="4307830"/>
                  <a:pt x="2139390" y="4287137"/>
                </a:cubicBezTo>
                <a:cubicBezTo>
                  <a:pt x="2118696" y="4285147"/>
                  <a:pt x="2100390" y="4283157"/>
                  <a:pt x="2079299" y="4281167"/>
                </a:cubicBezTo>
                <a:close/>
                <a:moveTo>
                  <a:pt x="2819489" y="4267637"/>
                </a:moveTo>
                <a:cubicBezTo>
                  <a:pt x="2803969" y="4272413"/>
                  <a:pt x="2790439" y="4276790"/>
                  <a:pt x="2775715" y="4281167"/>
                </a:cubicBezTo>
                <a:cubicBezTo>
                  <a:pt x="2784868" y="4312208"/>
                  <a:pt x="2793225" y="4340860"/>
                  <a:pt x="2801980" y="4371104"/>
                </a:cubicBezTo>
                <a:cubicBezTo>
                  <a:pt x="2817898" y="4366329"/>
                  <a:pt x="2831826" y="4362350"/>
                  <a:pt x="2848142" y="4357574"/>
                </a:cubicBezTo>
                <a:cubicBezTo>
                  <a:pt x="2838193" y="4326534"/>
                  <a:pt x="2829040" y="4297881"/>
                  <a:pt x="2819489" y="4267637"/>
                </a:cubicBezTo>
                <a:close/>
                <a:moveTo>
                  <a:pt x="1467647" y="4254106"/>
                </a:moveTo>
                <a:cubicBezTo>
                  <a:pt x="1460882" y="4268035"/>
                  <a:pt x="1454912" y="4280372"/>
                  <a:pt x="1448545" y="4295096"/>
                </a:cubicBezTo>
                <a:cubicBezTo>
                  <a:pt x="1476004" y="4307034"/>
                  <a:pt x="1502269" y="4318575"/>
                  <a:pt x="1529727" y="4330911"/>
                </a:cubicBezTo>
                <a:cubicBezTo>
                  <a:pt x="1535697" y="4316187"/>
                  <a:pt x="1540870" y="4303453"/>
                  <a:pt x="1546839" y="4289524"/>
                </a:cubicBezTo>
                <a:cubicBezTo>
                  <a:pt x="1520574" y="4277586"/>
                  <a:pt x="1495503" y="4266443"/>
                  <a:pt x="1467647" y="4254106"/>
                </a:cubicBezTo>
                <a:close/>
                <a:moveTo>
                  <a:pt x="1851670" y="4251719"/>
                </a:moveTo>
                <a:cubicBezTo>
                  <a:pt x="1848487" y="4267637"/>
                  <a:pt x="1845303" y="4280770"/>
                  <a:pt x="1842120" y="4295494"/>
                </a:cubicBezTo>
                <a:cubicBezTo>
                  <a:pt x="1869578" y="4301861"/>
                  <a:pt x="1895047" y="4307432"/>
                  <a:pt x="1922108" y="4313401"/>
                </a:cubicBezTo>
                <a:cubicBezTo>
                  <a:pt x="1925291" y="4298677"/>
                  <a:pt x="1928077" y="4285147"/>
                  <a:pt x="1930863" y="4268831"/>
                </a:cubicBezTo>
                <a:cubicBezTo>
                  <a:pt x="1903404" y="4262862"/>
                  <a:pt x="1877935" y="4257290"/>
                  <a:pt x="1851670" y="4251719"/>
                </a:cubicBezTo>
                <a:close/>
                <a:moveTo>
                  <a:pt x="2870029" y="4250525"/>
                </a:moveTo>
                <a:cubicBezTo>
                  <a:pt x="2854907" y="4255698"/>
                  <a:pt x="2841775" y="4260474"/>
                  <a:pt x="2826653" y="4265647"/>
                </a:cubicBezTo>
                <a:cubicBezTo>
                  <a:pt x="2836999" y="4296688"/>
                  <a:pt x="2846152" y="4325340"/>
                  <a:pt x="2856101" y="4355186"/>
                </a:cubicBezTo>
                <a:cubicBezTo>
                  <a:pt x="2872417" y="4349217"/>
                  <a:pt x="2886346" y="4344442"/>
                  <a:pt x="2901468" y="4338870"/>
                </a:cubicBezTo>
                <a:cubicBezTo>
                  <a:pt x="2890325" y="4307830"/>
                  <a:pt x="2880376" y="4279575"/>
                  <a:pt x="2870029" y="4250525"/>
                </a:cubicBezTo>
                <a:close/>
                <a:moveTo>
                  <a:pt x="1606134" y="4242964"/>
                </a:moveTo>
                <a:cubicBezTo>
                  <a:pt x="1600563" y="4257290"/>
                  <a:pt x="1595787" y="4270025"/>
                  <a:pt x="1589818" y="4284749"/>
                </a:cubicBezTo>
                <a:cubicBezTo>
                  <a:pt x="1617277" y="4294698"/>
                  <a:pt x="1643144" y="4304249"/>
                  <a:pt x="1670204" y="4314198"/>
                </a:cubicBezTo>
                <a:cubicBezTo>
                  <a:pt x="1675378" y="4299075"/>
                  <a:pt x="1679755" y="4286739"/>
                  <a:pt x="1684929" y="4271616"/>
                </a:cubicBezTo>
                <a:cubicBezTo>
                  <a:pt x="1658266" y="4261668"/>
                  <a:pt x="1633195" y="4252515"/>
                  <a:pt x="1606134" y="4242964"/>
                </a:cubicBezTo>
                <a:close/>
                <a:moveTo>
                  <a:pt x="2919773" y="4232219"/>
                </a:moveTo>
                <a:cubicBezTo>
                  <a:pt x="2904651" y="4237791"/>
                  <a:pt x="2891917" y="4242566"/>
                  <a:pt x="2877192" y="4248137"/>
                </a:cubicBezTo>
                <a:cubicBezTo>
                  <a:pt x="2887937" y="4277984"/>
                  <a:pt x="2898284" y="4307034"/>
                  <a:pt x="2909029" y="4336881"/>
                </a:cubicBezTo>
                <a:cubicBezTo>
                  <a:pt x="2925345" y="4330911"/>
                  <a:pt x="2939273" y="4325738"/>
                  <a:pt x="2953997" y="4320167"/>
                </a:cubicBezTo>
                <a:cubicBezTo>
                  <a:pt x="2942059" y="4289922"/>
                  <a:pt x="2931314" y="4261270"/>
                  <a:pt x="2919773" y="4232219"/>
                </a:cubicBezTo>
                <a:close/>
                <a:moveTo>
                  <a:pt x="1739846" y="4221077"/>
                </a:moveTo>
                <a:cubicBezTo>
                  <a:pt x="1735070" y="4235801"/>
                  <a:pt x="1731091" y="4248137"/>
                  <a:pt x="1726315" y="4264055"/>
                </a:cubicBezTo>
                <a:cubicBezTo>
                  <a:pt x="1754172" y="4271616"/>
                  <a:pt x="1779641" y="4278780"/>
                  <a:pt x="1806304" y="4286341"/>
                </a:cubicBezTo>
                <a:cubicBezTo>
                  <a:pt x="1810283" y="4270423"/>
                  <a:pt x="1813865" y="4257290"/>
                  <a:pt x="1817446" y="4242964"/>
                </a:cubicBezTo>
                <a:cubicBezTo>
                  <a:pt x="1790386" y="4235403"/>
                  <a:pt x="1765713" y="4228240"/>
                  <a:pt x="1739846" y="4221077"/>
                </a:cubicBezTo>
                <a:close/>
                <a:moveTo>
                  <a:pt x="2969915" y="4211924"/>
                </a:moveTo>
                <a:cubicBezTo>
                  <a:pt x="2955191" y="4218291"/>
                  <a:pt x="2942059" y="4223862"/>
                  <a:pt x="2927732" y="4229831"/>
                </a:cubicBezTo>
                <a:cubicBezTo>
                  <a:pt x="2939273" y="4260076"/>
                  <a:pt x="2950416" y="4288331"/>
                  <a:pt x="2961956" y="4317381"/>
                </a:cubicBezTo>
                <a:cubicBezTo>
                  <a:pt x="2978272" y="4310616"/>
                  <a:pt x="2992201" y="4304647"/>
                  <a:pt x="3006527" y="4298677"/>
                </a:cubicBezTo>
                <a:cubicBezTo>
                  <a:pt x="2994190" y="4269229"/>
                  <a:pt x="2982650" y="4241770"/>
                  <a:pt x="2969915" y="4211924"/>
                </a:cubicBezTo>
                <a:close/>
                <a:moveTo>
                  <a:pt x="2171624" y="4197995"/>
                </a:moveTo>
                <a:cubicBezTo>
                  <a:pt x="2170828" y="4218291"/>
                  <a:pt x="2170032" y="4238188"/>
                  <a:pt x="2168838" y="4259678"/>
                </a:cubicBezTo>
                <a:cubicBezTo>
                  <a:pt x="2189532" y="4259678"/>
                  <a:pt x="2208235" y="4259678"/>
                  <a:pt x="2228133" y="4259678"/>
                </a:cubicBezTo>
                <a:cubicBezTo>
                  <a:pt x="2228133" y="4239382"/>
                  <a:pt x="2228133" y="4219485"/>
                  <a:pt x="2227735" y="4197995"/>
                </a:cubicBezTo>
                <a:cubicBezTo>
                  <a:pt x="2208633" y="4197995"/>
                  <a:pt x="2191123" y="4197995"/>
                  <a:pt x="2171624" y="4197995"/>
                </a:cubicBezTo>
                <a:close/>
                <a:moveTo>
                  <a:pt x="2396069" y="4194016"/>
                </a:moveTo>
                <a:cubicBezTo>
                  <a:pt x="2376171" y="4195608"/>
                  <a:pt x="2358661" y="4196802"/>
                  <a:pt x="2341947" y="4197995"/>
                </a:cubicBezTo>
                <a:cubicBezTo>
                  <a:pt x="2341947" y="4219485"/>
                  <a:pt x="2341947" y="4239382"/>
                  <a:pt x="2341549" y="4261270"/>
                </a:cubicBezTo>
                <a:cubicBezTo>
                  <a:pt x="2362243" y="4260076"/>
                  <a:pt x="2380549" y="4258882"/>
                  <a:pt x="2401640" y="4257688"/>
                </a:cubicBezTo>
                <a:cubicBezTo>
                  <a:pt x="2399650" y="4235005"/>
                  <a:pt x="2398058" y="4214710"/>
                  <a:pt x="2396069" y="4194016"/>
                </a:cubicBezTo>
                <a:close/>
                <a:moveTo>
                  <a:pt x="2089248" y="4189638"/>
                </a:moveTo>
                <a:cubicBezTo>
                  <a:pt x="2087258" y="4210730"/>
                  <a:pt x="2084870" y="4230229"/>
                  <a:pt x="2082483" y="4252515"/>
                </a:cubicBezTo>
                <a:cubicBezTo>
                  <a:pt x="2103574" y="4254505"/>
                  <a:pt x="2122278" y="4256096"/>
                  <a:pt x="2141777" y="4258086"/>
                </a:cubicBezTo>
                <a:cubicBezTo>
                  <a:pt x="2143369" y="4235403"/>
                  <a:pt x="2144563" y="4215505"/>
                  <a:pt x="2146155" y="4194812"/>
                </a:cubicBezTo>
                <a:cubicBezTo>
                  <a:pt x="2125859" y="4192822"/>
                  <a:pt x="2108350" y="4191230"/>
                  <a:pt x="2089248" y="4189638"/>
                </a:cubicBezTo>
                <a:close/>
                <a:moveTo>
                  <a:pt x="2687767" y="4183669"/>
                </a:moveTo>
                <a:cubicBezTo>
                  <a:pt x="2673839" y="4187251"/>
                  <a:pt x="2662697" y="4190434"/>
                  <a:pt x="2649962" y="4193618"/>
                </a:cubicBezTo>
                <a:cubicBezTo>
                  <a:pt x="2653544" y="4207944"/>
                  <a:pt x="2656727" y="4220281"/>
                  <a:pt x="2659911" y="4233811"/>
                </a:cubicBezTo>
                <a:cubicBezTo>
                  <a:pt x="2673441" y="4230628"/>
                  <a:pt x="2684982" y="4227444"/>
                  <a:pt x="2697716" y="4224260"/>
                </a:cubicBezTo>
                <a:cubicBezTo>
                  <a:pt x="2694135" y="4210730"/>
                  <a:pt x="2691349" y="4198393"/>
                  <a:pt x="2687767" y="4183669"/>
                </a:cubicBezTo>
                <a:close/>
                <a:moveTo>
                  <a:pt x="1630011" y="4182077"/>
                </a:moveTo>
                <a:cubicBezTo>
                  <a:pt x="1624440" y="4196403"/>
                  <a:pt x="1619664" y="4209536"/>
                  <a:pt x="1614093" y="4223862"/>
                </a:cubicBezTo>
                <a:cubicBezTo>
                  <a:pt x="1640358" y="4233413"/>
                  <a:pt x="1665429" y="4242566"/>
                  <a:pt x="1691296" y="4252515"/>
                </a:cubicBezTo>
                <a:cubicBezTo>
                  <a:pt x="1696469" y="4237393"/>
                  <a:pt x="1700847" y="4225056"/>
                  <a:pt x="1706020" y="4209934"/>
                </a:cubicBezTo>
                <a:cubicBezTo>
                  <a:pt x="1679755" y="4200383"/>
                  <a:pt x="1655480" y="4191230"/>
                  <a:pt x="1630011" y="4182077"/>
                </a:cubicBezTo>
                <a:close/>
                <a:moveTo>
                  <a:pt x="2788449" y="4170139"/>
                </a:moveTo>
                <a:cubicBezTo>
                  <a:pt x="2773327" y="4174914"/>
                  <a:pt x="2760991" y="4178894"/>
                  <a:pt x="2747062" y="4183271"/>
                </a:cubicBezTo>
                <a:cubicBezTo>
                  <a:pt x="2756215" y="4213913"/>
                  <a:pt x="2764970" y="4243362"/>
                  <a:pt x="2773725" y="4273208"/>
                </a:cubicBezTo>
                <a:cubicBezTo>
                  <a:pt x="2789245" y="4268433"/>
                  <a:pt x="2802378" y="4264454"/>
                  <a:pt x="2817102" y="4259678"/>
                </a:cubicBezTo>
                <a:cubicBezTo>
                  <a:pt x="2807153" y="4229036"/>
                  <a:pt x="2798000" y="4199985"/>
                  <a:pt x="2788449" y="4170139"/>
                </a:cubicBezTo>
                <a:close/>
                <a:moveTo>
                  <a:pt x="2836203" y="4154220"/>
                </a:moveTo>
                <a:cubicBezTo>
                  <a:pt x="2821479" y="4159394"/>
                  <a:pt x="2809143" y="4163374"/>
                  <a:pt x="2794817" y="4167751"/>
                </a:cubicBezTo>
                <a:cubicBezTo>
                  <a:pt x="2804765" y="4198393"/>
                  <a:pt x="2814316" y="4227444"/>
                  <a:pt x="2824265" y="4257688"/>
                </a:cubicBezTo>
                <a:cubicBezTo>
                  <a:pt x="2840183" y="4252117"/>
                  <a:pt x="2853315" y="4247341"/>
                  <a:pt x="2867244" y="4242168"/>
                </a:cubicBezTo>
                <a:cubicBezTo>
                  <a:pt x="2856897" y="4211924"/>
                  <a:pt x="2846948" y="4184067"/>
                  <a:pt x="2836203" y="4154220"/>
                </a:cubicBezTo>
                <a:close/>
                <a:moveTo>
                  <a:pt x="2599820" y="4145864"/>
                </a:moveTo>
                <a:cubicBezTo>
                  <a:pt x="2587484" y="4148251"/>
                  <a:pt x="2576739" y="4150241"/>
                  <a:pt x="2563209" y="4152629"/>
                </a:cubicBezTo>
                <a:cubicBezTo>
                  <a:pt x="2565994" y="4168149"/>
                  <a:pt x="2568382" y="4180485"/>
                  <a:pt x="2571168" y="4194016"/>
                </a:cubicBezTo>
                <a:cubicBezTo>
                  <a:pt x="2584698" y="4191230"/>
                  <a:pt x="2595841" y="4188843"/>
                  <a:pt x="2608575" y="4186454"/>
                </a:cubicBezTo>
                <a:cubicBezTo>
                  <a:pt x="2605391" y="4171730"/>
                  <a:pt x="2602606" y="4159394"/>
                  <a:pt x="2599820" y="4145864"/>
                </a:cubicBezTo>
                <a:close/>
                <a:moveTo>
                  <a:pt x="1522962" y="4135915"/>
                </a:moveTo>
                <a:cubicBezTo>
                  <a:pt x="1516595" y="4149843"/>
                  <a:pt x="1510626" y="4162577"/>
                  <a:pt x="1504258" y="4176506"/>
                </a:cubicBezTo>
                <a:cubicBezTo>
                  <a:pt x="1530125" y="4188046"/>
                  <a:pt x="1554002" y="4198792"/>
                  <a:pt x="1579471" y="4209934"/>
                </a:cubicBezTo>
                <a:cubicBezTo>
                  <a:pt x="1585441" y="4196006"/>
                  <a:pt x="1590614" y="4183271"/>
                  <a:pt x="1596981" y="4168547"/>
                </a:cubicBezTo>
                <a:cubicBezTo>
                  <a:pt x="1571512" y="4157404"/>
                  <a:pt x="1548033" y="4147058"/>
                  <a:pt x="1522962" y="4135915"/>
                </a:cubicBezTo>
                <a:close/>
                <a:moveTo>
                  <a:pt x="2773725" y="4125568"/>
                </a:moveTo>
                <a:cubicBezTo>
                  <a:pt x="2759399" y="4130343"/>
                  <a:pt x="2747460" y="4134323"/>
                  <a:pt x="2734328" y="4138700"/>
                </a:cubicBezTo>
                <a:cubicBezTo>
                  <a:pt x="2738307" y="4151833"/>
                  <a:pt x="2741491" y="4162976"/>
                  <a:pt x="2745073" y="4175312"/>
                </a:cubicBezTo>
                <a:cubicBezTo>
                  <a:pt x="2759001" y="4170935"/>
                  <a:pt x="2770939" y="4167353"/>
                  <a:pt x="2786062" y="4162976"/>
                </a:cubicBezTo>
                <a:cubicBezTo>
                  <a:pt x="2781684" y="4149047"/>
                  <a:pt x="2777704" y="4137905"/>
                  <a:pt x="2773725" y="4125568"/>
                </a:cubicBezTo>
                <a:close/>
                <a:moveTo>
                  <a:pt x="1883507" y="4125170"/>
                </a:moveTo>
                <a:cubicBezTo>
                  <a:pt x="1879925" y="4140292"/>
                  <a:pt x="1876343" y="4154220"/>
                  <a:pt x="1872762" y="4168945"/>
                </a:cubicBezTo>
                <a:cubicBezTo>
                  <a:pt x="1898231" y="4174516"/>
                  <a:pt x="1921312" y="4179689"/>
                  <a:pt x="1947577" y="4185659"/>
                </a:cubicBezTo>
                <a:cubicBezTo>
                  <a:pt x="1950363" y="4169741"/>
                  <a:pt x="1953148" y="4155812"/>
                  <a:pt x="1956332" y="4141088"/>
                </a:cubicBezTo>
                <a:cubicBezTo>
                  <a:pt x="1930863" y="4135517"/>
                  <a:pt x="1908180" y="4130741"/>
                  <a:pt x="1883507" y="4125170"/>
                </a:cubicBezTo>
                <a:close/>
                <a:moveTo>
                  <a:pt x="1996525" y="4124374"/>
                </a:moveTo>
                <a:cubicBezTo>
                  <a:pt x="1991352" y="4153027"/>
                  <a:pt x="1986974" y="4179292"/>
                  <a:pt x="1982199" y="4207546"/>
                </a:cubicBezTo>
                <a:cubicBezTo>
                  <a:pt x="2004882" y="4210730"/>
                  <a:pt x="2025177" y="4213913"/>
                  <a:pt x="2047463" y="4217097"/>
                </a:cubicBezTo>
                <a:cubicBezTo>
                  <a:pt x="2051442" y="4188444"/>
                  <a:pt x="2055024" y="4161782"/>
                  <a:pt x="2058605" y="4133527"/>
                </a:cubicBezTo>
                <a:cubicBezTo>
                  <a:pt x="2037514" y="4130343"/>
                  <a:pt x="2017616" y="4127558"/>
                  <a:pt x="1996525" y="4124374"/>
                </a:cubicBezTo>
                <a:close/>
                <a:moveTo>
                  <a:pt x="1653888" y="4120792"/>
                </a:moveTo>
                <a:cubicBezTo>
                  <a:pt x="1648317" y="4135517"/>
                  <a:pt x="1643144" y="4148649"/>
                  <a:pt x="1637572" y="4162976"/>
                </a:cubicBezTo>
                <a:cubicBezTo>
                  <a:pt x="1663837" y="4172526"/>
                  <a:pt x="1687316" y="4181281"/>
                  <a:pt x="1712785" y="4190036"/>
                </a:cubicBezTo>
                <a:cubicBezTo>
                  <a:pt x="1717958" y="4174516"/>
                  <a:pt x="1721938" y="4161782"/>
                  <a:pt x="1726713" y="4147455"/>
                </a:cubicBezTo>
                <a:cubicBezTo>
                  <a:pt x="1702040" y="4138700"/>
                  <a:pt x="1678561" y="4129945"/>
                  <a:pt x="1653888" y="4120792"/>
                </a:cubicBezTo>
                <a:close/>
                <a:moveTo>
                  <a:pt x="2930518" y="4117609"/>
                </a:moveTo>
                <a:cubicBezTo>
                  <a:pt x="2916192" y="4123578"/>
                  <a:pt x="2904651" y="4127956"/>
                  <a:pt x="2890325" y="4133925"/>
                </a:cubicBezTo>
                <a:cubicBezTo>
                  <a:pt x="2901866" y="4164169"/>
                  <a:pt x="2913008" y="4192026"/>
                  <a:pt x="2924549" y="4221872"/>
                </a:cubicBezTo>
                <a:cubicBezTo>
                  <a:pt x="2939273" y="4215903"/>
                  <a:pt x="2952405" y="4210730"/>
                  <a:pt x="2967130" y="4204362"/>
                </a:cubicBezTo>
                <a:cubicBezTo>
                  <a:pt x="2954395" y="4174516"/>
                  <a:pt x="2942457" y="4146261"/>
                  <a:pt x="2930518" y="4117609"/>
                </a:cubicBezTo>
                <a:close/>
                <a:moveTo>
                  <a:pt x="2820683" y="4110446"/>
                </a:moveTo>
                <a:cubicBezTo>
                  <a:pt x="2806755" y="4114823"/>
                  <a:pt x="2795214" y="4118803"/>
                  <a:pt x="2780888" y="4123976"/>
                </a:cubicBezTo>
                <a:cubicBezTo>
                  <a:pt x="2785266" y="4137109"/>
                  <a:pt x="2788847" y="4147853"/>
                  <a:pt x="2792827" y="4160588"/>
                </a:cubicBezTo>
                <a:cubicBezTo>
                  <a:pt x="2807153" y="4155415"/>
                  <a:pt x="2819888" y="4151037"/>
                  <a:pt x="2833418" y="4146261"/>
                </a:cubicBezTo>
                <a:cubicBezTo>
                  <a:pt x="2828643" y="4132731"/>
                  <a:pt x="2824663" y="4121986"/>
                  <a:pt x="2820683" y="4110446"/>
                </a:cubicBezTo>
                <a:close/>
                <a:moveTo>
                  <a:pt x="2256786" y="4107660"/>
                </a:moveTo>
                <a:cubicBezTo>
                  <a:pt x="2256786" y="4128751"/>
                  <a:pt x="2256786" y="4148251"/>
                  <a:pt x="2256786" y="4168547"/>
                </a:cubicBezTo>
                <a:cubicBezTo>
                  <a:pt x="2275887" y="4168547"/>
                  <a:pt x="2293795" y="4168547"/>
                  <a:pt x="2310111" y="4168547"/>
                </a:cubicBezTo>
                <a:cubicBezTo>
                  <a:pt x="2310111" y="4146659"/>
                  <a:pt x="2310111" y="4126762"/>
                  <a:pt x="2310111" y="4107660"/>
                </a:cubicBezTo>
                <a:cubicBezTo>
                  <a:pt x="2291009" y="4107660"/>
                  <a:pt x="2274295" y="4107660"/>
                  <a:pt x="2256786" y="4107660"/>
                </a:cubicBezTo>
                <a:close/>
                <a:moveTo>
                  <a:pt x="2177593" y="4104079"/>
                </a:moveTo>
                <a:cubicBezTo>
                  <a:pt x="2176399" y="4125568"/>
                  <a:pt x="2175205" y="4145466"/>
                  <a:pt x="2173613" y="4167751"/>
                </a:cubicBezTo>
                <a:cubicBezTo>
                  <a:pt x="2193511" y="4167751"/>
                  <a:pt x="2211021" y="4167751"/>
                  <a:pt x="2230123" y="4167751"/>
                </a:cubicBezTo>
                <a:cubicBezTo>
                  <a:pt x="2230123" y="4147853"/>
                  <a:pt x="2230123" y="4128354"/>
                  <a:pt x="2230123" y="4106466"/>
                </a:cubicBezTo>
                <a:cubicBezTo>
                  <a:pt x="2212613" y="4105671"/>
                  <a:pt x="2196297" y="4104874"/>
                  <a:pt x="2177593" y="4104079"/>
                </a:cubicBezTo>
                <a:close/>
                <a:moveTo>
                  <a:pt x="2389701" y="4102089"/>
                </a:moveTo>
                <a:cubicBezTo>
                  <a:pt x="2370600" y="4103283"/>
                  <a:pt x="2354284" y="4104476"/>
                  <a:pt x="2335580" y="4105671"/>
                </a:cubicBezTo>
                <a:cubicBezTo>
                  <a:pt x="2336376" y="4127956"/>
                  <a:pt x="2337570" y="4147455"/>
                  <a:pt x="2338764" y="4169343"/>
                </a:cubicBezTo>
                <a:cubicBezTo>
                  <a:pt x="2357865" y="4168149"/>
                  <a:pt x="2375375" y="4166955"/>
                  <a:pt x="2394875" y="4165363"/>
                </a:cubicBezTo>
                <a:cubicBezTo>
                  <a:pt x="2392885" y="4143476"/>
                  <a:pt x="2391293" y="4123578"/>
                  <a:pt x="2389701" y="4102089"/>
                </a:cubicBezTo>
                <a:close/>
                <a:moveTo>
                  <a:pt x="2514260" y="4101293"/>
                </a:moveTo>
                <a:cubicBezTo>
                  <a:pt x="2502720" y="4102487"/>
                  <a:pt x="2492373" y="4104079"/>
                  <a:pt x="2478843" y="4105671"/>
                </a:cubicBezTo>
                <a:cubicBezTo>
                  <a:pt x="2481230" y="4121191"/>
                  <a:pt x="2483220" y="4133527"/>
                  <a:pt x="2485210" y="4147455"/>
                </a:cubicBezTo>
                <a:cubicBezTo>
                  <a:pt x="2498342" y="4145068"/>
                  <a:pt x="2509485" y="4143476"/>
                  <a:pt x="2521025" y="4141486"/>
                </a:cubicBezTo>
                <a:cubicBezTo>
                  <a:pt x="2518638" y="4127160"/>
                  <a:pt x="2516648" y="4114823"/>
                  <a:pt x="2514260" y="4101293"/>
                </a:cubicBezTo>
                <a:close/>
                <a:moveTo>
                  <a:pt x="1067705" y="4101293"/>
                </a:moveTo>
                <a:cubicBezTo>
                  <a:pt x="1057358" y="4114823"/>
                  <a:pt x="1047807" y="4127160"/>
                  <a:pt x="1037859" y="4140292"/>
                </a:cubicBezTo>
                <a:cubicBezTo>
                  <a:pt x="1054573" y="4152231"/>
                  <a:pt x="1067307" y="4161782"/>
                  <a:pt x="1081235" y="4172128"/>
                </a:cubicBezTo>
                <a:cubicBezTo>
                  <a:pt x="1091582" y="4158200"/>
                  <a:pt x="1100337" y="4145864"/>
                  <a:pt x="1109888" y="4133129"/>
                </a:cubicBezTo>
                <a:cubicBezTo>
                  <a:pt x="1095164" y="4121986"/>
                  <a:pt x="1082031" y="4112038"/>
                  <a:pt x="1067705" y="4101293"/>
                </a:cubicBezTo>
                <a:close/>
                <a:moveTo>
                  <a:pt x="2975885" y="4097711"/>
                </a:moveTo>
                <a:cubicBezTo>
                  <a:pt x="2962354" y="4104079"/>
                  <a:pt x="2950018" y="4109650"/>
                  <a:pt x="2936487" y="4115619"/>
                </a:cubicBezTo>
                <a:cubicBezTo>
                  <a:pt x="2949222" y="4145068"/>
                  <a:pt x="2961160" y="4173322"/>
                  <a:pt x="2973497" y="4201975"/>
                </a:cubicBezTo>
                <a:cubicBezTo>
                  <a:pt x="2989017" y="4195210"/>
                  <a:pt x="3001354" y="4189638"/>
                  <a:pt x="3015282" y="4183271"/>
                </a:cubicBezTo>
                <a:cubicBezTo>
                  <a:pt x="3002149" y="4154220"/>
                  <a:pt x="2989813" y="4126762"/>
                  <a:pt x="2975885" y="4097711"/>
                </a:cubicBezTo>
                <a:close/>
                <a:moveTo>
                  <a:pt x="1779243" y="4096120"/>
                </a:moveTo>
                <a:cubicBezTo>
                  <a:pt x="1774866" y="4110844"/>
                  <a:pt x="1770886" y="4123976"/>
                  <a:pt x="1766111" y="4139099"/>
                </a:cubicBezTo>
                <a:cubicBezTo>
                  <a:pt x="1791580" y="4146261"/>
                  <a:pt x="1815059" y="4153027"/>
                  <a:pt x="1839732" y="4159792"/>
                </a:cubicBezTo>
                <a:cubicBezTo>
                  <a:pt x="1843711" y="4144272"/>
                  <a:pt x="1846895" y="4131537"/>
                  <a:pt x="1850875" y="4116415"/>
                </a:cubicBezTo>
                <a:cubicBezTo>
                  <a:pt x="1825803" y="4109252"/>
                  <a:pt x="1803518" y="4102885"/>
                  <a:pt x="1779243" y="4096120"/>
                </a:cubicBezTo>
                <a:close/>
                <a:moveTo>
                  <a:pt x="2866050" y="4093334"/>
                </a:moveTo>
                <a:cubicBezTo>
                  <a:pt x="2852122" y="4098507"/>
                  <a:pt x="2840183" y="4103283"/>
                  <a:pt x="2827448" y="4108058"/>
                </a:cubicBezTo>
                <a:cubicBezTo>
                  <a:pt x="2831826" y="4120395"/>
                  <a:pt x="2835806" y="4130741"/>
                  <a:pt x="2840581" y="4144272"/>
                </a:cubicBezTo>
                <a:cubicBezTo>
                  <a:pt x="2854907" y="4138700"/>
                  <a:pt x="2867642" y="4133527"/>
                  <a:pt x="2880774" y="4128354"/>
                </a:cubicBezTo>
                <a:cubicBezTo>
                  <a:pt x="2875203" y="4115221"/>
                  <a:pt x="2870825" y="4104476"/>
                  <a:pt x="2866050" y="4093334"/>
                </a:cubicBezTo>
                <a:close/>
                <a:moveTo>
                  <a:pt x="3548537" y="4083783"/>
                </a:moveTo>
                <a:cubicBezTo>
                  <a:pt x="3535007" y="4094926"/>
                  <a:pt x="3522671" y="4104874"/>
                  <a:pt x="3509538" y="4115619"/>
                </a:cubicBezTo>
                <a:cubicBezTo>
                  <a:pt x="3517895" y="4125966"/>
                  <a:pt x="3525058" y="4135119"/>
                  <a:pt x="3533017" y="4145068"/>
                </a:cubicBezTo>
                <a:cubicBezTo>
                  <a:pt x="3546946" y="4133925"/>
                  <a:pt x="3559282" y="4123578"/>
                  <a:pt x="3572813" y="4112436"/>
                </a:cubicBezTo>
                <a:cubicBezTo>
                  <a:pt x="3564058" y="4102487"/>
                  <a:pt x="3556895" y="4093334"/>
                  <a:pt x="3548537" y="4083783"/>
                </a:cubicBezTo>
                <a:close/>
                <a:moveTo>
                  <a:pt x="1550819" y="4077018"/>
                </a:moveTo>
                <a:cubicBezTo>
                  <a:pt x="1544452" y="4090946"/>
                  <a:pt x="1538880" y="4102487"/>
                  <a:pt x="1531717" y="4117211"/>
                </a:cubicBezTo>
                <a:cubicBezTo>
                  <a:pt x="1556788" y="4128751"/>
                  <a:pt x="1579869" y="4139099"/>
                  <a:pt x="1604542" y="4149843"/>
                </a:cubicBezTo>
                <a:cubicBezTo>
                  <a:pt x="1610909" y="4134721"/>
                  <a:pt x="1616481" y="4121589"/>
                  <a:pt x="1622052" y="4108058"/>
                </a:cubicBezTo>
                <a:cubicBezTo>
                  <a:pt x="1596981" y="4096915"/>
                  <a:pt x="1574298" y="4087365"/>
                  <a:pt x="1550819" y="4077018"/>
                </a:cubicBezTo>
                <a:close/>
                <a:moveTo>
                  <a:pt x="2911814" y="4075028"/>
                </a:moveTo>
                <a:cubicBezTo>
                  <a:pt x="2898284" y="4080599"/>
                  <a:pt x="2886346" y="4085375"/>
                  <a:pt x="2873213" y="4090946"/>
                </a:cubicBezTo>
                <a:cubicBezTo>
                  <a:pt x="2878387" y="4103681"/>
                  <a:pt x="2882764" y="4114425"/>
                  <a:pt x="2887539" y="4127160"/>
                </a:cubicBezTo>
                <a:cubicBezTo>
                  <a:pt x="2901468" y="4121191"/>
                  <a:pt x="2913804" y="4116017"/>
                  <a:pt x="2926936" y="4110446"/>
                </a:cubicBezTo>
                <a:cubicBezTo>
                  <a:pt x="2921763" y="4097711"/>
                  <a:pt x="2916988" y="4087365"/>
                  <a:pt x="2911814" y="4075028"/>
                </a:cubicBezTo>
                <a:close/>
                <a:moveTo>
                  <a:pt x="2757409" y="4073038"/>
                </a:moveTo>
                <a:cubicBezTo>
                  <a:pt x="2743481" y="4077416"/>
                  <a:pt x="2731940" y="4080997"/>
                  <a:pt x="2718808" y="4084977"/>
                </a:cubicBezTo>
                <a:cubicBezTo>
                  <a:pt x="2722389" y="4097314"/>
                  <a:pt x="2725573" y="4107660"/>
                  <a:pt x="2729155" y="4119997"/>
                </a:cubicBezTo>
                <a:cubicBezTo>
                  <a:pt x="2742685" y="4116017"/>
                  <a:pt x="2755021" y="4112436"/>
                  <a:pt x="2768552" y="4108058"/>
                </a:cubicBezTo>
                <a:cubicBezTo>
                  <a:pt x="2764970" y="4096120"/>
                  <a:pt x="2761389" y="4085375"/>
                  <a:pt x="2757409" y="4073038"/>
                </a:cubicBezTo>
                <a:close/>
                <a:moveTo>
                  <a:pt x="2801980" y="4057916"/>
                </a:moveTo>
                <a:cubicBezTo>
                  <a:pt x="2788449" y="4062692"/>
                  <a:pt x="2776909" y="4066671"/>
                  <a:pt x="2763776" y="4071447"/>
                </a:cubicBezTo>
                <a:cubicBezTo>
                  <a:pt x="2768154" y="4083385"/>
                  <a:pt x="2771735" y="4094528"/>
                  <a:pt x="2775715" y="4106068"/>
                </a:cubicBezTo>
                <a:cubicBezTo>
                  <a:pt x="2789245" y="4101293"/>
                  <a:pt x="2801184" y="4097314"/>
                  <a:pt x="2814316" y="4092538"/>
                </a:cubicBezTo>
                <a:cubicBezTo>
                  <a:pt x="2809939" y="4080599"/>
                  <a:pt x="2806357" y="4069457"/>
                  <a:pt x="2801980" y="4057916"/>
                </a:cubicBezTo>
                <a:close/>
                <a:moveTo>
                  <a:pt x="2956783" y="4055528"/>
                </a:moveTo>
                <a:cubicBezTo>
                  <a:pt x="2942855" y="4061896"/>
                  <a:pt x="2930916" y="4067069"/>
                  <a:pt x="2918580" y="4072640"/>
                </a:cubicBezTo>
                <a:cubicBezTo>
                  <a:pt x="2924151" y="4085375"/>
                  <a:pt x="2928528" y="4095722"/>
                  <a:pt x="2934100" y="4107660"/>
                </a:cubicBezTo>
                <a:cubicBezTo>
                  <a:pt x="2947630" y="4101691"/>
                  <a:pt x="2959569" y="4096517"/>
                  <a:pt x="2973497" y="4090548"/>
                </a:cubicBezTo>
                <a:cubicBezTo>
                  <a:pt x="2967130" y="4077018"/>
                  <a:pt x="2961956" y="4066671"/>
                  <a:pt x="2956783" y="4055528"/>
                </a:cubicBezTo>
                <a:close/>
                <a:moveTo>
                  <a:pt x="1008410" y="4053539"/>
                </a:moveTo>
                <a:cubicBezTo>
                  <a:pt x="997666" y="4066671"/>
                  <a:pt x="988115" y="4078610"/>
                  <a:pt x="977370" y="4091344"/>
                </a:cubicBezTo>
                <a:cubicBezTo>
                  <a:pt x="992094" y="4103283"/>
                  <a:pt x="1005227" y="4113630"/>
                  <a:pt x="1019155" y="4125170"/>
                </a:cubicBezTo>
                <a:cubicBezTo>
                  <a:pt x="1029900" y="4111640"/>
                  <a:pt x="1039053" y="4100099"/>
                  <a:pt x="1049399" y="4086966"/>
                </a:cubicBezTo>
                <a:cubicBezTo>
                  <a:pt x="1035471" y="4075824"/>
                  <a:pt x="1022339" y="4065079"/>
                  <a:pt x="1008410" y="4053539"/>
                </a:cubicBezTo>
                <a:close/>
                <a:moveTo>
                  <a:pt x="1111082" y="4045182"/>
                </a:moveTo>
                <a:cubicBezTo>
                  <a:pt x="1100337" y="4059110"/>
                  <a:pt x="1091184" y="4071049"/>
                  <a:pt x="1081235" y="4084181"/>
                </a:cubicBezTo>
                <a:cubicBezTo>
                  <a:pt x="1095960" y="4094926"/>
                  <a:pt x="1108694" y="4104476"/>
                  <a:pt x="1123020" y="4115221"/>
                </a:cubicBezTo>
                <a:cubicBezTo>
                  <a:pt x="1132571" y="4101691"/>
                  <a:pt x="1141724" y="4089752"/>
                  <a:pt x="1151673" y="4075824"/>
                </a:cubicBezTo>
                <a:cubicBezTo>
                  <a:pt x="1137347" y="4064681"/>
                  <a:pt x="1124612" y="4055131"/>
                  <a:pt x="1111082" y="4045182"/>
                </a:cubicBezTo>
                <a:close/>
                <a:moveTo>
                  <a:pt x="2846152" y="4041600"/>
                </a:moveTo>
                <a:cubicBezTo>
                  <a:pt x="2833020" y="4046773"/>
                  <a:pt x="2821479" y="4051151"/>
                  <a:pt x="2808745" y="4056722"/>
                </a:cubicBezTo>
                <a:cubicBezTo>
                  <a:pt x="2813122" y="4068661"/>
                  <a:pt x="2816704" y="4079007"/>
                  <a:pt x="2821081" y="4090946"/>
                </a:cubicBezTo>
                <a:cubicBezTo>
                  <a:pt x="2834214" y="4085773"/>
                  <a:pt x="2846550" y="4081396"/>
                  <a:pt x="2860081" y="4076222"/>
                </a:cubicBezTo>
                <a:cubicBezTo>
                  <a:pt x="2855305" y="4063886"/>
                  <a:pt x="2850928" y="4053141"/>
                  <a:pt x="2846152" y="4041600"/>
                </a:cubicBezTo>
                <a:close/>
                <a:moveTo>
                  <a:pt x="3512722" y="4040008"/>
                </a:moveTo>
                <a:cubicBezTo>
                  <a:pt x="3499192" y="4051151"/>
                  <a:pt x="3486855" y="4061100"/>
                  <a:pt x="3474518" y="4071447"/>
                </a:cubicBezTo>
                <a:cubicBezTo>
                  <a:pt x="3482079" y="4080997"/>
                  <a:pt x="3488447" y="4088956"/>
                  <a:pt x="3495610" y="4097314"/>
                </a:cubicBezTo>
                <a:cubicBezTo>
                  <a:pt x="3509538" y="4085773"/>
                  <a:pt x="3521079" y="4076222"/>
                  <a:pt x="3534211" y="4065875"/>
                </a:cubicBezTo>
                <a:cubicBezTo>
                  <a:pt x="3526650" y="4057120"/>
                  <a:pt x="3520681" y="4049559"/>
                  <a:pt x="3512722" y="4040008"/>
                </a:cubicBezTo>
                <a:close/>
                <a:moveTo>
                  <a:pt x="2889927" y="4024090"/>
                </a:moveTo>
                <a:cubicBezTo>
                  <a:pt x="2876795" y="4029662"/>
                  <a:pt x="2865254" y="4034437"/>
                  <a:pt x="2852917" y="4039610"/>
                </a:cubicBezTo>
                <a:cubicBezTo>
                  <a:pt x="2857693" y="4051151"/>
                  <a:pt x="2861672" y="4061498"/>
                  <a:pt x="2866448" y="4073834"/>
                </a:cubicBezTo>
                <a:cubicBezTo>
                  <a:pt x="2881172" y="4067467"/>
                  <a:pt x="2892315" y="4062692"/>
                  <a:pt x="2904651" y="4057518"/>
                </a:cubicBezTo>
                <a:cubicBezTo>
                  <a:pt x="2899478" y="4045580"/>
                  <a:pt x="2894702" y="4035631"/>
                  <a:pt x="2889927" y="4024090"/>
                </a:cubicBezTo>
                <a:close/>
                <a:moveTo>
                  <a:pt x="2629667" y="4019713"/>
                </a:moveTo>
                <a:cubicBezTo>
                  <a:pt x="2617330" y="4022498"/>
                  <a:pt x="2607381" y="4024886"/>
                  <a:pt x="2595841" y="4027672"/>
                </a:cubicBezTo>
                <a:cubicBezTo>
                  <a:pt x="2599422" y="4041600"/>
                  <a:pt x="2602208" y="4053937"/>
                  <a:pt x="2605391" y="4067865"/>
                </a:cubicBezTo>
                <a:cubicBezTo>
                  <a:pt x="2616932" y="4065079"/>
                  <a:pt x="2627279" y="4063090"/>
                  <a:pt x="2639615" y="4060304"/>
                </a:cubicBezTo>
                <a:cubicBezTo>
                  <a:pt x="2636034" y="4045580"/>
                  <a:pt x="2632850" y="4033243"/>
                  <a:pt x="2629667" y="4019713"/>
                </a:cubicBezTo>
                <a:close/>
                <a:moveTo>
                  <a:pt x="2183562" y="4012152"/>
                </a:moveTo>
                <a:cubicBezTo>
                  <a:pt x="2181971" y="4034039"/>
                  <a:pt x="2180777" y="4053937"/>
                  <a:pt x="2179583" y="4075426"/>
                </a:cubicBezTo>
                <a:cubicBezTo>
                  <a:pt x="2197889" y="4076222"/>
                  <a:pt x="2213807" y="4077018"/>
                  <a:pt x="2232908" y="4078212"/>
                </a:cubicBezTo>
                <a:cubicBezTo>
                  <a:pt x="2232908" y="4054732"/>
                  <a:pt x="2232908" y="4034835"/>
                  <a:pt x="2232908" y="4014539"/>
                </a:cubicBezTo>
                <a:cubicBezTo>
                  <a:pt x="2216194" y="4013743"/>
                  <a:pt x="2200674" y="4012948"/>
                  <a:pt x="2183562" y="4012152"/>
                </a:cubicBezTo>
                <a:close/>
                <a:moveTo>
                  <a:pt x="2382538" y="4010162"/>
                </a:moveTo>
                <a:cubicBezTo>
                  <a:pt x="2364630" y="4011356"/>
                  <a:pt x="2349110" y="4012550"/>
                  <a:pt x="2334386" y="4013346"/>
                </a:cubicBezTo>
                <a:cubicBezTo>
                  <a:pt x="2334386" y="4035631"/>
                  <a:pt x="2334386" y="4055131"/>
                  <a:pt x="2334386" y="4076620"/>
                </a:cubicBezTo>
                <a:cubicBezTo>
                  <a:pt x="2352294" y="4075426"/>
                  <a:pt x="2368610" y="4074630"/>
                  <a:pt x="2387712" y="4073834"/>
                </a:cubicBezTo>
                <a:cubicBezTo>
                  <a:pt x="2385722" y="4051549"/>
                  <a:pt x="2384130" y="4031651"/>
                  <a:pt x="2382538" y="4010162"/>
                </a:cubicBezTo>
                <a:close/>
                <a:moveTo>
                  <a:pt x="2109145" y="4005387"/>
                </a:moveTo>
                <a:cubicBezTo>
                  <a:pt x="2106758" y="4027274"/>
                  <a:pt x="2104768" y="4047172"/>
                  <a:pt x="2102380" y="4068661"/>
                </a:cubicBezTo>
                <a:cubicBezTo>
                  <a:pt x="2120686" y="4070651"/>
                  <a:pt x="2136604" y="4072242"/>
                  <a:pt x="2155308" y="4073436"/>
                </a:cubicBezTo>
                <a:cubicBezTo>
                  <a:pt x="2156899" y="4051947"/>
                  <a:pt x="2158094" y="4032049"/>
                  <a:pt x="2159685" y="4010162"/>
                </a:cubicBezTo>
                <a:cubicBezTo>
                  <a:pt x="2142175" y="4008570"/>
                  <a:pt x="2126655" y="4006978"/>
                  <a:pt x="2109145" y="4005387"/>
                </a:cubicBezTo>
                <a:close/>
                <a:moveTo>
                  <a:pt x="2933702" y="4004988"/>
                </a:moveTo>
                <a:cubicBezTo>
                  <a:pt x="2921365" y="4010560"/>
                  <a:pt x="2910621" y="4015335"/>
                  <a:pt x="2897090" y="4021305"/>
                </a:cubicBezTo>
                <a:cubicBezTo>
                  <a:pt x="2902264" y="4033641"/>
                  <a:pt x="2907039" y="4043988"/>
                  <a:pt x="2912212" y="4055528"/>
                </a:cubicBezTo>
                <a:cubicBezTo>
                  <a:pt x="2925743" y="4049161"/>
                  <a:pt x="2936885" y="4043590"/>
                  <a:pt x="2949620" y="4037621"/>
                </a:cubicBezTo>
                <a:cubicBezTo>
                  <a:pt x="2943650" y="4025284"/>
                  <a:pt x="2938875" y="4015733"/>
                  <a:pt x="2933702" y="4004988"/>
                </a:cubicBezTo>
                <a:close/>
                <a:moveTo>
                  <a:pt x="951503" y="4003397"/>
                </a:moveTo>
                <a:cubicBezTo>
                  <a:pt x="939962" y="4015733"/>
                  <a:pt x="930014" y="4026876"/>
                  <a:pt x="918473" y="4039610"/>
                </a:cubicBezTo>
                <a:cubicBezTo>
                  <a:pt x="933197" y="4052743"/>
                  <a:pt x="945534" y="4063487"/>
                  <a:pt x="959064" y="4075426"/>
                </a:cubicBezTo>
                <a:cubicBezTo>
                  <a:pt x="970207" y="4061896"/>
                  <a:pt x="980156" y="4050355"/>
                  <a:pt x="990900" y="4037621"/>
                </a:cubicBezTo>
                <a:cubicBezTo>
                  <a:pt x="976574" y="4025284"/>
                  <a:pt x="964636" y="4014539"/>
                  <a:pt x="951503" y="4003397"/>
                </a:cubicBezTo>
                <a:close/>
                <a:moveTo>
                  <a:pt x="1701643" y="3999815"/>
                </a:moveTo>
                <a:cubicBezTo>
                  <a:pt x="1696071" y="4014539"/>
                  <a:pt x="1691296" y="4027274"/>
                  <a:pt x="1685724" y="4041600"/>
                </a:cubicBezTo>
                <a:cubicBezTo>
                  <a:pt x="1708806" y="4049957"/>
                  <a:pt x="1731091" y="4058314"/>
                  <a:pt x="1754570" y="4066671"/>
                </a:cubicBezTo>
                <a:cubicBezTo>
                  <a:pt x="1759346" y="4051549"/>
                  <a:pt x="1764121" y="4038417"/>
                  <a:pt x="1768896" y="4024090"/>
                </a:cubicBezTo>
                <a:cubicBezTo>
                  <a:pt x="1745019" y="4015335"/>
                  <a:pt x="1723928" y="4007376"/>
                  <a:pt x="1701643" y="3999815"/>
                </a:cubicBezTo>
                <a:close/>
                <a:moveTo>
                  <a:pt x="1054175" y="3999019"/>
                </a:moveTo>
                <a:cubicBezTo>
                  <a:pt x="1043032" y="4012550"/>
                  <a:pt x="1033083" y="4024090"/>
                  <a:pt x="1022737" y="4036825"/>
                </a:cubicBezTo>
                <a:cubicBezTo>
                  <a:pt x="1036267" y="4047967"/>
                  <a:pt x="1049001" y="4058314"/>
                  <a:pt x="1062930" y="4069457"/>
                </a:cubicBezTo>
                <a:cubicBezTo>
                  <a:pt x="1073674" y="4056324"/>
                  <a:pt x="1083225" y="4044386"/>
                  <a:pt x="1093572" y="4031253"/>
                </a:cubicBezTo>
                <a:cubicBezTo>
                  <a:pt x="1080042" y="4020111"/>
                  <a:pt x="1067705" y="4010162"/>
                  <a:pt x="1054175" y="3999019"/>
                </a:cubicBezTo>
                <a:close/>
                <a:moveTo>
                  <a:pt x="1914149" y="3997825"/>
                </a:moveTo>
                <a:cubicBezTo>
                  <a:pt x="1910169" y="4012948"/>
                  <a:pt x="1906986" y="4026478"/>
                  <a:pt x="1903404" y="4041998"/>
                </a:cubicBezTo>
                <a:cubicBezTo>
                  <a:pt x="1927281" y="4047172"/>
                  <a:pt x="1948771" y="4051549"/>
                  <a:pt x="1972648" y="4056722"/>
                </a:cubicBezTo>
                <a:cubicBezTo>
                  <a:pt x="1975831" y="4041202"/>
                  <a:pt x="1978219" y="4027672"/>
                  <a:pt x="1980607" y="4012550"/>
                </a:cubicBezTo>
                <a:cubicBezTo>
                  <a:pt x="1957924" y="4007774"/>
                  <a:pt x="1937230" y="4002999"/>
                  <a:pt x="1914149" y="3997825"/>
                </a:cubicBezTo>
                <a:close/>
                <a:moveTo>
                  <a:pt x="2515056" y="3993846"/>
                </a:moveTo>
                <a:cubicBezTo>
                  <a:pt x="2503516" y="3995836"/>
                  <a:pt x="2493965" y="3997428"/>
                  <a:pt x="2482026" y="3999417"/>
                </a:cubicBezTo>
                <a:cubicBezTo>
                  <a:pt x="2484016" y="4014142"/>
                  <a:pt x="2486006" y="4026080"/>
                  <a:pt x="2487996" y="4040008"/>
                </a:cubicBezTo>
                <a:cubicBezTo>
                  <a:pt x="2499934" y="4038417"/>
                  <a:pt x="2509883" y="4036825"/>
                  <a:pt x="2521821" y="4035233"/>
                </a:cubicBezTo>
                <a:cubicBezTo>
                  <a:pt x="2519434" y="4020509"/>
                  <a:pt x="2517444" y="4007774"/>
                  <a:pt x="2515056" y="3993846"/>
                </a:cubicBezTo>
                <a:close/>
                <a:moveTo>
                  <a:pt x="1266681" y="3993050"/>
                </a:moveTo>
                <a:cubicBezTo>
                  <a:pt x="1262304" y="3999417"/>
                  <a:pt x="1259120" y="4004193"/>
                  <a:pt x="1253947" y="4010958"/>
                </a:cubicBezTo>
                <a:cubicBezTo>
                  <a:pt x="1283793" y="4030458"/>
                  <a:pt x="1311650" y="4048365"/>
                  <a:pt x="1340302" y="4067069"/>
                </a:cubicBezTo>
                <a:cubicBezTo>
                  <a:pt x="1344680" y="4059110"/>
                  <a:pt x="1347465" y="4053539"/>
                  <a:pt x="1350251" y="4047569"/>
                </a:cubicBezTo>
                <a:cubicBezTo>
                  <a:pt x="1321996" y="4028866"/>
                  <a:pt x="1294538" y="4010958"/>
                  <a:pt x="1266681" y="3993050"/>
                </a:cubicBezTo>
                <a:close/>
                <a:moveTo>
                  <a:pt x="3163718" y="3989866"/>
                </a:moveTo>
                <a:cubicBezTo>
                  <a:pt x="3153769" y="3995836"/>
                  <a:pt x="3145412" y="4001009"/>
                  <a:pt x="3135861" y="4006978"/>
                </a:cubicBezTo>
                <a:cubicBezTo>
                  <a:pt x="3142626" y="4018121"/>
                  <a:pt x="3148198" y="4027274"/>
                  <a:pt x="3154565" y="4038019"/>
                </a:cubicBezTo>
                <a:cubicBezTo>
                  <a:pt x="3164514" y="4031651"/>
                  <a:pt x="3173269" y="4026478"/>
                  <a:pt x="3183218" y="4020509"/>
                </a:cubicBezTo>
                <a:cubicBezTo>
                  <a:pt x="3176054" y="4009764"/>
                  <a:pt x="3170483" y="4000213"/>
                  <a:pt x="3163718" y="3989866"/>
                </a:cubicBezTo>
                <a:close/>
                <a:moveTo>
                  <a:pt x="1154459" y="3989070"/>
                </a:moveTo>
                <a:cubicBezTo>
                  <a:pt x="1144112" y="4002601"/>
                  <a:pt x="1134959" y="4014539"/>
                  <a:pt x="1125010" y="4027672"/>
                </a:cubicBezTo>
                <a:cubicBezTo>
                  <a:pt x="1138938" y="4038019"/>
                  <a:pt x="1151275" y="4047569"/>
                  <a:pt x="1164805" y="4057518"/>
                </a:cubicBezTo>
                <a:cubicBezTo>
                  <a:pt x="1174754" y="4043988"/>
                  <a:pt x="1183907" y="4032049"/>
                  <a:pt x="1193458" y="4018519"/>
                </a:cubicBezTo>
                <a:cubicBezTo>
                  <a:pt x="1179928" y="4008172"/>
                  <a:pt x="1167591" y="3999019"/>
                  <a:pt x="1154459" y="3989070"/>
                </a:cubicBezTo>
                <a:close/>
                <a:moveTo>
                  <a:pt x="2726369" y="3975938"/>
                </a:moveTo>
                <a:cubicBezTo>
                  <a:pt x="2713634" y="3979918"/>
                  <a:pt x="2702492" y="3983499"/>
                  <a:pt x="2690155" y="3987479"/>
                </a:cubicBezTo>
                <a:cubicBezTo>
                  <a:pt x="2699308" y="4018121"/>
                  <a:pt x="2707665" y="4047172"/>
                  <a:pt x="2716818" y="4077416"/>
                </a:cubicBezTo>
                <a:cubicBezTo>
                  <a:pt x="2730348" y="4073436"/>
                  <a:pt x="2741889" y="4069855"/>
                  <a:pt x="2755419" y="4065875"/>
                </a:cubicBezTo>
                <a:cubicBezTo>
                  <a:pt x="2745470" y="4034437"/>
                  <a:pt x="2735920" y="4005784"/>
                  <a:pt x="2726369" y="3975938"/>
                </a:cubicBezTo>
                <a:close/>
                <a:moveTo>
                  <a:pt x="1818640" y="3971561"/>
                </a:moveTo>
                <a:cubicBezTo>
                  <a:pt x="1814263" y="3986285"/>
                  <a:pt x="1810283" y="3999417"/>
                  <a:pt x="1805508" y="4014142"/>
                </a:cubicBezTo>
                <a:cubicBezTo>
                  <a:pt x="1828589" y="4020907"/>
                  <a:pt x="1850079" y="4026876"/>
                  <a:pt x="1873160" y="4033641"/>
                </a:cubicBezTo>
                <a:cubicBezTo>
                  <a:pt x="1877139" y="4018917"/>
                  <a:pt x="1880721" y="4005784"/>
                  <a:pt x="1884700" y="3990264"/>
                </a:cubicBezTo>
                <a:cubicBezTo>
                  <a:pt x="1861619" y="3983897"/>
                  <a:pt x="1840926" y="3977928"/>
                  <a:pt x="1818640" y="3971561"/>
                </a:cubicBezTo>
                <a:close/>
                <a:moveTo>
                  <a:pt x="3108801" y="3966387"/>
                </a:moveTo>
                <a:cubicBezTo>
                  <a:pt x="3098056" y="3973152"/>
                  <a:pt x="3089699" y="3977928"/>
                  <a:pt x="3081342" y="3983101"/>
                </a:cubicBezTo>
                <a:cubicBezTo>
                  <a:pt x="3088107" y="3994642"/>
                  <a:pt x="3093678" y="4003795"/>
                  <a:pt x="3099648" y="4014142"/>
                </a:cubicBezTo>
                <a:cubicBezTo>
                  <a:pt x="3109994" y="4008172"/>
                  <a:pt x="3117953" y="4003397"/>
                  <a:pt x="3127106" y="3997825"/>
                </a:cubicBezTo>
                <a:cubicBezTo>
                  <a:pt x="3120739" y="3986683"/>
                  <a:pt x="3115168" y="3977132"/>
                  <a:pt x="3108801" y="3966387"/>
                </a:cubicBezTo>
                <a:close/>
                <a:moveTo>
                  <a:pt x="2768154" y="3961612"/>
                </a:moveTo>
                <a:cubicBezTo>
                  <a:pt x="2755021" y="3965989"/>
                  <a:pt x="2744675" y="3969571"/>
                  <a:pt x="2732338" y="3973948"/>
                </a:cubicBezTo>
                <a:cubicBezTo>
                  <a:pt x="2742287" y="4004193"/>
                  <a:pt x="2751440" y="4033243"/>
                  <a:pt x="2761389" y="4063487"/>
                </a:cubicBezTo>
                <a:cubicBezTo>
                  <a:pt x="2774919" y="4059110"/>
                  <a:pt x="2786062" y="4055528"/>
                  <a:pt x="2799592" y="4050753"/>
                </a:cubicBezTo>
                <a:cubicBezTo>
                  <a:pt x="2788847" y="4019713"/>
                  <a:pt x="2778500" y="3991060"/>
                  <a:pt x="2768154" y="3961612"/>
                </a:cubicBezTo>
                <a:close/>
                <a:moveTo>
                  <a:pt x="1606532" y="3958428"/>
                </a:moveTo>
                <a:cubicBezTo>
                  <a:pt x="1600165" y="3972357"/>
                  <a:pt x="1594196" y="3984693"/>
                  <a:pt x="1587430" y="3999019"/>
                </a:cubicBezTo>
                <a:cubicBezTo>
                  <a:pt x="1610511" y="4008968"/>
                  <a:pt x="1631603" y="4018519"/>
                  <a:pt x="1654684" y="4028866"/>
                </a:cubicBezTo>
                <a:cubicBezTo>
                  <a:pt x="1660653" y="4014539"/>
                  <a:pt x="1666225" y="4002203"/>
                  <a:pt x="1672194" y="3987479"/>
                </a:cubicBezTo>
                <a:cubicBezTo>
                  <a:pt x="1649113" y="3977132"/>
                  <a:pt x="1628419" y="3967979"/>
                  <a:pt x="1606532" y="3958428"/>
                </a:cubicBezTo>
                <a:close/>
                <a:moveTo>
                  <a:pt x="897780" y="3953653"/>
                </a:moveTo>
                <a:cubicBezTo>
                  <a:pt x="885443" y="3964795"/>
                  <a:pt x="874300" y="3975142"/>
                  <a:pt x="861566" y="3986683"/>
                </a:cubicBezTo>
                <a:cubicBezTo>
                  <a:pt x="875892" y="3999815"/>
                  <a:pt x="887831" y="4011356"/>
                  <a:pt x="900565" y="4022896"/>
                </a:cubicBezTo>
                <a:cubicBezTo>
                  <a:pt x="912106" y="4010560"/>
                  <a:pt x="922453" y="3999417"/>
                  <a:pt x="933595" y="3987479"/>
                </a:cubicBezTo>
                <a:cubicBezTo>
                  <a:pt x="920463" y="3975142"/>
                  <a:pt x="908524" y="3963602"/>
                  <a:pt x="897780" y="3953653"/>
                </a:cubicBezTo>
                <a:close/>
                <a:moveTo>
                  <a:pt x="998859" y="3950867"/>
                </a:moveTo>
                <a:cubicBezTo>
                  <a:pt x="987319" y="3963602"/>
                  <a:pt x="976972" y="3975142"/>
                  <a:pt x="966227" y="3987479"/>
                </a:cubicBezTo>
                <a:cubicBezTo>
                  <a:pt x="979360" y="3999019"/>
                  <a:pt x="991298" y="4009366"/>
                  <a:pt x="1004829" y="4021703"/>
                </a:cubicBezTo>
                <a:cubicBezTo>
                  <a:pt x="1016369" y="4008570"/>
                  <a:pt x="1026318" y="3997428"/>
                  <a:pt x="1037063" y="3984693"/>
                </a:cubicBezTo>
                <a:cubicBezTo>
                  <a:pt x="1023930" y="3973152"/>
                  <a:pt x="1011992" y="3962408"/>
                  <a:pt x="998859" y="3950867"/>
                </a:cubicBezTo>
                <a:close/>
                <a:moveTo>
                  <a:pt x="1099541" y="3944898"/>
                </a:moveTo>
                <a:cubicBezTo>
                  <a:pt x="1088399" y="3958030"/>
                  <a:pt x="1078848" y="3969173"/>
                  <a:pt x="1068103" y="3982305"/>
                </a:cubicBezTo>
                <a:cubicBezTo>
                  <a:pt x="1081633" y="3993050"/>
                  <a:pt x="1093970" y="4002999"/>
                  <a:pt x="1107102" y="4013743"/>
                </a:cubicBezTo>
                <a:cubicBezTo>
                  <a:pt x="1117847" y="4000213"/>
                  <a:pt x="1127000" y="3988275"/>
                  <a:pt x="1137347" y="3975540"/>
                </a:cubicBezTo>
                <a:cubicBezTo>
                  <a:pt x="1124612" y="3965193"/>
                  <a:pt x="1113072" y="3956040"/>
                  <a:pt x="1099541" y="3944898"/>
                </a:cubicBezTo>
                <a:close/>
                <a:moveTo>
                  <a:pt x="3234553" y="3943704"/>
                </a:moveTo>
                <a:cubicBezTo>
                  <a:pt x="3225003" y="3950071"/>
                  <a:pt x="3217043" y="3955643"/>
                  <a:pt x="3207493" y="3962010"/>
                </a:cubicBezTo>
                <a:cubicBezTo>
                  <a:pt x="3213860" y="3971959"/>
                  <a:pt x="3220227" y="3981111"/>
                  <a:pt x="3227788" y="3992652"/>
                </a:cubicBezTo>
                <a:cubicBezTo>
                  <a:pt x="3238135" y="3984693"/>
                  <a:pt x="3246094" y="3978326"/>
                  <a:pt x="3254849" y="3971959"/>
                </a:cubicBezTo>
                <a:cubicBezTo>
                  <a:pt x="3247288" y="3961214"/>
                  <a:pt x="3241318" y="3952857"/>
                  <a:pt x="3234553" y="3943704"/>
                </a:cubicBezTo>
                <a:close/>
                <a:moveTo>
                  <a:pt x="2712441" y="3932959"/>
                </a:moveTo>
                <a:cubicBezTo>
                  <a:pt x="2700502" y="3936939"/>
                  <a:pt x="2689757" y="3940122"/>
                  <a:pt x="2677819" y="3943704"/>
                </a:cubicBezTo>
                <a:cubicBezTo>
                  <a:pt x="2681400" y="3956439"/>
                  <a:pt x="2684584" y="3967183"/>
                  <a:pt x="2688165" y="3979122"/>
                </a:cubicBezTo>
                <a:cubicBezTo>
                  <a:pt x="2700900" y="3975142"/>
                  <a:pt x="2711247" y="3971959"/>
                  <a:pt x="2723981" y="3967979"/>
                </a:cubicBezTo>
                <a:cubicBezTo>
                  <a:pt x="2719604" y="3955244"/>
                  <a:pt x="2716420" y="3944898"/>
                  <a:pt x="2712441" y="3932959"/>
                </a:cubicBezTo>
                <a:close/>
                <a:moveTo>
                  <a:pt x="1197835" y="3932561"/>
                </a:moveTo>
                <a:cubicBezTo>
                  <a:pt x="1187489" y="3946490"/>
                  <a:pt x="1178336" y="3958428"/>
                  <a:pt x="1168387" y="3971561"/>
                </a:cubicBezTo>
                <a:cubicBezTo>
                  <a:pt x="1181519" y="3981509"/>
                  <a:pt x="1193458" y="3990662"/>
                  <a:pt x="1206590" y="4000611"/>
                </a:cubicBezTo>
                <a:cubicBezTo>
                  <a:pt x="1216539" y="3986683"/>
                  <a:pt x="1225692" y="3974346"/>
                  <a:pt x="1235243" y="3960816"/>
                </a:cubicBezTo>
                <a:cubicBezTo>
                  <a:pt x="1222110" y="3950867"/>
                  <a:pt x="1210570" y="3942112"/>
                  <a:pt x="1197835" y="3932561"/>
                </a:cubicBezTo>
                <a:close/>
                <a:moveTo>
                  <a:pt x="2850928" y="3929378"/>
                </a:moveTo>
                <a:cubicBezTo>
                  <a:pt x="2838193" y="3934949"/>
                  <a:pt x="2827448" y="3939326"/>
                  <a:pt x="2815908" y="3944500"/>
                </a:cubicBezTo>
                <a:cubicBezTo>
                  <a:pt x="2827448" y="3974744"/>
                  <a:pt x="2838591" y="4002999"/>
                  <a:pt x="2850132" y="4032049"/>
                </a:cubicBezTo>
                <a:cubicBezTo>
                  <a:pt x="2864458" y="4026080"/>
                  <a:pt x="2875601" y="4021305"/>
                  <a:pt x="2887539" y="4016131"/>
                </a:cubicBezTo>
                <a:cubicBezTo>
                  <a:pt x="2875203" y="3986683"/>
                  <a:pt x="2863662" y="3959224"/>
                  <a:pt x="2850928" y="3929378"/>
                </a:cubicBezTo>
                <a:close/>
                <a:moveTo>
                  <a:pt x="3171677" y="3928184"/>
                </a:moveTo>
                <a:cubicBezTo>
                  <a:pt x="3162126" y="3934153"/>
                  <a:pt x="3154565" y="3938929"/>
                  <a:pt x="3145014" y="3945296"/>
                </a:cubicBezTo>
                <a:cubicBezTo>
                  <a:pt x="3151779" y="3956040"/>
                  <a:pt x="3157749" y="3965591"/>
                  <a:pt x="3164514" y="3975938"/>
                </a:cubicBezTo>
                <a:cubicBezTo>
                  <a:pt x="3174065" y="3969173"/>
                  <a:pt x="3182422" y="3963602"/>
                  <a:pt x="3191973" y="3958030"/>
                </a:cubicBezTo>
                <a:cubicBezTo>
                  <a:pt x="3184411" y="3946888"/>
                  <a:pt x="3178044" y="3937735"/>
                  <a:pt x="3171677" y="3928184"/>
                </a:cubicBezTo>
                <a:close/>
                <a:moveTo>
                  <a:pt x="3480488" y="3921817"/>
                </a:moveTo>
                <a:cubicBezTo>
                  <a:pt x="3468151" y="3932561"/>
                  <a:pt x="3457407" y="3941714"/>
                  <a:pt x="3445468" y="3952061"/>
                </a:cubicBezTo>
                <a:cubicBezTo>
                  <a:pt x="3453427" y="3961612"/>
                  <a:pt x="3460590" y="3969969"/>
                  <a:pt x="3468151" y="3979520"/>
                </a:cubicBezTo>
                <a:cubicBezTo>
                  <a:pt x="3480488" y="3969173"/>
                  <a:pt x="3491630" y="3959622"/>
                  <a:pt x="3504365" y="3948877"/>
                </a:cubicBezTo>
                <a:cubicBezTo>
                  <a:pt x="3495610" y="3938929"/>
                  <a:pt x="3488447" y="3930970"/>
                  <a:pt x="3480488" y="3921817"/>
                </a:cubicBezTo>
                <a:close/>
                <a:moveTo>
                  <a:pt x="3055873" y="3919827"/>
                </a:moveTo>
                <a:cubicBezTo>
                  <a:pt x="3046720" y="3925000"/>
                  <a:pt x="3038761" y="3929378"/>
                  <a:pt x="3029210" y="3934551"/>
                </a:cubicBezTo>
                <a:cubicBezTo>
                  <a:pt x="3035975" y="3946490"/>
                  <a:pt x="3041547" y="3956040"/>
                  <a:pt x="3047516" y="3966387"/>
                </a:cubicBezTo>
                <a:cubicBezTo>
                  <a:pt x="3057465" y="3960816"/>
                  <a:pt x="3065424" y="3956040"/>
                  <a:pt x="3074179" y="3950469"/>
                </a:cubicBezTo>
                <a:cubicBezTo>
                  <a:pt x="3067414" y="3939326"/>
                  <a:pt x="3061842" y="3930174"/>
                  <a:pt x="3055873" y="3919827"/>
                </a:cubicBezTo>
                <a:close/>
                <a:moveTo>
                  <a:pt x="2753032" y="3919031"/>
                </a:moveTo>
                <a:cubicBezTo>
                  <a:pt x="2740695" y="3923408"/>
                  <a:pt x="2729950" y="3927388"/>
                  <a:pt x="2718808" y="3931367"/>
                </a:cubicBezTo>
                <a:cubicBezTo>
                  <a:pt x="2722787" y="3943704"/>
                  <a:pt x="2725971" y="3953653"/>
                  <a:pt x="2729950" y="3966785"/>
                </a:cubicBezTo>
                <a:cubicBezTo>
                  <a:pt x="2743083" y="3962010"/>
                  <a:pt x="2753430" y="3958030"/>
                  <a:pt x="2765368" y="3953653"/>
                </a:cubicBezTo>
                <a:cubicBezTo>
                  <a:pt x="2760991" y="3940918"/>
                  <a:pt x="2757011" y="3930572"/>
                  <a:pt x="2753032" y="3919031"/>
                </a:cubicBezTo>
                <a:close/>
                <a:moveTo>
                  <a:pt x="2032341" y="3917439"/>
                </a:moveTo>
                <a:cubicBezTo>
                  <a:pt x="2022392" y="3974744"/>
                  <a:pt x="2012841" y="4030458"/>
                  <a:pt x="2002892" y="4087763"/>
                </a:cubicBezTo>
                <a:cubicBezTo>
                  <a:pt x="2023984" y="4090946"/>
                  <a:pt x="2042687" y="4093732"/>
                  <a:pt x="2063779" y="4096517"/>
                </a:cubicBezTo>
                <a:cubicBezTo>
                  <a:pt x="2071340" y="4038814"/>
                  <a:pt x="2078901" y="3982703"/>
                  <a:pt x="2086462" y="3925000"/>
                </a:cubicBezTo>
                <a:cubicBezTo>
                  <a:pt x="2067360" y="3922613"/>
                  <a:pt x="2050646" y="3920225"/>
                  <a:pt x="2032341" y="3917439"/>
                </a:cubicBezTo>
                <a:close/>
                <a:moveTo>
                  <a:pt x="2891917" y="3911868"/>
                </a:moveTo>
                <a:cubicBezTo>
                  <a:pt x="2879580" y="3917041"/>
                  <a:pt x="2869632" y="3921419"/>
                  <a:pt x="2856897" y="3926990"/>
                </a:cubicBezTo>
                <a:cubicBezTo>
                  <a:pt x="2870029" y="3957632"/>
                  <a:pt x="2881968" y="3985489"/>
                  <a:pt x="2894305" y="4014142"/>
                </a:cubicBezTo>
                <a:cubicBezTo>
                  <a:pt x="2907835" y="4007774"/>
                  <a:pt x="2918977" y="4002601"/>
                  <a:pt x="2930916" y="3996632"/>
                </a:cubicBezTo>
                <a:cubicBezTo>
                  <a:pt x="2917386" y="3967183"/>
                  <a:pt x="2905049" y="3940122"/>
                  <a:pt x="2891917" y="3911868"/>
                </a:cubicBezTo>
                <a:close/>
                <a:moveTo>
                  <a:pt x="1838538" y="3909082"/>
                </a:moveTo>
                <a:cubicBezTo>
                  <a:pt x="1833763" y="3924602"/>
                  <a:pt x="1829385" y="3937735"/>
                  <a:pt x="1825008" y="3952061"/>
                </a:cubicBezTo>
                <a:cubicBezTo>
                  <a:pt x="1847691" y="3958826"/>
                  <a:pt x="1868384" y="3964795"/>
                  <a:pt x="1889874" y="3970765"/>
                </a:cubicBezTo>
                <a:cubicBezTo>
                  <a:pt x="1893853" y="3954847"/>
                  <a:pt x="1897435" y="3941714"/>
                  <a:pt x="1901016" y="3926990"/>
                </a:cubicBezTo>
                <a:cubicBezTo>
                  <a:pt x="1879925" y="3921021"/>
                  <a:pt x="1860425" y="3915449"/>
                  <a:pt x="1838538" y="3909082"/>
                </a:cubicBezTo>
                <a:close/>
                <a:moveTo>
                  <a:pt x="2793225" y="3904307"/>
                </a:moveTo>
                <a:cubicBezTo>
                  <a:pt x="2780888" y="3909082"/>
                  <a:pt x="2770541" y="3912664"/>
                  <a:pt x="2759001" y="3917041"/>
                </a:cubicBezTo>
                <a:cubicBezTo>
                  <a:pt x="2763378" y="3928980"/>
                  <a:pt x="2766960" y="3939326"/>
                  <a:pt x="2771735" y="3952061"/>
                </a:cubicBezTo>
                <a:cubicBezTo>
                  <a:pt x="2784470" y="3947285"/>
                  <a:pt x="2794817" y="3943306"/>
                  <a:pt x="2806755" y="3938929"/>
                </a:cubicBezTo>
                <a:cubicBezTo>
                  <a:pt x="2801980" y="3926592"/>
                  <a:pt x="2798000" y="3915847"/>
                  <a:pt x="2793225" y="3904307"/>
                </a:cubicBezTo>
                <a:close/>
                <a:moveTo>
                  <a:pt x="949115" y="3904307"/>
                </a:moveTo>
                <a:cubicBezTo>
                  <a:pt x="935585" y="3915847"/>
                  <a:pt x="924044" y="3925398"/>
                  <a:pt x="911708" y="3936143"/>
                </a:cubicBezTo>
                <a:cubicBezTo>
                  <a:pt x="924044" y="3948081"/>
                  <a:pt x="935983" y="3959224"/>
                  <a:pt x="948717" y="3971561"/>
                </a:cubicBezTo>
                <a:cubicBezTo>
                  <a:pt x="960258" y="3959224"/>
                  <a:pt x="971003" y="3948081"/>
                  <a:pt x="982145" y="3935745"/>
                </a:cubicBezTo>
                <a:cubicBezTo>
                  <a:pt x="969411" y="3923408"/>
                  <a:pt x="958268" y="3912664"/>
                  <a:pt x="949115" y="3904307"/>
                </a:cubicBezTo>
                <a:close/>
                <a:moveTo>
                  <a:pt x="2983844" y="3899531"/>
                </a:moveTo>
                <a:cubicBezTo>
                  <a:pt x="2965936" y="3908684"/>
                  <a:pt x="2949222" y="3917439"/>
                  <a:pt x="2930916" y="3926592"/>
                </a:cubicBezTo>
                <a:cubicBezTo>
                  <a:pt x="2946834" y="3959622"/>
                  <a:pt x="2961956" y="3991458"/>
                  <a:pt x="2977874" y="4024090"/>
                </a:cubicBezTo>
                <a:cubicBezTo>
                  <a:pt x="2998170" y="4013743"/>
                  <a:pt x="3016078" y="4004591"/>
                  <a:pt x="3034782" y="3995040"/>
                </a:cubicBezTo>
                <a:cubicBezTo>
                  <a:pt x="3017272" y="3962408"/>
                  <a:pt x="3000956" y="3931367"/>
                  <a:pt x="2983844" y="3899531"/>
                </a:cubicBezTo>
                <a:close/>
                <a:moveTo>
                  <a:pt x="1046216" y="3898337"/>
                </a:moveTo>
                <a:cubicBezTo>
                  <a:pt x="1035073" y="3911072"/>
                  <a:pt x="1025124" y="3922613"/>
                  <a:pt x="1013982" y="3934949"/>
                </a:cubicBezTo>
                <a:cubicBezTo>
                  <a:pt x="1026716" y="3946490"/>
                  <a:pt x="1038257" y="3956439"/>
                  <a:pt x="1051389" y="3967979"/>
                </a:cubicBezTo>
                <a:cubicBezTo>
                  <a:pt x="1062532" y="3954449"/>
                  <a:pt x="1072481" y="3942510"/>
                  <a:pt x="1082827" y="3930174"/>
                </a:cubicBezTo>
                <a:cubicBezTo>
                  <a:pt x="1069695" y="3918633"/>
                  <a:pt x="1058552" y="3909082"/>
                  <a:pt x="1046216" y="3898337"/>
                </a:cubicBezTo>
                <a:close/>
                <a:moveTo>
                  <a:pt x="1145306" y="3890378"/>
                </a:moveTo>
                <a:cubicBezTo>
                  <a:pt x="1134163" y="3903511"/>
                  <a:pt x="1124612" y="3915449"/>
                  <a:pt x="1113868" y="3928184"/>
                </a:cubicBezTo>
                <a:cubicBezTo>
                  <a:pt x="1127398" y="3938929"/>
                  <a:pt x="1138938" y="3948081"/>
                  <a:pt x="1151673" y="3958428"/>
                </a:cubicBezTo>
                <a:cubicBezTo>
                  <a:pt x="1162020" y="3944898"/>
                  <a:pt x="1171173" y="3933357"/>
                  <a:pt x="1181519" y="3920225"/>
                </a:cubicBezTo>
                <a:cubicBezTo>
                  <a:pt x="1169183" y="3909878"/>
                  <a:pt x="1157642" y="3900725"/>
                  <a:pt x="1145306" y="3890378"/>
                </a:cubicBezTo>
                <a:close/>
                <a:moveTo>
                  <a:pt x="3438902" y="3889384"/>
                </a:moveTo>
                <a:cubicBezTo>
                  <a:pt x="3429948" y="3889881"/>
                  <a:pt x="3420198" y="3896348"/>
                  <a:pt x="3408856" y="3908684"/>
                </a:cubicBezTo>
                <a:cubicBezTo>
                  <a:pt x="3415622" y="3916643"/>
                  <a:pt x="3422785" y="3925000"/>
                  <a:pt x="3429948" y="3934153"/>
                </a:cubicBezTo>
                <a:cubicBezTo>
                  <a:pt x="3438305" y="3926990"/>
                  <a:pt x="3445070" y="3921419"/>
                  <a:pt x="3452233" y="3915449"/>
                </a:cubicBezTo>
                <a:cubicBezTo>
                  <a:pt x="3456213" y="3912266"/>
                  <a:pt x="3460590" y="3909082"/>
                  <a:pt x="3464172" y="3905899"/>
                </a:cubicBezTo>
                <a:cubicBezTo>
                  <a:pt x="3456014" y="3894358"/>
                  <a:pt x="3447856" y="3888886"/>
                  <a:pt x="3438902" y="3889384"/>
                </a:cubicBezTo>
                <a:close/>
                <a:moveTo>
                  <a:pt x="2833418" y="3888389"/>
                </a:moveTo>
                <a:cubicBezTo>
                  <a:pt x="2821479" y="3893164"/>
                  <a:pt x="2811133" y="3897541"/>
                  <a:pt x="2799592" y="3902317"/>
                </a:cubicBezTo>
                <a:cubicBezTo>
                  <a:pt x="2804367" y="3914654"/>
                  <a:pt x="2808347" y="3925000"/>
                  <a:pt x="2813520" y="3936541"/>
                </a:cubicBezTo>
                <a:cubicBezTo>
                  <a:pt x="2825061" y="3931765"/>
                  <a:pt x="2835408" y="3927388"/>
                  <a:pt x="2848142" y="3922215"/>
                </a:cubicBezTo>
                <a:cubicBezTo>
                  <a:pt x="2842969" y="3910276"/>
                  <a:pt x="2838591" y="3899929"/>
                  <a:pt x="2833418" y="3888389"/>
                </a:cubicBezTo>
                <a:close/>
                <a:moveTo>
                  <a:pt x="2694135" y="3878440"/>
                </a:moveTo>
                <a:cubicBezTo>
                  <a:pt x="2682196" y="3882419"/>
                  <a:pt x="2672645" y="3885603"/>
                  <a:pt x="2661503" y="3889185"/>
                </a:cubicBezTo>
                <a:cubicBezTo>
                  <a:pt x="2665482" y="3902317"/>
                  <a:pt x="2669064" y="3913460"/>
                  <a:pt x="2672645" y="3925398"/>
                </a:cubicBezTo>
                <a:cubicBezTo>
                  <a:pt x="2684186" y="3922215"/>
                  <a:pt x="2694135" y="3919031"/>
                  <a:pt x="2707267" y="3915449"/>
                </a:cubicBezTo>
                <a:cubicBezTo>
                  <a:pt x="2702492" y="3901521"/>
                  <a:pt x="2698512" y="3890378"/>
                  <a:pt x="2694135" y="3878440"/>
                </a:cubicBezTo>
                <a:close/>
                <a:moveTo>
                  <a:pt x="1749397" y="3877644"/>
                </a:moveTo>
                <a:cubicBezTo>
                  <a:pt x="1743428" y="3892766"/>
                  <a:pt x="1738652" y="3905500"/>
                  <a:pt x="1733081" y="3919827"/>
                </a:cubicBezTo>
                <a:cubicBezTo>
                  <a:pt x="1754172" y="3927388"/>
                  <a:pt x="1774468" y="3934949"/>
                  <a:pt x="1796355" y="3942908"/>
                </a:cubicBezTo>
                <a:cubicBezTo>
                  <a:pt x="1801528" y="3927786"/>
                  <a:pt x="1805906" y="3914654"/>
                  <a:pt x="1810681" y="3900327"/>
                </a:cubicBezTo>
                <a:cubicBezTo>
                  <a:pt x="1789590" y="3892368"/>
                  <a:pt x="1770488" y="3885603"/>
                  <a:pt x="1749397" y="3877644"/>
                </a:cubicBezTo>
                <a:close/>
                <a:moveTo>
                  <a:pt x="1241610" y="3876848"/>
                </a:moveTo>
                <a:cubicBezTo>
                  <a:pt x="1231263" y="3889981"/>
                  <a:pt x="1222110" y="3901521"/>
                  <a:pt x="1211366" y="3915449"/>
                </a:cubicBezTo>
                <a:cubicBezTo>
                  <a:pt x="1224896" y="3925398"/>
                  <a:pt x="1236437" y="3934153"/>
                  <a:pt x="1248773" y="3943306"/>
                </a:cubicBezTo>
                <a:cubicBezTo>
                  <a:pt x="1258722" y="3929378"/>
                  <a:pt x="1267477" y="3916643"/>
                  <a:pt x="1277028" y="3903511"/>
                </a:cubicBezTo>
                <a:cubicBezTo>
                  <a:pt x="1264293" y="3893960"/>
                  <a:pt x="1253549" y="3885603"/>
                  <a:pt x="1241610" y="3876848"/>
                </a:cubicBezTo>
                <a:close/>
                <a:moveTo>
                  <a:pt x="2872815" y="3870879"/>
                </a:moveTo>
                <a:cubicBezTo>
                  <a:pt x="2860877" y="3876052"/>
                  <a:pt x="2850530" y="3880828"/>
                  <a:pt x="2839387" y="3885603"/>
                </a:cubicBezTo>
                <a:cubicBezTo>
                  <a:pt x="2844561" y="3897940"/>
                  <a:pt x="2848938" y="3907888"/>
                  <a:pt x="2854111" y="3920225"/>
                </a:cubicBezTo>
                <a:cubicBezTo>
                  <a:pt x="2866846" y="3914255"/>
                  <a:pt x="2877192" y="3909480"/>
                  <a:pt x="2888335" y="3904307"/>
                </a:cubicBezTo>
                <a:cubicBezTo>
                  <a:pt x="2882764" y="3891970"/>
                  <a:pt x="2877988" y="3882021"/>
                  <a:pt x="2872815" y="3870879"/>
                </a:cubicBezTo>
                <a:close/>
                <a:moveTo>
                  <a:pt x="3182024" y="3868093"/>
                </a:moveTo>
                <a:cubicBezTo>
                  <a:pt x="3172871" y="3874460"/>
                  <a:pt x="3165310" y="3879634"/>
                  <a:pt x="3156953" y="3885603"/>
                </a:cubicBezTo>
                <a:cubicBezTo>
                  <a:pt x="3164116" y="3896348"/>
                  <a:pt x="3170483" y="3905899"/>
                  <a:pt x="3177248" y="3915847"/>
                </a:cubicBezTo>
                <a:cubicBezTo>
                  <a:pt x="3186799" y="3909082"/>
                  <a:pt x="3193962" y="3903909"/>
                  <a:pt x="3203115" y="3897541"/>
                </a:cubicBezTo>
                <a:cubicBezTo>
                  <a:pt x="3195156" y="3886399"/>
                  <a:pt x="3188789" y="3877644"/>
                  <a:pt x="3182024" y="3868093"/>
                </a:cubicBezTo>
                <a:close/>
                <a:moveTo>
                  <a:pt x="2734328" y="3865307"/>
                </a:moveTo>
                <a:cubicBezTo>
                  <a:pt x="2722389" y="3869685"/>
                  <a:pt x="2712838" y="3872869"/>
                  <a:pt x="2701696" y="3876848"/>
                </a:cubicBezTo>
                <a:cubicBezTo>
                  <a:pt x="2705675" y="3889185"/>
                  <a:pt x="2709257" y="3900327"/>
                  <a:pt x="2713236" y="3913062"/>
                </a:cubicBezTo>
                <a:cubicBezTo>
                  <a:pt x="2724777" y="3909082"/>
                  <a:pt x="2735124" y="3905500"/>
                  <a:pt x="2747460" y="3901521"/>
                </a:cubicBezTo>
                <a:cubicBezTo>
                  <a:pt x="2742287" y="3887991"/>
                  <a:pt x="2738307" y="3876848"/>
                  <a:pt x="2734328" y="3865307"/>
                </a:cubicBezTo>
                <a:close/>
                <a:moveTo>
                  <a:pt x="997268" y="3852573"/>
                </a:moveTo>
                <a:cubicBezTo>
                  <a:pt x="984533" y="3863716"/>
                  <a:pt x="972993" y="3873664"/>
                  <a:pt x="960258" y="3884807"/>
                </a:cubicBezTo>
                <a:cubicBezTo>
                  <a:pt x="973390" y="3897144"/>
                  <a:pt x="984533" y="3907888"/>
                  <a:pt x="996870" y="3919429"/>
                </a:cubicBezTo>
                <a:cubicBezTo>
                  <a:pt x="1008410" y="3907092"/>
                  <a:pt x="1018757" y="3896348"/>
                  <a:pt x="1030298" y="3883613"/>
                </a:cubicBezTo>
                <a:cubicBezTo>
                  <a:pt x="1017563" y="3871675"/>
                  <a:pt x="1006818" y="3861328"/>
                  <a:pt x="997268" y="3852573"/>
                </a:cubicBezTo>
                <a:close/>
                <a:moveTo>
                  <a:pt x="3121933" y="3850981"/>
                </a:moveTo>
                <a:cubicBezTo>
                  <a:pt x="3112382" y="3857348"/>
                  <a:pt x="3104821" y="3862124"/>
                  <a:pt x="3096862" y="3867695"/>
                </a:cubicBezTo>
                <a:cubicBezTo>
                  <a:pt x="3103627" y="3878440"/>
                  <a:pt x="3109199" y="3887593"/>
                  <a:pt x="3115964" y="3897940"/>
                </a:cubicBezTo>
                <a:cubicBezTo>
                  <a:pt x="3125117" y="3891970"/>
                  <a:pt x="3132678" y="3887195"/>
                  <a:pt x="3141433" y="3881623"/>
                </a:cubicBezTo>
                <a:cubicBezTo>
                  <a:pt x="3134667" y="3871675"/>
                  <a:pt x="3128698" y="3862124"/>
                  <a:pt x="3121933" y="3850981"/>
                </a:cubicBezTo>
                <a:close/>
                <a:moveTo>
                  <a:pt x="2772531" y="3850583"/>
                </a:moveTo>
                <a:cubicBezTo>
                  <a:pt x="2760593" y="3855359"/>
                  <a:pt x="2751042" y="3858940"/>
                  <a:pt x="2739899" y="3863318"/>
                </a:cubicBezTo>
                <a:cubicBezTo>
                  <a:pt x="2744675" y="3876052"/>
                  <a:pt x="2748654" y="3887195"/>
                  <a:pt x="2753032" y="3899531"/>
                </a:cubicBezTo>
                <a:cubicBezTo>
                  <a:pt x="2765368" y="3894756"/>
                  <a:pt x="2775317" y="3890776"/>
                  <a:pt x="2786459" y="3886399"/>
                </a:cubicBezTo>
                <a:cubicBezTo>
                  <a:pt x="2782082" y="3874062"/>
                  <a:pt x="2777704" y="3863318"/>
                  <a:pt x="2772531" y="3850583"/>
                </a:cubicBezTo>
                <a:close/>
                <a:moveTo>
                  <a:pt x="3039159" y="3848593"/>
                </a:moveTo>
                <a:cubicBezTo>
                  <a:pt x="3029608" y="3854563"/>
                  <a:pt x="3022047" y="3858940"/>
                  <a:pt x="3014088" y="3863318"/>
                </a:cubicBezTo>
                <a:cubicBezTo>
                  <a:pt x="3020853" y="3874858"/>
                  <a:pt x="3026027" y="3884409"/>
                  <a:pt x="3031996" y="3894358"/>
                </a:cubicBezTo>
                <a:cubicBezTo>
                  <a:pt x="3041149" y="3889185"/>
                  <a:pt x="3048312" y="3885205"/>
                  <a:pt x="3057863" y="3879634"/>
                </a:cubicBezTo>
                <a:cubicBezTo>
                  <a:pt x="3051097" y="3868491"/>
                  <a:pt x="3045526" y="3858940"/>
                  <a:pt x="3039159" y="3848593"/>
                </a:cubicBezTo>
                <a:close/>
                <a:moveTo>
                  <a:pt x="1093970" y="3846206"/>
                </a:moveTo>
                <a:cubicBezTo>
                  <a:pt x="1082827" y="3858542"/>
                  <a:pt x="1072481" y="3869685"/>
                  <a:pt x="1061338" y="3882419"/>
                </a:cubicBezTo>
                <a:cubicBezTo>
                  <a:pt x="1074072" y="3893164"/>
                  <a:pt x="1085215" y="3903113"/>
                  <a:pt x="1097551" y="3913858"/>
                </a:cubicBezTo>
                <a:cubicBezTo>
                  <a:pt x="1108694" y="3901123"/>
                  <a:pt x="1118643" y="3889185"/>
                  <a:pt x="1129388" y="3876848"/>
                </a:cubicBezTo>
                <a:cubicBezTo>
                  <a:pt x="1117051" y="3866103"/>
                  <a:pt x="1106306" y="3856552"/>
                  <a:pt x="1093970" y="3846206"/>
                </a:cubicBezTo>
                <a:close/>
                <a:moveTo>
                  <a:pt x="1662245" y="3840237"/>
                </a:moveTo>
                <a:cubicBezTo>
                  <a:pt x="1655480" y="3854165"/>
                  <a:pt x="1649511" y="3866899"/>
                  <a:pt x="1643144" y="3880828"/>
                </a:cubicBezTo>
                <a:cubicBezTo>
                  <a:pt x="1665429" y="3890776"/>
                  <a:pt x="1684929" y="3899133"/>
                  <a:pt x="1705224" y="3908286"/>
                </a:cubicBezTo>
                <a:cubicBezTo>
                  <a:pt x="1711193" y="3893562"/>
                  <a:pt x="1716367" y="3881623"/>
                  <a:pt x="1722336" y="3866899"/>
                </a:cubicBezTo>
                <a:cubicBezTo>
                  <a:pt x="1701643" y="3857746"/>
                  <a:pt x="1682541" y="3849389"/>
                  <a:pt x="1662245" y="3840237"/>
                </a:cubicBezTo>
                <a:close/>
                <a:moveTo>
                  <a:pt x="1190274" y="3836257"/>
                </a:moveTo>
                <a:cubicBezTo>
                  <a:pt x="1179530" y="3849389"/>
                  <a:pt x="1169581" y="3860930"/>
                  <a:pt x="1159234" y="3873664"/>
                </a:cubicBezTo>
                <a:cubicBezTo>
                  <a:pt x="1171969" y="3883613"/>
                  <a:pt x="1183509" y="3892766"/>
                  <a:pt x="1195448" y="3902317"/>
                </a:cubicBezTo>
                <a:cubicBezTo>
                  <a:pt x="1206192" y="3888787"/>
                  <a:pt x="1215345" y="3876848"/>
                  <a:pt x="1225692" y="3864114"/>
                </a:cubicBezTo>
                <a:cubicBezTo>
                  <a:pt x="1212958" y="3854165"/>
                  <a:pt x="1201815" y="3845410"/>
                  <a:pt x="1190274" y="3836257"/>
                </a:cubicBezTo>
                <a:close/>
                <a:moveTo>
                  <a:pt x="2810337" y="3835859"/>
                </a:moveTo>
                <a:cubicBezTo>
                  <a:pt x="2799194" y="3840237"/>
                  <a:pt x="2790041" y="3844216"/>
                  <a:pt x="2778500" y="3848992"/>
                </a:cubicBezTo>
                <a:cubicBezTo>
                  <a:pt x="2783674" y="3861726"/>
                  <a:pt x="2788051" y="3872471"/>
                  <a:pt x="2792827" y="3884807"/>
                </a:cubicBezTo>
                <a:cubicBezTo>
                  <a:pt x="2804367" y="3879634"/>
                  <a:pt x="2814714" y="3875256"/>
                  <a:pt x="2826255" y="3870481"/>
                </a:cubicBezTo>
                <a:cubicBezTo>
                  <a:pt x="2820683" y="3858144"/>
                  <a:pt x="2815908" y="3847002"/>
                  <a:pt x="2810337" y="3835859"/>
                </a:cubicBezTo>
                <a:close/>
                <a:moveTo>
                  <a:pt x="3191574" y="3828298"/>
                </a:moveTo>
                <a:cubicBezTo>
                  <a:pt x="3190779" y="3829492"/>
                  <a:pt x="3189585" y="3830686"/>
                  <a:pt x="3188789" y="3831879"/>
                </a:cubicBezTo>
                <a:cubicBezTo>
                  <a:pt x="3221421" y="3877246"/>
                  <a:pt x="3253655" y="3922613"/>
                  <a:pt x="3287481" y="3969571"/>
                </a:cubicBezTo>
                <a:cubicBezTo>
                  <a:pt x="3306185" y="3955643"/>
                  <a:pt x="3323297" y="3942908"/>
                  <a:pt x="3340806" y="3929378"/>
                </a:cubicBezTo>
                <a:cubicBezTo>
                  <a:pt x="3318521" y="3895154"/>
                  <a:pt x="3297032" y="3863716"/>
                  <a:pt x="3254053" y="3854961"/>
                </a:cubicBezTo>
                <a:cubicBezTo>
                  <a:pt x="3236941" y="3851777"/>
                  <a:pt x="3221421" y="3841032"/>
                  <a:pt x="3205105" y="3833471"/>
                </a:cubicBezTo>
                <a:cubicBezTo>
                  <a:pt x="3200728" y="3831482"/>
                  <a:pt x="3195952" y="3829890"/>
                  <a:pt x="3191574" y="3828298"/>
                </a:cubicBezTo>
                <a:close/>
                <a:moveTo>
                  <a:pt x="1284987" y="3820737"/>
                </a:moveTo>
                <a:cubicBezTo>
                  <a:pt x="1274242" y="3834665"/>
                  <a:pt x="1265089" y="3846206"/>
                  <a:pt x="1255140" y="3859338"/>
                </a:cubicBezTo>
                <a:cubicBezTo>
                  <a:pt x="1267875" y="3868491"/>
                  <a:pt x="1279018" y="3876848"/>
                  <a:pt x="1290956" y="3885603"/>
                </a:cubicBezTo>
                <a:cubicBezTo>
                  <a:pt x="1300905" y="3872073"/>
                  <a:pt x="1309660" y="3860134"/>
                  <a:pt x="1319609" y="3846604"/>
                </a:cubicBezTo>
                <a:cubicBezTo>
                  <a:pt x="1307272" y="3837451"/>
                  <a:pt x="1296527" y="3829492"/>
                  <a:pt x="1284987" y="3820737"/>
                </a:cubicBezTo>
                <a:close/>
                <a:moveTo>
                  <a:pt x="2848938" y="3818747"/>
                </a:moveTo>
                <a:cubicBezTo>
                  <a:pt x="2837795" y="3823522"/>
                  <a:pt x="2827847" y="3827900"/>
                  <a:pt x="2816704" y="3833073"/>
                </a:cubicBezTo>
                <a:cubicBezTo>
                  <a:pt x="2822275" y="3845410"/>
                  <a:pt x="2827051" y="3856155"/>
                  <a:pt x="2832224" y="3868491"/>
                </a:cubicBezTo>
                <a:cubicBezTo>
                  <a:pt x="2843367" y="3863716"/>
                  <a:pt x="2853315" y="3858940"/>
                  <a:pt x="2864856" y="3853369"/>
                </a:cubicBezTo>
                <a:cubicBezTo>
                  <a:pt x="2859285" y="3841430"/>
                  <a:pt x="2854509" y="3831084"/>
                  <a:pt x="2848938" y="3818747"/>
                </a:cubicBezTo>
                <a:close/>
                <a:moveTo>
                  <a:pt x="1048205" y="3802829"/>
                </a:moveTo>
                <a:cubicBezTo>
                  <a:pt x="1034675" y="3813972"/>
                  <a:pt x="1023134" y="3823522"/>
                  <a:pt x="1010400" y="3834665"/>
                </a:cubicBezTo>
                <a:cubicBezTo>
                  <a:pt x="1022737" y="3845808"/>
                  <a:pt x="1033481" y="3856155"/>
                  <a:pt x="1045420" y="3867695"/>
                </a:cubicBezTo>
                <a:cubicBezTo>
                  <a:pt x="1056960" y="3854961"/>
                  <a:pt x="1067307" y="3843818"/>
                  <a:pt x="1078450" y="3831482"/>
                </a:cubicBezTo>
                <a:cubicBezTo>
                  <a:pt x="1066113" y="3819941"/>
                  <a:pt x="1055766" y="3809992"/>
                  <a:pt x="1048205" y="3802829"/>
                </a:cubicBezTo>
                <a:close/>
                <a:moveTo>
                  <a:pt x="3237339" y="3794870"/>
                </a:moveTo>
                <a:cubicBezTo>
                  <a:pt x="3227390" y="3802431"/>
                  <a:pt x="3219033" y="3808798"/>
                  <a:pt x="3208289" y="3817553"/>
                </a:cubicBezTo>
                <a:cubicBezTo>
                  <a:pt x="3230972" y="3827502"/>
                  <a:pt x="3250472" y="3835859"/>
                  <a:pt x="3269573" y="3844216"/>
                </a:cubicBezTo>
                <a:cubicBezTo>
                  <a:pt x="3270767" y="3843420"/>
                  <a:pt x="3271961" y="3842226"/>
                  <a:pt x="3273155" y="3841032"/>
                </a:cubicBezTo>
                <a:cubicBezTo>
                  <a:pt x="3261614" y="3825910"/>
                  <a:pt x="3250073" y="3811186"/>
                  <a:pt x="3237339" y="3794870"/>
                </a:cubicBezTo>
                <a:close/>
                <a:moveTo>
                  <a:pt x="1141326" y="3792880"/>
                </a:moveTo>
                <a:cubicBezTo>
                  <a:pt x="1129786" y="3805615"/>
                  <a:pt x="1119837" y="3816757"/>
                  <a:pt x="1108694" y="3829492"/>
                </a:cubicBezTo>
                <a:cubicBezTo>
                  <a:pt x="1121031" y="3839838"/>
                  <a:pt x="1132173" y="3849389"/>
                  <a:pt x="1143714" y="3859736"/>
                </a:cubicBezTo>
                <a:cubicBezTo>
                  <a:pt x="1154857" y="3846604"/>
                  <a:pt x="1164805" y="3835461"/>
                  <a:pt x="1175550" y="3822727"/>
                </a:cubicBezTo>
                <a:cubicBezTo>
                  <a:pt x="1164009" y="3812778"/>
                  <a:pt x="1154061" y="3804023"/>
                  <a:pt x="1141326" y="3792880"/>
                </a:cubicBezTo>
                <a:close/>
                <a:moveTo>
                  <a:pt x="3128698" y="3790890"/>
                </a:moveTo>
                <a:cubicBezTo>
                  <a:pt x="3119943" y="3797258"/>
                  <a:pt x="3112780" y="3802431"/>
                  <a:pt x="3105219" y="3808002"/>
                </a:cubicBezTo>
                <a:cubicBezTo>
                  <a:pt x="3112780" y="3819145"/>
                  <a:pt x="3119147" y="3827900"/>
                  <a:pt x="3125515" y="3837451"/>
                </a:cubicBezTo>
                <a:cubicBezTo>
                  <a:pt x="3134667" y="3831084"/>
                  <a:pt x="3141830" y="3826308"/>
                  <a:pt x="3150188" y="3820737"/>
                </a:cubicBezTo>
                <a:cubicBezTo>
                  <a:pt x="3142626" y="3810390"/>
                  <a:pt x="3135861" y="3800839"/>
                  <a:pt x="3128698" y="3790890"/>
                </a:cubicBezTo>
                <a:close/>
                <a:moveTo>
                  <a:pt x="1236437" y="3781340"/>
                </a:moveTo>
                <a:cubicBezTo>
                  <a:pt x="1225692" y="3794472"/>
                  <a:pt x="1216141" y="3806411"/>
                  <a:pt x="1205396" y="3819145"/>
                </a:cubicBezTo>
                <a:cubicBezTo>
                  <a:pt x="1216937" y="3829094"/>
                  <a:pt x="1227284" y="3837053"/>
                  <a:pt x="1239620" y="3847002"/>
                </a:cubicBezTo>
                <a:cubicBezTo>
                  <a:pt x="1250365" y="3833471"/>
                  <a:pt x="1259518" y="3821931"/>
                  <a:pt x="1269865" y="3808798"/>
                </a:cubicBezTo>
                <a:cubicBezTo>
                  <a:pt x="1258722" y="3799645"/>
                  <a:pt x="1247977" y="3790890"/>
                  <a:pt x="1236437" y="3781340"/>
                </a:cubicBezTo>
                <a:close/>
                <a:moveTo>
                  <a:pt x="2919376" y="3776166"/>
                </a:moveTo>
                <a:cubicBezTo>
                  <a:pt x="2902661" y="3784921"/>
                  <a:pt x="2887937" y="3792482"/>
                  <a:pt x="2872019" y="3800839"/>
                </a:cubicBezTo>
                <a:cubicBezTo>
                  <a:pt x="2888335" y="3834665"/>
                  <a:pt x="2903855" y="3867297"/>
                  <a:pt x="2920171" y="3901123"/>
                </a:cubicBezTo>
                <a:cubicBezTo>
                  <a:pt x="2938079" y="3891970"/>
                  <a:pt x="2954395" y="3883613"/>
                  <a:pt x="2971507" y="3874858"/>
                </a:cubicBezTo>
                <a:cubicBezTo>
                  <a:pt x="2953599" y="3841032"/>
                  <a:pt x="2936885" y="3808798"/>
                  <a:pt x="2919376" y="3776166"/>
                </a:cubicBezTo>
                <a:close/>
                <a:moveTo>
                  <a:pt x="3070199" y="3772983"/>
                </a:moveTo>
                <a:cubicBezTo>
                  <a:pt x="3061444" y="3778952"/>
                  <a:pt x="3054679" y="3783329"/>
                  <a:pt x="3046720" y="3788503"/>
                </a:cubicBezTo>
                <a:cubicBezTo>
                  <a:pt x="3053485" y="3798849"/>
                  <a:pt x="3059057" y="3808400"/>
                  <a:pt x="3065822" y="3819145"/>
                </a:cubicBezTo>
                <a:cubicBezTo>
                  <a:pt x="3074577" y="3813176"/>
                  <a:pt x="3082138" y="3808400"/>
                  <a:pt x="3090097" y="3803227"/>
                </a:cubicBezTo>
                <a:cubicBezTo>
                  <a:pt x="3082934" y="3792482"/>
                  <a:pt x="3076964" y="3783329"/>
                  <a:pt x="3070199" y="3772983"/>
                </a:cubicBezTo>
                <a:close/>
                <a:moveTo>
                  <a:pt x="1328364" y="3764626"/>
                </a:moveTo>
                <a:cubicBezTo>
                  <a:pt x="1317619" y="3778554"/>
                  <a:pt x="1308466" y="3790094"/>
                  <a:pt x="1298517" y="3803227"/>
                </a:cubicBezTo>
                <a:cubicBezTo>
                  <a:pt x="1310456" y="3812380"/>
                  <a:pt x="1321200" y="3820339"/>
                  <a:pt x="1332741" y="3828696"/>
                </a:cubicBezTo>
                <a:cubicBezTo>
                  <a:pt x="1343088" y="3814767"/>
                  <a:pt x="1351843" y="3802431"/>
                  <a:pt x="1360996" y="3789697"/>
                </a:cubicBezTo>
                <a:cubicBezTo>
                  <a:pt x="1349853" y="3780942"/>
                  <a:pt x="1339904" y="3773381"/>
                  <a:pt x="1328364" y="3764626"/>
                </a:cubicBezTo>
                <a:close/>
                <a:moveTo>
                  <a:pt x="3011302" y="3758656"/>
                </a:moveTo>
                <a:cubicBezTo>
                  <a:pt x="3002945" y="3763830"/>
                  <a:pt x="2996180" y="3767809"/>
                  <a:pt x="2987823" y="3772983"/>
                </a:cubicBezTo>
                <a:cubicBezTo>
                  <a:pt x="2994986" y="3784921"/>
                  <a:pt x="3000956" y="3794074"/>
                  <a:pt x="3006925" y="3804023"/>
                </a:cubicBezTo>
                <a:cubicBezTo>
                  <a:pt x="3015680" y="3798452"/>
                  <a:pt x="3022843" y="3794074"/>
                  <a:pt x="3030404" y="3789299"/>
                </a:cubicBezTo>
                <a:cubicBezTo>
                  <a:pt x="3023241" y="3778156"/>
                  <a:pt x="3017670" y="3769003"/>
                  <a:pt x="3011302" y="3758656"/>
                </a:cubicBezTo>
                <a:close/>
                <a:moveTo>
                  <a:pt x="3476508" y="3754279"/>
                </a:moveTo>
                <a:cubicBezTo>
                  <a:pt x="3466559" y="3763830"/>
                  <a:pt x="3456611" y="3772983"/>
                  <a:pt x="3445468" y="3783727"/>
                </a:cubicBezTo>
                <a:cubicBezTo>
                  <a:pt x="3453427" y="3791686"/>
                  <a:pt x="3460590" y="3798849"/>
                  <a:pt x="3469345" y="3807604"/>
                </a:cubicBezTo>
                <a:cubicBezTo>
                  <a:pt x="3479692" y="3795666"/>
                  <a:pt x="3488845" y="3785717"/>
                  <a:pt x="3497202" y="3776166"/>
                </a:cubicBezTo>
                <a:cubicBezTo>
                  <a:pt x="3490437" y="3769003"/>
                  <a:pt x="3482875" y="3761044"/>
                  <a:pt x="3476508" y="3754279"/>
                </a:cubicBezTo>
                <a:close/>
                <a:moveTo>
                  <a:pt x="1097153" y="3751891"/>
                </a:moveTo>
                <a:cubicBezTo>
                  <a:pt x="1084419" y="3763034"/>
                  <a:pt x="1073276" y="3773381"/>
                  <a:pt x="1060542" y="3784523"/>
                </a:cubicBezTo>
                <a:cubicBezTo>
                  <a:pt x="1071685" y="3794870"/>
                  <a:pt x="1082429" y="3804819"/>
                  <a:pt x="1093572" y="3815563"/>
                </a:cubicBezTo>
                <a:cubicBezTo>
                  <a:pt x="1105113" y="3803227"/>
                  <a:pt x="1114663" y="3792482"/>
                  <a:pt x="1126602" y="3779748"/>
                </a:cubicBezTo>
                <a:cubicBezTo>
                  <a:pt x="1115061" y="3768605"/>
                  <a:pt x="1104715" y="3759054"/>
                  <a:pt x="1097153" y="3751891"/>
                </a:cubicBezTo>
                <a:close/>
                <a:moveTo>
                  <a:pt x="3299420" y="3746718"/>
                </a:moveTo>
                <a:cubicBezTo>
                  <a:pt x="3287879" y="3756269"/>
                  <a:pt x="3278328" y="3764228"/>
                  <a:pt x="3268777" y="3772585"/>
                </a:cubicBezTo>
                <a:cubicBezTo>
                  <a:pt x="3277134" y="3782931"/>
                  <a:pt x="3283899" y="3791288"/>
                  <a:pt x="3293052" y="3802033"/>
                </a:cubicBezTo>
                <a:cubicBezTo>
                  <a:pt x="3304593" y="3792084"/>
                  <a:pt x="3314144" y="3783727"/>
                  <a:pt x="3324093" y="3774972"/>
                </a:cubicBezTo>
                <a:cubicBezTo>
                  <a:pt x="3314940" y="3764228"/>
                  <a:pt x="3307379" y="3755871"/>
                  <a:pt x="3299420" y="3746718"/>
                </a:cubicBezTo>
                <a:close/>
                <a:moveTo>
                  <a:pt x="1189478" y="3740350"/>
                </a:moveTo>
                <a:cubicBezTo>
                  <a:pt x="1178336" y="3752687"/>
                  <a:pt x="1168387" y="3763830"/>
                  <a:pt x="1156448" y="3776962"/>
                </a:cubicBezTo>
                <a:cubicBezTo>
                  <a:pt x="1169183" y="3787707"/>
                  <a:pt x="1179530" y="3796462"/>
                  <a:pt x="1190672" y="3805615"/>
                </a:cubicBezTo>
                <a:cubicBezTo>
                  <a:pt x="1202213" y="3792084"/>
                  <a:pt x="1211366" y="3780942"/>
                  <a:pt x="1221713" y="3769003"/>
                </a:cubicBezTo>
                <a:cubicBezTo>
                  <a:pt x="1210570" y="3759054"/>
                  <a:pt x="1200621" y="3750299"/>
                  <a:pt x="1189478" y="3740350"/>
                </a:cubicBezTo>
                <a:close/>
                <a:moveTo>
                  <a:pt x="1281405" y="3727218"/>
                </a:moveTo>
                <a:cubicBezTo>
                  <a:pt x="1270263" y="3740749"/>
                  <a:pt x="1260712" y="3752289"/>
                  <a:pt x="1250365" y="3765024"/>
                </a:cubicBezTo>
                <a:cubicBezTo>
                  <a:pt x="1261906" y="3774176"/>
                  <a:pt x="1271854" y="3782135"/>
                  <a:pt x="1283395" y="3791686"/>
                </a:cubicBezTo>
                <a:cubicBezTo>
                  <a:pt x="1293742" y="3778554"/>
                  <a:pt x="1303293" y="3767013"/>
                  <a:pt x="1313639" y="3753085"/>
                </a:cubicBezTo>
                <a:cubicBezTo>
                  <a:pt x="1302099" y="3743932"/>
                  <a:pt x="1292150" y="3735575"/>
                  <a:pt x="1281405" y="3727218"/>
                </a:cubicBezTo>
                <a:close/>
                <a:moveTo>
                  <a:pt x="3161728" y="3709708"/>
                </a:moveTo>
                <a:cubicBezTo>
                  <a:pt x="3147800" y="3720055"/>
                  <a:pt x="3135463" y="3729606"/>
                  <a:pt x="3119147" y="3741942"/>
                </a:cubicBezTo>
                <a:cubicBezTo>
                  <a:pt x="3143025" y="3765819"/>
                  <a:pt x="3164912" y="3787707"/>
                  <a:pt x="3187197" y="3809594"/>
                </a:cubicBezTo>
                <a:cubicBezTo>
                  <a:pt x="3200728" y="3799645"/>
                  <a:pt x="3209482" y="3792880"/>
                  <a:pt x="3219829" y="3784921"/>
                </a:cubicBezTo>
                <a:cubicBezTo>
                  <a:pt x="3200329" y="3759850"/>
                  <a:pt x="3181626" y="3735177"/>
                  <a:pt x="3161728" y="3709708"/>
                </a:cubicBezTo>
                <a:close/>
                <a:moveTo>
                  <a:pt x="3433529" y="3708116"/>
                </a:moveTo>
                <a:cubicBezTo>
                  <a:pt x="3423581" y="3719657"/>
                  <a:pt x="3415224" y="3729208"/>
                  <a:pt x="3405673" y="3739953"/>
                </a:cubicBezTo>
                <a:cubicBezTo>
                  <a:pt x="3413234" y="3747912"/>
                  <a:pt x="3421193" y="3756269"/>
                  <a:pt x="3428356" y="3763830"/>
                </a:cubicBezTo>
                <a:cubicBezTo>
                  <a:pt x="3439897" y="3753483"/>
                  <a:pt x="3449845" y="3744330"/>
                  <a:pt x="3460192" y="3734779"/>
                </a:cubicBezTo>
                <a:cubicBezTo>
                  <a:pt x="3451437" y="3726024"/>
                  <a:pt x="3443876" y="3718463"/>
                  <a:pt x="3433529" y="3708116"/>
                </a:cubicBezTo>
                <a:close/>
                <a:moveTo>
                  <a:pt x="3263206" y="3704535"/>
                </a:moveTo>
                <a:cubicBezTo>
                  <a:pt x="3252859" y="3712892"/>
                  <a:pt x="3243706" y="3720851"/>
                  <a:pt x="3233359" y="3729208"/>
                </a:cubicBezTo>
                <a:cubicBezTo>
                  <a:pt x="3240523" y="3738361"/>
                  <a:pt x="3247288" y="3745922"/>
                  <a:pt x="3254849" y="3754677"/>
                </a:cubicBezTo>
                <a:cubicBezTo>
                  <a:pt x="3265594" y="3745524"/>
                  <a:pt x="3274747" y="3737565"/>
                  <a:pt x="3284695" y="3729208"/>
                </a:cubicBezTo>
                <a:cubicBezTo>
                  <a:pt x="3276736" y="3720453"/>
                  <a:pt x="3270369" y="3712892"/>
                  <a:pt x="3263206" y="3704535"/>
                </a:cubicBezTo>
                <a:close/>
                <a:moveTo>
                  <a:pt x="1146500" y="3700555"/>
                </a:moveTo>
                <a:cubicBezTo>
                  <a:pt x="1133765" y="3711698"/>
                  <a:pt x="1122225" y="3721647"/>
                  <a:pt x="1109888" y="3732789"/>
                </a:cubicBezTo>
                <a:cubicBezTo>
                  <a:pt x="1121429" y="3743534"/>
                  <a:pt x="1131377" y="3753085"/>
                  <a:pt x="1142520" y="3763432"/>
                </a:cubicBezTo>
                <a:cubicBezTo>
                  <a:pt x="1153663" y="3750697"/>
                  <a:pt x="1164009" y="3739157"/>
                  <a:pt x="1171571" y="3731198"/>
                </a:cubicBezTo>
                <a:cubicBezTo>
                  <a:pt x="1161622" y="3719259"/>
                  <a:pt x="1153663" y="3709310"/>
                  <a:pt x="1146500" y="3700555"/>
                </a:cubicBezTo>
                <a:close/>
                <a:moveTo>
                  <a:pt x="1236835" y="3687821"/>
                </a:moveTo>
                <a:cubicBezTo>
                  <a:pt x="1226090" y="3700157"/>
                  <a:pt x="1215743" y="3711698"/>
                  <a:pt x="1204600" y="3724432"/>
                </a:cubicBezTo>
                <a:cubicBezTo>
                  <a:pt x="1215743" y="3734381"/>
                  <a:pt x="1225692" y="3742738"/>
                  <a:pt x="1236437" y="3752289"/>
                </a:cubicBezTo>
                <a:cubicBezTo>
                  <a:pt x="1247579" y="3739157"/>
                  <a:pt x="1257528" y="3727218"/>
                  <a:pt x="1267875" y="3714882"/>
                </a:cubicBezTo>
                <a:cubicBezTo>
                  <a:pt x="1256732" y="3705331"/>
                  <a:pt x="1247579" y="3696974"/>
                  <a:pt x="1236835" y="3687821"/>
                </a:cubicBezTo>
                <a:close/>
                <a:moveTo>
                  <a:pt x="3141433" y="3683045"/>
                </a:moveTo>
                <a:cubicBezTo>
                  <a:pt x="3126708" y="3679066"/>
                  <a:pt x="3119545" y="3694586"/>
                  <a:pt x="3108801" y="3700157"/>
                </a:cubicBezTo>
                <a:cubicBezTo>
                  <a:pt x="3105219" y="3702147"/>
                  <a:pt x="3104025" y="3708116"/>
                  <a:pt x="3102035" y="3712096"/>
                </a:cubicBezTo>
                <a:cubicBezTo>
                  <a:pt x="3104025" y="3713290"/>
                  <a:pt x="3105617" y="3714484"/>
                  <a:pt x="3107607" y="3715678"/>
                </a:cubicBezTo>
                <a:cubicBezTo>
                  <a:pt x="3119147" y="3706923"/>
                  <a:pt x="3131086" y="3698168"/>
                  <a:pt x="3143025" y="3689413"/>
                </a:cubicBezTo>
                <a:cubicBezTo>
                  <a:pt x="3142626" y="3687423"/>
                  <a:pt x="3141830" y="3685035"/>
                  <a:pt x="3141433" y="3683045"/>
                </a:cubicBezTo>
                <a:close/>
                <a:moveTo>
                  <a:pt x="1195050" y="3647628"/>
                </a:moveTo>
                <a:cubicBezTo>
                  <a:pt x="1182315" y="3659964"/>
                  <a:pt x="1171173" y="3669913"/>
                  <a:pt x="1158438" y="3681852"/>
                </a:cubicBezTo>
                <a:cubicBezTo>
                  <a:pt x="1169581" y="3692198"/>
                  <a:pt x="1179530" y="3701351"/>
                  <a:pt x="1190274" y="3711300"/>
                </a:cubicBezTo>
                <a:cubicBezTo>
                  <a:pt x="1201815" y="3698964"/>
                  <a:pt x="1211366" y="3688617"/>
                  <a:pt x="1222110" y="3677076"/>
                </a:cubicBezTo>
                <a:cubicBezTo>
                  <a:pt x="1212560" y="3666729"/>
                  <a:pt x="1203407" y="3656781"/>
                  <a:pt x="1195050" y="3647628"/>
                </a:cubicBezTo>
                <a:close/>
                <a:moveTo>
                  <a:pt x="3344786" y="3613006"/>
                </a:moveTo>
                <a:cubicBezTo>
                  <a:pt x="3334837" y="3622159"/>
                  <a:pt x="3325684" y="3630516"/>
                  <a:pt x="3318123" y="3637679"/>
                </a:cubicBezTo>
                <a:cubicBezTo>
                  <a:pt x="3326480" y="3647230"/>
                  <a:pt x="3334837" y="3655985"/>
                  <a:pt x="3343990" y="3666331"/>
                </a:cubicBezTo>
                <a:cubicBezTo>
                  <a:pt x="3352745" y="3657179"/>
                  <a:pt x="3361102" y="3649220"/>
                  <a:pt x="3369857" y="3640067"/>
                </a:cubicBezTo>
                <a:cubicBezTo>
                  <a:pt x="3359908" y="3629720"/>
                  <a:pt x="3351949" y="3620965"/>
                  <a:pt x="3344786" y="3613006"/>
                </a:cubicBezTo>
                <a:close/>
                <a:moveTo>
                  <a:pt x="947922" y="3587537"/>
                </a:moveTo>
                <a:cubicBezTo>
                  <a:pt x="935983" y="3597088"/>
                  <a:pt x="926034" y="3605047"/>
                  <a:pt x="915289" y="3613802"/>
                </a:cubicBezTo>
                <a:cubicBezTo>
                  <a:pt x="924044" y="3624944"/>
                  <a:pt x="931605" y="3634097"/>
                  <a:pt x="939962" y="3644444"/>
                </a:cubicBezTo>
                <a:cubicBezTo>
                  <a:pt x="950707" y="3635291"/>
                  <a:pt x="960656" y="3626934"/>
                  <a:pt x="972197" y="3617781"/>
                </a:cubicBezTo>
                <a:cubicBezTo>
                  <a:pt x="963840" y="3607435"/>
                  <a:pt x="956676" y="3598282"/>
                  <a:pt x="947922" y="3587537"/>
                </a:cubicBezTo>
                <a:close/>
                <a:moveTo>
                  <a:pt x="3303797" y="3572017"/>
                </a:moveTo>
                <a:cubicBezTo>
                  <a:pt x="3294246" y="3581568"/>
                  <a:pt x="3286287" y="3589527"/>
                  <a:pt x="3277532" y="3598282"/>
                </a:cubicBezTo>
                <a:cubicBezTo>
                  <a:pt x="3285491" y="3606639"/>
                  <a:pt x="3291858" y="3613802"/>
                  <a:pt x="3299021" y="3620965"/>
                </a:cubicBezTo>
                <a:cubicBezTo>
                  <a:pt x="3308572" y="3612210"/>
                  <a:pt x="3316929" y="3603853"/>
                  <a:pt x="3325286" y="3595496"/>
                </a:cubicBezTo>
                <a:cubicBezTo>
                  <a:pt x="3318123" y="3587935"/>
                  <a:pt x="3312154" y="3581170"/>
                  <a:pt x="3303797" y="3572017"/>
                </a:cubicBezTo>
                <a:close/>
                <a:moveTo>
                  <a:pt x="951901" y="3509538"/>
                </a:moveTo>
                <a:cubicBezTo>
                  <a:pt x="939565" y="3518691"/>
                  <a:pt x="929218" y="3526650"/>
                  <a:pt x="918075" y="3535007"/>
                </a:cubicBezTo>
                <a:cubicBezTo>
                  <a:pt x="926432" y="3545752"/>
                  <a:pt x="933197" y="3554905"/>
                  <a:pt x="941156" y="3565252"/>
                </a:cubicBezTo>
                <a:cubicBezTo>
                  <a:pt x="952697" y="3556099"/>
                  <a:pt x="963044" y="3547742"/>
                  <a:pt x="974186" y="3539385"/>
                </a:cubicBezTo>
                <a:cubicBezTo>
                  <a:pt x="966625" y="3529436"/>
                  <a:pt x="960258" y="3520681"/>
                  <a:pt x="951901" y="3509538"/>
                </a:cubicBezTo>
                <a:close/>
                <a:moveTo>
                  <a:pt x="1078848" y="3484070"/>
                </a:moveTo>
                <a:cubicBezTo>
                  <a:pt x="1067705" y="3493222"/>
                  <a:pt x="1057358" y="3501181"/>
                  <a:pt x="1046216" y="3510334"/>
                </a:cubicBezTo>
                <a:cubicBezTo>
                  <a:pt x="1053777" y="3519885"/>
                  <a:pt x="1060542" y="3528640"/>
                  <a:pt x="1068501" y="3538191"/>
                </a:cubicBezTo>
                <a:cubicBezTo>
                  <a:pt x="1079644" y="3528640"/>
                  <a:pt x="1089990" y="3519885"/>
                  <a:pt x="1100337" y="3510732"/>
                </a:cubicBezTo>
                <a:cubicBezTo>
                  <a:pt x="1092776" y="3500784"/>
                  <a:pt x="1086011" y="3492825"/>
                  <a:pt x="1078848" y="3484070"/>
                </a:cubicBezTo>
                <a:close/>
                <a:moveTo>
                  <a:pt x="1236437" y="3478896"/>
                </a:moveTo>
                <a:cubicBezTo>
                  <a:pt x="1234447" y="3481284"/>
                  <a:pt x="1232457" y="3483274"/>
                  <a:pt x="1230467" y="3485263"/>
                </a:cubicBezTo>
                <a:cubicBezTo>
                  <a:pt x="1243202" y="3498794"/>
                  <a:pt x="1255936" y="3511926"/>
                  <a:pt x="1268671" y="3525456"/>
                </a:cubicBezTo>
                <a:cubicBezTo>
                  <a:pt x="1271059" y="3523069"/>
                  <a:pt x="1273446" y="3520681"/>
                  <a:pt x="1275436" y="3518293"/>
                </a:cubicBezTo>
                <a:cubicBezTo>
                  <a:pt x="1262304" y="3505161"/>
                  <a:pt x="1249569" y="3492029"/>
                  <a:pt x="1236437" y="3478896"/>
                </a:cubicBezTo>
                <a:close/>
                <a:moveTo>
                  <a:pt x="957074" y="3412836"/>
                </a:moveTo>
                <a:cubicBezTo>
                  <a:pt x="944340" y="3421591"/>
                  <a:pt x="933993" y="3428754"/>
                  <a:pt x="922453" y="3436713"/>
                </a:cubicBezTo>
                <a:cubicBezTo>
                  <a:pt x="930014" y="3447856"/>
                  <a:pt x="935983" y="3456611"/>
                  <a:pt x="943146" y="3466958"/>
                </a:cubicBezTo>
                <a:cubicBezTo>
                  <a:pt x="954687" y="3458601"/>
                  <a:pt x="965431" y="3451040"/>
                  <a:pt x="977370" y="3442682"/>
                </a:cubicBezTo>
                <a:cubicBezTo>
                  <a:pt x="970605" y="3432734"/>
                  <a:pt x="964636" y="3423979"/>
                  <a:pt x="957074" y="3412836"/>
                </a:cubicBezTo>
                <a:close/>
                <a:moveTo>
                  <a:pt x="3465366" y="3410050"/>
                </a:moveTo>
                <a:cubicBezTo>
                  <a:pt x="3430744" y="3452233"/>
                  <a:pt x="3397316" y="3493222"/>
                  <a:pt x="3363092" y="3535405"/>
                </a:cubicBezTo>
                <a:cubicBezTo>
                  <a:pt x="3341205" y="3515906"/>
                  <a:pt x="3320909" y="3498396"/>
                  <a:pt x="3300613" y="3480090"/>
                </a:cubicBezTo>
                <a:cubicBezTo>
                  <a:pt x="3292654" y="3488447"/>
                  <a:pt x="3286685" y="3495610"/>
                  <a:pt x="3278726" y="3503967"/>
                </a:cubicBezTo>
                <a:cubicBezTo>
                  <a:pt x="3393336" y="3612608"/>
                  <a:pt x="3505956" y="3720055"/>
                  <a:pt x="3619373" y="3826706"/>
                </a:cubicBezTo>
                <a:cubicBezTo>
                  <a:pt x="3623352" y="3830288"/>
                  <a:pt x="3633301" y="3831084"/>
                  <a:pt x="3638475" y="3829094"/>
                </a:cubicBezTo>
                <a:cubicBezTo>
                  <a:pt x="3659566" y="3820339"/>
                  <a:pt x="3680260" y="3809992"/>
                  <a:pt x="3701351" y="3800043"/>
                </a:cubicBezTo>
                <a:cubicBezTo>
                  <a:pt x="3700157" y="3798849"/>
                  <a:pt x="3698565" y="3797258"/>
                  <a:pt x="3697372" y="3796064"/>
                </a:cubicBezTo>
                <a:cubicBezTo>
                  <a:pt x="3700555" y="3788901"/>
                  <a:pt x="3702545" y="3781340"/>
                  <a:pt x="3706922" y="3775370"/>
                </a:cubicBezTo>
                <a:cubicBezTo>
                  <a:pt x="3731993" y="3743136"/>
                  <a:pt x="3758258" y="3711698"/>
                  <a:pt x="3785319" y="3678270"/>
                </a:cubicBezTo>
                <a:cubicBezTo>
                  <a:pt x="3778952" y="3674291"/>
                  <a:pt x="3774176" y="3671505"/>
                  <a:pt x="3769799" y="3668719"/>
                </a:cubicBezTo>
                <a:cubicBezTo>
                  <a:pt x="3738758" y="3707320"/>
                  <a:pt x="3708514" y="3743932"/>
                  <a:pt x="3677474" y="3782135"/>
                </a:cubicBezTo>
                <a:cubicBezTo>
                  <a:pt x="3655984" y="3762636"/>
                  <a:pt x="3635689" y="3745126"/>
                  <a:pt x="3615393" y="3727218"/>
                </a:cubicBezTo>
                <a:cubicBezTo>
                  <a:pt x="3644842" y="3691402"/>
                  <a:pt x="3673096" y="3656383"/>
                  <a:pt x="3700555" y="3622159"/>
                </a:cubicBezTo>
                <a:cubicBezTo>
                  <a:pt x="3691402" y="3609026"/>
                  <a:pt x="3686229" y="3613006"/>
                  <a:pt x="3679464" y="3621363"/>
                </a:cubicBezTo>
                <a:cubicBezTo>
                  <a:pt x="3653199" y="3654791"/>
                  <a:pt x="3626138" y="3687423"/>
                  <a:pt x="3598679" y="3721647"/>
                </a:cubicBezTo>
                <a:cubicBezTo>
                  <a:pt x="3575996" y="3701749"/>
                  <a:pt x="3555700" y="3683443"/>
                  <a:pt x="3534211" y="3664740"/>
                </a:cubicBezTo>
                <a:cubicBezTo>
                  <a:pt x="3539782" y="3657576"/>
                  <a:pt x="3544558" y="3652005"/>
                  <a:pt x="3548936" y="3646434"/>
                </a:cubicBezTo>
                <a:cubicBezTo>
                  <a:pt x="3570823" y="3619771"/>
                  <a:pt x="3592710" y="3593108"/>
                  <a:pt x="3613802" y="3566048"/>
                </a:cubicBezTo>
                <a:cubicBezTo>
                  <a:pt x="3616985" y="3562068"/>
                  <a:pt x="3615791" y="3555303"/>
                  <a:pt x="3616587" y="3549732"/>
                </a:cubicBezTo>
                <a:cubicBezTo>
                  <a:pt x="3614598" y="3549732"/>
                  <a:pt x="3612608" y="3549333"/>
                  <a:pt x="3610618" y="3548936"/>
                </a:cubicBezTo>
                <a:cubicBezTo>
                  <a:pt x="3580374" y="3585547"/>
                  <a:pt x="3550129" y="3622159"/>
                  <a:pt x="3519089" y="3659566"/>
                </a:cubicBezTo>
                <a:cubicBezTo>
                  <a:pt x="3496008" y="3638873"/>
                  <a:pt x="3474916" y="3620169"/>
                  <a:pt x="3454621" y="3601863"/>
                </a:cubicBezTo>
                <a:cubicBezTo>
                  <a:pt x="3483273" y="3566048"/>
                  <a:pt x="3510334" y="3532620"/>
                  <a:pt x="3536997" y="3498794"/>
                </a:cubicBezTo>
                <a:cubicBezTo>
                  <a:pt x="3540181" y="3494814"/>
                  <a:pt x="3540578" y="3488447"/>
                  <a:pt x="3542568" y="3483274"/>
                </a:cubicBezTo>
                <a:cubicBezTo>
                  <a:pt x="3540578" y="3482478"/>
                  <a:pt x="3538987" y="3481682"/>
                  <a:pt x="3536997" y="3480886"/>
                </a:cubicBezTo>
                <a:cubicBezTo>
                  <a:pt x="3505161" y="3519487"/>
                  <a:pt x="3473325" y="3558088"/>
                  <a:pt x="3440693" y="3597884"/>
                </a:cubicBezTo>
                <a:cubicBezTo>
                  <a:pt x="3417213" y="3577190"/>
                  <a:pt x="3395724" y="3557691"/>
                  <a:pt x="3373837" y="3538191"/>
                </a:cubicBezTo>
                <a:cubicBezTo>
                  <a:pt x="3392540" y="3515906"/>
                  <a:pt x="3409652" y="3496008"/>
                  <a:pt x="3426366" y="3475315"/>
                </a:cubicBezTo>
                <a:cubicBezTo>
                  <a:pt x="3468151" y="3423183"/>
                  <a:pt x="3468151" y="3423183"/>
                  <a:pt x="3465366" y="3410050"/>
                </a:cubicBezTo>
                <a:close/>
                <a:moveTo>
                  <a:pt x="1053777" y="3369459"/>
                </a:moveTo>
                <a:cubicBezTo>
                  <a:pt x="1042236" y="3377418"/>
                  <a:pt x="1031491" y="3384582"/>
                  <a:pt x="1019155" y="3392938"/>
                </a:cubicBezTo>
                <a:cubicBezTo>
                  <a:pt x="1026716" y="3403285"/>
                  <a:pt x="1032287" y="3411642"/>
                  <a:pt x="1039053" y="3421193"/>
                </a:cubicBezTo>
                <a:cubicBezTo>
                  <a:pt x="1050991" y="3412438"/>
                  <a:pt x="1061736" y="3404877"/>
                  <a:pt x="1072879" y="3396520"/>
                </a:cubicBezTo>
                <a:cubicBezTo>
                  <a:pt x="1066511" y="3387367"/>
                  <a:pt x="1060542" y="3379010"/>
                  <a:pt x="1053777" y="3369459"/>
                </a:cubicBezTo>
                <a:close/>
                <a:moveTo>
                  <a:pt x="3675484" y="3152177"/>
                </a:moveTo>
                <a:cubicBezTo>
                  <a:pt x="3672698" y="3158943"/>
                  <a:pt x="3670311" y="3164116"/>
                  <a:pt x="3667127" y="3170085"/>
                </a:cubicBezTo>
                <a:cubicBezTo>
                  <a:pt x="3675086" y="3173269"/>
                  <a:pt x="3681851" y="3176453"/>
                  <a:pt x="3689412" y="3179636"/>
                </a:cubicBezTo>
                <a:cubicBezTo>
                  <a:pt x="3692596" y="3173269"/>
                  <a:pt x="3694586" y="3168494"/>
                  <a:pt x="3697769" y="3161330"/>
                </a:cubicBezTo>
                <a:cubicBezTo>
                  <a:pt x="3689412" y="3157749"/>
                  <a:pt x="3683045" y="3155361"/>
                  <a:pt x="3675484" y="3152177"/>
                </a:cubicBezTo>
                <a:close/>
                <a:moveTo>
                  <a:pt x="784363" y="3125913"/>
                </a:moveTo>
                <a:cubicBezTo>
                  <a:pt x="781180" y="3135066"/>
                  <a:pt x="777996" y="3139443"/>
                  <a:pt x="779190" y="3141831"/>
                </a:cubicBezTo>
                <a:cubicBezTo>
                  <a:pt x="792720" y="3173269"/>
                  <a:pt x="806649" y="3204707"/>
                  <a:pt x="820577" y="3236146"/>
                </a:cubicBezTo>
                <a:cubicBezTo>
                  <a:pt x="821771" y="3238931"/>
                  <a:pt x="826148" y="3240125"/>
                  <a:pt x="828934" y="3242115"/>
                </a:cubicBezTo>
                <a:cubicBezTo>
                  <a:pt x="829730" y="3238931"/>
                  <a:pt x="832515" y="3234951"/>
                  <a:pt x="831322" y="3232166"/>
                </a:cubicBezTo>
                <a:cubicBezTo>
                  <a:pt x="816995" y="3198738"/>
                  <a:pt x="801873" y="3165310"/>
                  <a:pt x="784363" y="3125913"/>
                </a:cubicBezTo>
                <a:close/>
                <a:moveTo>
                  <a:pt x="3741146" y="3119943"/>
                </a:moveTo>
                <a:cubicBezTo>
                  <a:pt x="3738361" y="3126311"/>
                  <a:pt x="3735973" y="3131484"/>
                  <a:pt x="3732789" y="3138647"/>
                </a:cubicBezTo>
                <a:cubicBezTo>
                  <a:pt x="3741544" y="3142229"/>
                  <a:pt x="3748309" y="3144617"/>
                  <a:pt x="3755871" y="3147800"/>
                </a:cubicBezTo>
                <a:cubicBezTo>
                  <a:pt x="3758258" y="3140637"/>
                  <a:pt x="3760646" y="3135066"/>
                  <a:pt x="3763034" y="3128300"/>
                </a:cubicBezTo>
                <a:cubicBezTo>
                  <a:pt x="3755075" y="3125117"/>
                  <a:pt x="3748707" y="3122729"/>
                  <a:pt x="3741146" y="3119943"/>
                </a:cubicBezTo>
                <a:close/>
                <a:moveTo>
                  <a:pt x="828536" y="3115964"/>
                </a:moveTo>
                <a:cubicBezTo>
                  <a:pt x="825352" y="3116760"/>
                  <a:pt x="822567" y="3117556"/>
                  <a:pt x="819781" y="3118352"/>
                </a:cubicBezTo>
                <a:cubicBezTo>
                  <a:pt x="825750" y="3150188"/>
                  <a:pt x="843260" y="3178044"/>
                  <a:pt x="855597" y="3207891"/>
                </a:cubicBezTo>
                <a:cubicBezTo>
                  <a:pt x="857984" y="3213860"/>
                  <a:pt x="863158" y="3218636"/>
                  <a:pt x="867137" y="3224207"/>
                </a:cubicBezTo>
                <a:cubicBezTo>
                  <a:pt x="869525" y="3223013"/>
                  <a:pt x="871515" y="3221421"/>
                  <a:pt x="873505" y="3219829"/>
                </a:cubicBezTo>
                <a:cubicBezTo>
                  <a:pt x="858780" y="3185207"/>
                  <a:pt x="843658" y="3150586"/>
                  <a:pt x="828536" y="3115964"/>
                </a:cubicBezTo>
                <a:close/>
                <a:moveTo>
                  <a:pt x="3607335" y="3108154"/>
                </a:moveTo>
                <a:cubicBezTo>
                  <a:pt x="3602460" y="3108005"/>
                  <a:pt x="3598481" y="3111786"/>
                  <a:pt x="3595894" y="3123923"/>
                </a:cubicBezTo>
                <a:cubicBezTo>
                  <a:pt x="3603057" y="3127107"/>
                  <a:pt x="3609424" y="3129892"/>
                  <a:pt x="3617383" y="3133076"/>
                </a:cubicBezTo>
                <a:cubicBezTo>
                  <a:pt x="3619771" y="3126709"/>
                  <a:pt x="3622159" y="3121535"/>
                  <a:pt x="3624148" y="3115964"/>
                </a:cubicBezTo>
                <a:cubicBezTo>
                  <a:pt x="3617980" y="3112383"/>
                  <a:pt x="3612210" y="3108304"/>
                  <a:pt x="3607335" y="3108154"/>
                </a:cubicBezTo>
                <a:close/>
                <a:moveTo>
                  <a:pt x="903351" y="3093679"/>
                </a:moveTo>
                <a:cubicBezTo>
                  <a:pt x="901361" y="3094474"/>
                  <a:pt x="899371" y="3095668"/>
                  <a:pt x="897382" y="3096464"/>
                </a:cubicBezTo>
                <a:cubicBezTo>
                  <a:pt x="927228" y="3157749"/>
                  <a:pt x="956676" y="3218636"/>
                  <a:pt x="986523" y="3279920"/>
                </a:cubicBezTo>
                <a:cubicBezTo>
                  <a:pt x="988513" y="3278726"/>
                  <a:pt x="990502" y="3277930"/>
                  <a:pt x="992492" y="3277135"/>
                </a:cubicBezTo>
                <a:cubicBezTo>
                  <a:pt x="962646" y="3215850"/>
                  <a:pt x="933197" y="3154963"/>
                  <a:pt x="903351" y="3093679"/>
                </a:cubicBezTo>
                <a:close/>
                <a:moveTo>
                  <a:pt x="3796461" y="3085322"/>
                </a:moveTo>
                <a:cubicBezTo>
                  <a:pt x="3794074" y="3093281"/>
                  <a:pt x="3792084" y="3099250"/>
                  <a:pt x="3790094" y="3106015"/>
                </a:cubicBezTo>
                <a:cubicBezTo>
                  <a:pt x="3798849" y="3108801"/>
                  <a:pt x="3804819" y="3110791"/>
                  <a:pt x="3812379" y="3113576"/>
                </a:cubicBezTo>
                <a:cubicBezTo>
                  <a:pt x="3814767" y="3106811"/>
                  <a:pt x="3816757" y="3100842"/>
                  <a:pt x="3819543" y="3093679"/>
                </a:cubicBezTo>
                <a:cubicBezTo>
                  <a:pt x="3811584" y="3090893"/>
                  <a:pt x="3805216" y="3088505"/>
                  <a:pt x="3796461" y="3085322"/>
                </a:cubicBezTo>
                <a:close/>
                <a:moveTo>
                  <a:pt x="975778" y="3063036"/>
                </a:moveTo>
                <a:cubicBezTo>
                  <a:pt x="973390" y="3064230"/>
                  <a:pt x="971401" y="3065026"/>
                  <a:pt x="969013" y="3066220"/>
                </a:cubicBezTo>
                <a:cubicBezTo>
                  <a:pt x="991696" y="3115566"/>
                  <a:pt x="1013982" y="3164514"/>
                  <a:pt x="1037063" y="3215054"/>
                </a:cubicBezTo>
                <a:cubicBezTo>
                  <a:pt x="1030298" y="3218636"/>
                  <a:pt x="1023532" y="3222217"/>
                  <a:pt x="1013584" y="3227788"/>
                </a:cubicBezTo>
                <a:cubicBezTo>
                  <a:pt x="989706" y="3176453"/>
                  <a:pt x="966227" y="3126311"/>
                  <a:pt x="942748" y="3076169"/>
                </a:cubicBezTo>
                <a:cubicBezTo>
                  <a:pt x="940758" y="3077363"/>
                  <a:pt x="938371" y="3078159"/>
                  <a:pt x="936381" y="3079352"/>
                </a:cubicBezTo>
                <a:cubicBezTo>
                  <a:pt x="958666" y="3142627"/>
                  <a:pt x="989706" y="3201524"/>
                  <a:pt x="1023134" y="3261216"/>
                </a:cubicBezTo>
                <a:cubicBezTo>
                  <a:pt x="1037461" y="3252461"/>
                  <a:pt x="1049797" y="3245298"/>
                  <a:pt x="1060940" y="3238533"/>
                </a:cubicBezTo>
                <a:cubicBezTo>
                  <a:pt x="1031889" y="3178442"/>
                  <a:pt x="1004033" y="3120739"/>
                  <a:pt x="975778" y="3063036"/>
                </a:cubicBezTo>
                <a:close/>
                <a:moveTo>
                  <a:pt x="734221" y="3062240"/>
                </a:moveTo>
                <a:cubicBezTo>
                  <a:pt x="726262" y="3064628"/>
                  <a:pt x="720293" y="3066618"/>
                  <a:pt x="711538" y="3069801"/>
                </a:cubicBezTo>
                <a:cubicBezTo>
                  <a:pt x="714722" y="3077363"/>
                  <a:pt x="716711" y="3083332"/>
                  <a:pt x="719497" y="3089699"/>
                </a:cubicBezTo>
                <a:cubicBezTo>
                  <a:pt x="727854" y="3086515"/>
                  <a:pt x="734221" y="3084128"/>
                  <a:pt x="742180" y="3081342"/>
                </a:cubicBezTo>
                <a:cubicBezTo>
                  <a:pt x="739395" y="3074179"/>
                  <a:pt x="737007" y="3068608"/>
                  <a:pt x="734221" y="3062240"/>
                </a:cubicBezTo>
                <a:close/>
                <a:moveTo>
                  <a:pt x="3673842" y="3042592"/>
                </a:moveTo>
                <a:cubicBezTo>
                  <a:pt x="3668918" y="3042841"/>
                  <a:pt x="3665336" y="3046920"/>
                  <a:pt x="3663943" y="3059057"/>
                </a:cubicBezTo>
                <a:cubicBezTo>
                  <a:pt x="3671107" y="3061842"/>
                  <a:pt x="3677474" y="3064230"/>
                  <a:pt x="3685831" y="3067414"/>
                </a:cubicBezTo>
                <a:cubicBezTo>
                  <a:pt x="3687821" y="3060649"/>
                  <a:pt x="3689810" y="3055077"/>
                  <a:pt x="3691800" y="3049108"/>
                </a:cubicBezTo>
                <a:cubicBezTo>
                  <a:pt x="3685035" y="3045925"/>
                  <a:pt x="3678767" y="3042343"/>
                  <a:pt x="3673842" y="3042592"/>
                </a:cubicBezTo>
                <a:close/>
                <a:moveTo>
                  <a:pt x="862760" y="3018466"/>
                </a:moveTo>
                <a:cubicBezTo>
                  <a:pt x="854005" y="3021649"/>
                  <a:pt x="847638" y="3024037"/>
                  <a:pt x="840077" y="3027221"/>
                </a:cubicBezTo>
                <a:cubicBezTo>
                  <a:pt x="842862" y="3033986"/>
                  <a:pt x="845250" y="3039159"/>
                  <a:pt x="847638" y="3045129"/>
                </a:cubicBezTo>
                <a:cubicBezTo>
                  <a:pt x="855597" y="3041945"/>
                  <a:pt x="861964" y="3039557"/>
                  <a:pt x="869525" y="3036374"/>
                </a:cubicBezTo>
                <a:cubicBezTo>
                  <a:pt x="867137" y="3030404"/>
                  <a:pt x="865545" y="3025629"/>
                  <a:pt x="862760" y="3018466"/>
                </a:cubicBezTo>
                <a:close/>
                <a:moveTo>
                  <a:pt x="755711" y="2994986"/>
                </a:moveTo>
                <a:cubicBezTo>
                  <a:pt x="747354" y="2997772"/>
                  <a:pt x="740589" y="2999762"/>
                  <a:pt x="732630" y="3002548"/>
                </a:cubicBezTo>
                <a:cubicBezTo>
                  <a:pt x="735415" y="3009711"/>
                  <a:pt x="737405" y="3015282"/>
                  <a:pt x="739793" y="3022047"/>
                </a:cubicBezTo>
                <a:cubicBezTo>
                  <a:pt x="748150" y="3019262"/>
                  <a:pt x="754915" y="3016874"/>
                  <a:pt x="761680" y="3014884"/>
                </a:cubicBezTo>
                <a:cubicBezTo>
                  <a:pt x="759690" y="3008119"/>
                  <a:pt x="758098" y="3002946"/>
                  <a:pt x="755711" y="2994986"/>
                </a:cubicBezTo>
                <a:close/>
                <a:moveTo>
                  <a:pt x="936182" y="2987376"/>
                </a:moveTo>
                <a:cubicBezTo>
                  <a:pt x="932800" y="2986331"/>
                  <a:pt x="927228" y="2989216"/>
                  <a:pt x="916085" y="2994986"/>
                </a:cubicBezTo>
                <a:cubicBezTo>
                  <a:pt x="918075" y="2999762"/>
                  <a:pt x="920065" y="3004935"/>
                  <a:pt x="922453" y="3010905"/>
                </a:cubicBezTo>
                <a:cubicBezTo>
                  <a:pt x="930412" y="3008119"/>
                  <a:pt x="936779" y="3005731"/>
                  <a:pt x="943146" y="3003344"/>
                </a:cubicBezTo>
                <a:cubicBezTo>
                  <a:pt x="940759" y="2993395"/>
                  <a:pt x="939565" y="2988421"/>
                  <a:pt x="936182" y="2987376"/>
                </a:cubicBezTo>
                <a:close/>
                <a:moveTo>
                  <a:pt x="695620" y="2958375"/>
                </a:moveTo>
                <a:cubicBezTo>
                  <a:pt x="687263" y="2961161"/>
                  <a:pt x="680498" y="2963150"/>
                  <a:pt x="672937" y="2965538"/>
                </a:cubicBezTo>
                <a:cubicBezTo>
                  <a:pt x="675324" y="2972701"/>
                  <a:pt x="676916" y="2978272"/>
                  <a:pt x="679304" y="2985834"/>
                </a:cubicBezTo>
                <a:cubicBezTo>
                  <a:pt x="688059" y="2983048"/>
                  <a:pt x="694824" y="2981058"/>
                  <a:pt x="702783" y="2978272"/>
                </a:cubicBezTo>
                <a:cubicBezTo>
                  <a:pt x="699997" y="2971109"/>
                  <a:pt x="698008" y="2965140"/>
                  <a:pt x="695620" y="2958375"/>
                </a:cubicBezTo>
                <a:close/>
                <a:moveTo>
                  <a:pt x="787149" y="2935294"/>
                </a:moveTo>
                <a:cubicBezTo>
                  <a:pt x="780384" y="2937283"/>
                  <a:pt x="773619" y="2938875"/>
                  <a:pt x="766058" y="2941263"/>
                </a:cubicBezTo>
                <a:cubicBezTo>
                  <a:pt x="768047" y="2948028"/>
                  <a:pt x="769639" y="2953202"/>
                  <a:pt x="771231" y="2960365"/>
                </a:cubicBezTo>
                <a:cubicBezTo>
                  <a:pt x="787547" y="2957181"/>
                  <a:pt x="801077" y="2955191"/>
                  <a:pt x="787149" y="2935294"/>
                </a:cubicBezTo>
                <a:close/>
                <a:moveTo>
                  <a:pt x="875096" y="2926141"/>
                </a:moveTo>
                <a:cubicBezTo>
                  <a:pt x="867137" y="2928528"/>
                  <a:pt x="860372" y="2930518"/>
                  <a:pt x="852811" y="2932508"/>
                </a:cubicBezTo>
                <a:cubicBezTo>
                  <a:pt x="854005" y="2938477"/>
                  <a:pt x="855199" y="2943253"/>
                  <a:pt x="856791" y="2950814"/>
                </a:cubicBezTo>
                <a:cubicBezTo>
                  <a:pt x="865545" y="2948426"/>
                  <a:pt x="872311" y="2946436"/>
                  <a:pt x="880270" y="2944447"/>
                </a:cubicBezTo>
                <a:cubicBezTo>
                  <a:pt x="878678" y="2937682"/>
                  <a:pt x="877086" y="2932508"/>
                  <a:pt x="875096" y="2926141"/>
                </a:cubicBezTo>
                <a:close/>
                <a:moveTo>
                  <a:pt x="3823920" y="2903060"/>
                </a:moveTo>
                <a:cubicBezTo>
                  <a:pt x="3813175" y="2943253"/>
                  <a:pt x="3803227" y="2980660"/>
                  <a:pt x="3792084" y="3022047"/>
                </a:cubicBezTo>
                <a:cubicBezTo>
                  <a:pt x="3812379" y="3010905"/>
                  <a:pt x="3836655" y="2916192"/>
                  <a:pt x="3823920" y="2903060"/>
                </a:cubicBezTo>
                <a:close/>
                <a:moveTo>
                  <a:pt x="3792880" y="2894305"/>
                </a:moveTo>
                <a:cubicBezTo>
                  <a:pt x="3784921" y="2896692"/>
                  <a:pt x="3780145" y="2897090"/>
                  <a:pt x="3779748" y="2898682"/>
                </a:cubicBezTo>
                <a:cubicBezTo>
                  <a:pt x="3769799" y="2933304"/>
                  <a:pt x="3760646" y="2967528"/>
                  <a:pt x="3751493" y="3002150"/>
                </a:cubicBezTo>
                <a:cubicBezTo>
                  <a:pt x="3751095" y="3004537"/>
                  <a:pt x="3753881" y="3007721"/>
                  <a:pt x="3755075" y="3010507"/>
                </a:cubicBezTo>
                <a:cubicBezTo>
                  <a:pt x="3757462" y="3009711"/>
                  <a:pt x="3759850" y="3008517"/>
                  <a:pt x="3762238" y="3007721"/>
                </a:cubicBezTo>
                <a:cubicBezTo>
                  <a:pt x="3772186" y="2971109"/>
                  <a:pt x="3782135" y="2934498"/>
                  <a:pt x="3792880" y="2894305"/>
                </a:cubicBezTo>
                <a:close/>
                <a:moveTo>
                  <a:pt x="3723238" y="2776909"/>
                </a:moveTo>
                <a:cubicBezTo>
                  <a:pt x="3708116" y="2842969"/>
                  <a:pt x="3692994" y="2909029"/>
                  <a:pt x="3677872" y="2975089"/>
                </a:cubicBezTo>
                <a:cubicBezTo>
                  <a:pt x="3679862" y="2975487"/>
                  <a:pt x="3682249" y="2976283"/>
                  <a:pt x="3684239" y="2976681"/>
                </a:cubicBezTo>
                <a:cubicBezTo>
                  <a:pt x="3699759" y="2910621"/>
                  <a:pt x="3714881" y="2844959"/>
                  <a:pt x="3730004" y="2778899"/>
                </a:cubicBezTo>
                <a:cubicBezTo>
                  <a:pt x="3727616" y="2778103"/>
                  <a:pt x="3725626" y="2777307"/>
                  <a:pt x="3723238" y="2776909"/>
                </a:cubicBezTo>
                <a:close/>
                <a:moveTo>
                  <a:pt x="3684239" y="2770144"/>
                </a:moveTo>
                <a:cubicBezTo>
                  <a:pt x="3669515" y="2834612"/>
                  <a:pt x="3654791" y="2899080"/>
                  <a:pt x="3639270" y="2966334"/>
                </a:cubicBezTo>
                <a:cubicBezTo>
                  <a:pt x="3657576" y="2940865"/>
                  <a:pt x="3691402" y="2788051"/>
                  <a:pt x="3684239" y="2770144"/>
                </a:cubicBezTo>
                <a:close/>
                <a:moveTo>
                  <a:pt x="3803227" y="2767358"/>
                </a:moveTo>
                <a:cubicBezTo>
                  <a:pt x="3796860" y="2804368"/>
                  <a:pt x="3790492" y="2841377"/>
                  <a:pt x="3785319" y="2872019"/>
                </a:cubicBezTo>
                <a:cubicBezTo>
                  <a:pt x="3804420" y="2875999"/>
                  <a:pt x="3819145" y="2879183"/>
                  <a:pt x="3833869" y="2882366"/>
                </a:cubicBezTo>
                <a:cubicBezTo>
                  <a:pt x="3833471" y="2883560"/>
                  <a:pt x="3833073" y="2884356"/>
                  <a:pt x="3832675" y="2885152"/>
                </a:cubicBezTo>
                <a:cubicBezTo>
                  <a:pt x="3845012" y="2885152"/>
                  <a:pt x="3856950" y="2885152"/>
                  <a:pt x="3872868" y="2885152"/>
                </a:cubicBezTo>
                <a:cubicBezTo>
                  <a:pt x="3859736" y="2936090"/>
                  <a:pt x="3847797" y="2983446"/>
                  <a:pt x="3835461" y="3030802"/>
                </a:cubicBezTo>
                <a:cubicBezTo>
                  <a:pt x="3852971" y="3036374"/>
                  <a:pt x="3869287" y="3041945"/>
                  <a:pt x="3886001" y="3047516"/>
                </a:cubicBezTo>
                <a:cubicBezTo>
                  <a:pt x="3881225" y="3062638"/>
                  <a:pt x="3877246" y="3076169"/>
                  <a:pt x="3872868" y="3090495"/>
                </a:cubicBezTo>
                <a:cubicBezTo>
                  <a:pt x="3886797" y="3095668"/>
                  <a:pt x="3898735" y="3100444"/>
                  <a:pt x="3913062" y="3106015"/>
                </a:cubicBezTo>
                <a:cubicBezTo>
                  <a:pt x="3894756" y="3152576"/>
                  <a:pt x="3877246" y="3197146"/>
                  <a:pt x="3859338" y="3242513"/>
                </a:cubicBezTo>
                <a:cubicBezTo>
                  <a:pt x="3844216" y="3236146"/>
                  <a:pt x="3832277" y="3231370"/>
                  <a:pt x="3819941" y="3226197"/>
                </a:cubicBezTo>
                <a:cubicBezTo>
                  <a:pt x="3812379" y="3242115"/>
                  <a:pt x="3805614" y="3256441"/>
                  <a:pt x="3798053" y="3271961"/>
                </a:cubicBezTo>
                <a:cubicBezTo>
                  <a:pt x="3706922" y="3228584"/>
                  <a:pt x="3617383" y="3186003"/>
                  <a:pt x="3526252" y="3142627"/>
                </a:cubicBezTo>
                <a:cubicBezTo>
                  <a:pt x="3520283" y="3154963"/>
                  <a:pt x="3515110" y="3165708"/>
                  <a:pt x="3509140" y="3178044"/>
                </a:cubicBezTo>
                <a:cubicBezTo>
                  <a:pt x="3533813" y="3191177"/>
                  <a:pt x="3557292" y="3203115"/>
                  <a:pt x="3582761" y="3216646"/>
                </a:cubicBezTo>
                <a:cubicBezTo>
                  <a:pt x="3554905" y="3264798"/>
                  <a:pt x="3527844" y="3310960"/>
                  <a:pt x="3501181" y="3357123"/>
                </a:cubicBezTo>
                <a:cubicBezTo>
                  <a:pt x="3503171" y="3358715"/>
                  <a:pt x="3505559" y="3359908"/>
                  <a:pt x="3507548" y="3361102"/>
                </a:cubicBezTo>
                <a:cubicBezTo>
                  <a:pt x="3538589" y="3319317"/>
                  <a:pt x="3562466" y="3272359"/>
                  <a:pt x="3588731" y="3225799"/>
                </a:cubicBezTo>
                <a:cubicBezTo>
                  <a:pt x="3615393" y="3239727"/>
                  <a:pt x="3641260" y="3252859"/>
                  <a:pt x="3668321" y="3267186"/>
                </a:cubicBezTo>
                <a:cubicBezTo>
                  <a:pt x="3642454" y="3312552"/>
                  <a:pt x="3617383" y="3355929"/>
                  <a:pt x="3592312" y="3399306"/>
                </a:cubicBezTo>
                <a:cubicBezTo>
                  <a:pt x="3593506" y="3400897"/>
                  <a:pt x="3595098" y="3402489"/>
                  <a:pt x="3596292" y="3404081"/>
                </a:cubicBezTo>
                <a:cubicBezTo>
                  <a:pt x="3600669" y="3400500"/>
                  <a:pt x="3606240" y="3397714"/>
                  <a:pt x="3609026" y="3392938"/>
                </a:cubicBezTo>
                <a:cubicBezTo>
                  <a:pt x="3631709" y="3355133"/>
                  <a:pt x="3653995" y="3317328"/>
                  <a:pt x="3677076" y="3278328"/>
                </a:cubicBezTo>
                <a:cubicBezTo>
                  <a:pt x="3702943" y="3291859"/>
                  <a:pt x="3727616" y="3304991"/>
                  <a:pt x="3754279" y="3318919"/>
                </a:cubicBezTo>
                <a:cubicBezTo>
                  <a:pt x="3730799" y="3358715"/>
                  <a:pt x="3709310" y="3395724"/>
                  <a:pt x="3687423" y="3432734"/>
                </a:cubicBezTo>
                <a:cubicBezTo>
                  <a:pt x="3683443" y="3439897"/>
                  <a:pt x="3675882" y="3447856"/>
                  <a:pt x="3693790" y="3451437"/>
                </a:cubicBezTo>
                <a:cubicBezTo>
                  <a:pt x="3716871" y="3412040"/>
                  <a:pt x="3739952" y="3372245"/>
                  <a:pt x="3764227" y="3330858"/>
                </a:cubicBezTo>
                <a:cubicBezTo>
                  <a:pt x="3788900" y="3343990"/>
                  <a:pt x="3813175" y="3356725"/>
                  <a:pt x="3839440" y="3370653"/>
                </a:cubicBezTo>
                <a:cubicBezTo>
                  <a:pt x="3814767" y="3413234"/>
                  <a:pt x="3791288" y="3453825"/>
                  <a:pt x="3767411" y="3495212"/>
                </a:cubicBezTo>
                <a:cubicBezTo>
                  <a:pt x="3770993" y="3497600"/>
                  <a:pt x="3774574" y="3500385"/>
                  <a:pt x="3780543" y="3504763"/>
                </a:cubicBezTo>
                <a:cubicBezTo>
                  <a:pt x="3804819" y="3463376"/>
                  <a:pt x="3827900" y="3423979"/>
                  <a:pt x="3851379" y="3384183"/>
                </a:cubicBezTo>
                <a:cubicBezTo>
                  <a:pt x="3875654" y="3397316"/>
                  <a:pt x="3899133" y="3409652"/>
                  <a:pt x="3924602" y="3423183"/>
                </a:cubicBezTo>
                <a:cubicBezTo>
                  <a:pt x="3899531" y="3466958"/>
                  <a:pt x="3874858" y="3509140"/>
                  <a:pt x="3849787" y="3552517"/>
                </a:cubicBezTo>
                <a:cubicBezTo>
                  <a:pt x="3854563" y="3555701"/>
                  <a:pt x="3858940" y="3558487"/>
                  <a:pt x="3864909" y="3562466"/>
                </a:cubicBezTo>
                <a:cubicBezTo>
                  <a:pt x="3889582" y="3520681"/>
                  <a:pt x="3913459" y="3480488"/>
                  <a:pt x="3937734" y="3438305"/>
                </a:cubicBezTo>
                <a:cubicBezTo>
                  <a:pt x="3956438" y="3448254"/>
                  <a:pt x="3974346" y="3457407"/>
                  <a:pt x="3992254" y="3466560"/>
                </a:cubicBezTo>
                <a:cubicBezTo>
                  <a:pt x="4111640" y="3201524"/>
                  <a:pt x="4029661" y="2884754"/>
                  <a:pt x="3803227" y="2767358"/>
                </a:cubicBezTo>
                <a:close/>
                <a:moveTo>
                  <a:pt x="3645638" y="2764970"/>
                </a:moveTo>
                <a:cubicBezTo>
                  <a:pt x="3631311" y="2827847"/>
                  <a:pt x="3616985" y="2889927"/>
                  <a:pt x="3602659" y="2952406"/>
                </a:cubicBezTo>
                <a:cubicBezTo>
                  <a:pt x="3622954" y="2914998"/>
                  <a:pt x="3651209" y="2783674"/>
                  <a:pt x="3645638" y="2764970"/>
                </a:cubicBezTo>
                <a:close/>
                <a:moveTo>
                  <a:pt x="805057" y="2683390"/>
                </a:moveTo>
                <a:cubicBezTo>
                  <a:pt x="802669" y="2683788"/>
                  <a:pt x="800281" y="2683788"/>
                  <a:pt x="798292" y="2684186"/>
                </a:cubicBezTo>
                <a:cubicBezTo>
                  <a:pt x="809036" y="2751042"/>
                  <a:pt x="820179" y="2818296"/>
                  <a:pt x="830924" y="2885152"/>
                </a:cubicBezTo>
                <a:cubicBezTo>
                  <a:pt x="832913" y="2884754"/>
                  <a:pt x="835301" y="2884356"/>
                  <a:pt x="837291" y="2883958"/>
                </a:cubicBezTo>
                <a:cubicBezTo>
                  <a:pt x="826546" y="2817102"/>
                  <a:pt x="815802" y="2750246"/>
                  <a:pt x="805057" y="2683390"/>
                </a:cubicBezTo>
                <a:close/>
                <a:moveTo>
                  <a:pt x="844454" y="2679808"/>
                </a:moveTo>
                <a:cubicBezTo>
                  <a:pt x="845250" y="2746665"/>
                  <a:pt x="855199" y="2811929"/>
                  <a:pt x="875892" y="2875203"/>
                </a:cubicBezTo>
                <a:cubicBezTo>
                  <a:pt x="865545" y="2810337"/>
                  <a:pt x="854801" y="2745073"/>
                  <a:pt x="844454" y="2679808"/>
                </a:cubicBezTo>
                <a:close/>
                <a:moveTo>
                  <a:pt x="883055" y="2676227"/>
                </a:moveTo>
                <a:cubicBezTo>
                  <a:pt x="877086" y="2709655"/>
                  <a:pt x="901361" y="2850132"/>
                  <a:pt x="913698" y="2866448"/>
                </a:cubicBezTo>
                <a:cubicBezTo>
                  <a:pt x="903351" y="2802776"/>
                  <a:pt x="893402" y="2739501"/>
                  <a:pt x="883055" y="2676227"/>
                </a:cubicBezTo>
                <a:close/>
                <a:moveTo>
                  <a:pt x="3626138" y="2225745"/>
                </a:moveTo>
                <a:cubicBezTo>
                  <a:pt x="3636485" y="2289418"/>
                  <a:pt x="3646434" y="2352692"/>
                  <a:pt x="3656780" y="2415966"/>
                </a:cubicBezTo>
                <a:cubicBezTo>
                  <a:pt x="3662750" y="2383334"/>
                  <a:pt x="3638475" y="2242061"/>
                  <a:pt x="3626138" y="2225745"/>
                </a:cubicBezTo>
                <a:close/>
                <a:moveTo>
                  <a:pt x="3671107" y="2215797"/>
                </a:moveTo>
                <a:cubicBezTo>
                  <a:pt x="3668719" y="2216194"/>
                  <a:pt x="3666331" y="2216593"/>
                  <a:pt x="3663943" y="2216990"/>
                </a:cubicBezTo>
                <a:cubicBezTo>
                  <a:pt x="3674290" y="2282255"/>
                  <a:pt x="3685035" y="2347121"/>
                  <a:pt x="3695382" y="2412385"/>
                </a:cubicBezTo>
                <a:cubicBezTo>
                  <a:pt x="3697769" y="2411987"/>
                  <a:pt x="3700157" y="2411589"/>
                  <a:pt x="3702545" y="2411191"/>
                </a:cubicBezTo>
                <a:cubicBezTo>
                  <a:pt x="3692198" y="2345927"/>
                  <a:pt x="3681453" y="2281061"/>
                  <a:pt x="3671107" y="2215797"/>
                </a:cubicBezTo>
                <a:close/>
                <a:moveTo>
                  <a:pt x="3709310" y="2207838"/>
                </a:moveTo>
                <a:cubicBezTo>
                  <a:pt x="3706922" y="2208235"/>
                  <a:pt x="3704932" y="2208235"/>
                  <a:pt x="3702545" y="2208634"/>
                </a:cubicBezTo>
                <a:cubicBezTo>
                  <a:pt x="3713290" y="2275489"/>
                  <a:pt x="3724034" y="2342345"/>
                  <a:pt x="3734779" y="2409201"/>
                </a:cubicBezTo>
                <a:cubicBezTo>
                  <a:pt x="3737167" y="2408803"/>
                  <a:pt x="3739554" y="2408405"/>
                  <a:pt x="3741544" y="2408007"/>
                </a:cubicBezTo>
                <a:cubicBezTo>
                  <a:pt x="3730799" y="2341151"/>
                  <a:pt x="3720055" y="2274693"/>
                  <a:pt x="3709310" y="2207838"/>
                </a:cubicBezTo>
                <a:close/>
                <a:moveTo>
                  <a:pt x="3682647" y="2141380"/>
                </a:moveTo>
                <a:cubicBezTo>
                  <a:pt x="3673892" y="2144165"/>
                  <a:pt x="3667127" y="2146155"/>
                  <a:pt x="3657576" y="2148941"/>
                </a:cubicBezTo>
                <a:cubicBezTo>
                  <a:pt x="3662352" y="2155706"/>
                  <a:pt x="3664739" y="2162869"/>
                  <a:pt x="3669117" y="2164063"/>
                </a:cubicBezTo>
                <a:cubicBezTo>
                  <a:pt x="3674290" y="2165655"/>
                  <a:pt x="3680657" y="2161675"/>
                  <a:pt x="3687821" y="2159685"/>
                </a:cubicBezTo>
                <a:cubicBezTo>
                  <a:pt x="3686229" y="2153318"/>
                  <a:pt x="3684637" y="2148543"/>
                  <a:pt x="3682647" y="2141380"/>
                </a:cubicBezTo>
                <a:close/>
                <a:moveTo>
                  <a:pt x="930412" y="2138594"/>
                </a:moveTo>
                <a:cubicBezTo>
                  <a:pt x="916085" y="2201072"/>
                  <a:pt x="901759" y="2263551"/>
                  <a:pt x="887433" y="2326029"/>
                </a:cubicBezTo>
                <a:cubicBezTo>
                  <a:pt x="889821" y="2326029"/>
                  <a:pt x="891810" y="2326427"/>
                  <a:pt x="894198" y="2326825"/>
                </a:cubicBezTo>
                <a:cubicBezTo>
                  <a:pt x="908524" y="2264745"/>
                  <a:pt x="922851" y="2202266"/>
                  <a:pt x="936779" y="2140186"/>
                </a:cubicBezTo>
                <a:cubicBezTo>
                  <a:pt x="934789" y="2139390"/>
                  <a:pt x="932401" y="2138992"/>
                  <a:pt x="930412" y="2138594"/>
                </a:cubicBezTo>
                <a:close/>
                <a:moveTo>
                  <a:pt x="3768207" y="2131033"/>
                </a:moveTo>
                <a:cubicBezTo>
                  <a:pt x="3759850" y="2133819"/>
                  <a:pt x="3753085" y="2135808"/>
                  <a:pt x="3744728" y="2138594"/>
                </a:cubicBezTo>
                <a:cubicBezTo>
                  <a:pt x="3747116" y="2145359"/>
                  <a:pt x="3749105" y="2151328"/>
                  <a:pt x="3751493" y="2157696"/>
                </a:cubicBezTo>
                <a:cubicBezTo>
                  <a:pt x="3760248" y="2154910"/>
                  <a:pt x="3766615" y="2152920"/>
                  <a:pt x="3773778" y="2150532"/>
                </a:cubicBezTo>
                <a:cubicBezTo>
                  <a:pt x="3771789" y="2143767"/>
                  <a:pt x="3770595" y="2138992"/>
                  <a:pt x="3768207" y="2131033"/>
                </a:cubicBezTo>
                <a:close/>
                <a:moveTo>
                  <a:pt x="899769" y="2128645"/>
                </a:moveTo>
                <a:cubicBezTo>
                  <a:pt x="875494" y="2191124"/>
                  <a:pt x="859974" y="2255194"/>
                  <a:pt x="855597" y="2322050"/>
                </a:cubicBezTo>
                <a:cubicBezTo>
                  <a:pt x="870321" y="2257979"/>
                  <a:pt x="885045" y="2193511"/>
                  <a:pt x="899769" y="2128645"/>
                </a:cubicBezTo>
                <a:close/>
                <a:moveTo>
                  <a:pt x="855199" y="2115911"/>
                </a:moveTo>
                <a:cubicBezTo>
                  <a:pt x="840077" y="2181971"/>
                  <a:pt x="824954" y="2247633"/>
                  <a:pt x="809832" y="2313693"/>
                </a:cubicBezTo>
                <a:cubicBezTo>
                  <a:pt x="812220" y="2314091"/>
                  <a:pt x="814210" y="2314489"/>
                  <a:pt x="816199" y="2315285"/>
                </a:cubicBezTo>
                <a:cubicBezTo>
                  <a:pt x="831322" y="2249623"/>
                  <a:pt x="846444" y="2183563"/>
                  <a:pt x="861566" y="2117502"/>
                </a:cubicBezTo>
                <a:cubicBezTo>
                  <a:pt x="859576" y="2117105"/>
                  <a:pt x="857188" y="2116309"/>
                  <a:pt x="855199" y="2115911"/>
                </a:cubicBezTo>
                <a:close/>
                <a:moveTo>
                  <a:pt x="3860532" y="2106758"/>
                </a:moveTo>
                <a:cubicBezTo>
                  <a:pt x="3852971" y="2108747"/>
                  <a:pt x="3846205" y="2110737"/>
                  <a:pt x="3837451" y="2113125"/>
                </a:cubicBezTo>
                <a:cubicBezTo>
                  <a:pt x="3839838" y="2121084"/>
                  <a:pt x="3841430" y="2126257"/>
                  <a:pt x="3843818" y="2133420"/>
                </a:cubicBezTo>
                <a:cubicBezTo>
                  <a:pt x="3852175" y="2131033"/>
                  <a:pt x="3858940" y="2129043"/>
                  <a:pt x="3867297" y="2126655"/>
                </a:cubicBezTo>
                <a:cubicBezTo>
                  <a:pt x="3864511" y="2119094"/>
                  <a:pt x="3862919" y="2113523"/>
                  <a:pt x="3860532" y="2106758"/>
                </a:cubicBezTo>
                <a:close/>
                <a:moveTo>
                  <a:pt x="3617383" y="2080891"/>
                </a:moveTo>
                <a:cubicBezTo>
                  <a:pt x="3609822" y="2084075"/>
                  <a:pt x="3603455" y="2086462"/>
                  <a:pt x="3591516" y="2090840"/>
                </a:cubicBezTo>
                <a:cubicBezTo>
                  <a:pt x="3598679" y="2096809"/>
                  <a:pt x="3602659" y="2102778"/>
                  <a:pt x="3607832" y="2103574"/>
                </a:cubicBezTo>
                <a:cubicBezTo>
                  <a:pt x="3612210" y="2104370"/>
                  <a:pt x="3618179" y="2099993"/>
                  <a:pt x="3624148" y="2097605"/>
                </a:cubicBezTo>
                <a:cubicBezTo>
                  <a:pt x="3621761" y="2091238"/>
                  <a:pt x="3619771" y="2086462"/>
                  <a:pt x="3617383" y="2080891"/>
                </a:cubicBezTo>
                <a:close/>
                <a:moveTo>
                  <a:pt x="778394" y="2080493"/>
                </a:moveTo>
                <a:cubicBezTo>
                  <a:pt x="767649" y="2121482"/>
                  <a:pt x="757700" y="2158094"/>
                  <a:pt x="747354" y="2197491"/>
                </a:cubicBezTo>
                <a:cubicBezTo>
                  <a:pt x="759292" y="2192317"/>
                  <a:pt x="788343" y="2110339"/>
                  <a:pt x="787945" y="2091635"/>
                </a:cubicBezTo>
                <a:cubicBezTo>
                  <a:pt x="787945" y="2089248"/>
                  <a:pt x="783567" y="2086462"/>
                  <a:pt x="778394" y="2080493"/>
                </a:cubicBezTo>
                <a:close/>
                <a:moveTo>
                  <a:pt x="737405" y="2071340"/>
                </a:moveTo>
                <a:cubicBezTo>
                  <a:pt x="724273" y="2104768"/>
                  <a:pt x="716314" y="2140186"/>
                  <a:pt x="707559" y="2175205"/>
                </a:cubicBezTo>
                <a:cubicBezTo>
                  <a:pt x="706763" y="2178787"/>
                  <a:pt x="709946" y="2183563"/>
                  <a:pt x="711140" y="2187940"/>
                </a:cubicBezTo>
                <a:cubicBezTo>
                  <a:pt x="712732" y="2187542"/>
                  <a:pt x="714722" y="2187542"/>
                  <a:pt x="716314" y="2187144"/>
                </a:cubicBezTo>
                <a:cubicBezTo>
                  <a:pt x="726660" y="2149339"/>
                  <a:pt x="736609" y="2111931"/>
                  <a:pt x="746956" y="2074126"/>
                </a:cubicBezTo>
                <a:cubicBezTo>
                  <a:pt x="743772" y="2072932"/>
                  <a:pt x="740589" y="2072136"/>
                  <a:pt x="737405" y="2071340"/>
                </a:cubicBezTo>
                <a:close/>
                <a:moveTo>
                  <a:pt x="3800441" y="2070146"/>
                </a:moveTo>
                <a:cubicBezTo>
                  <a:pt x="3791686" y="2072932"/>
                  <a:pt x="3784921" y="2074921"/>
                  <a:pt x="3776962" y="2077309"/>
                </a:cubicBezTo>
                <a:cubicBezTo>
                  <a:pt x="3779748" y="2084870"/>
                  <a:pt x="3781737" y="2090442"/>
                  <a:pt x="3784125" y="2097207"/>
                </a:cubicBezTo>
                <a:cubicBezTo>
                  <a:pt x="3792084" y="2094421"/>
                  <a:pt x="3798849" y="2092034"/>
                  <a:pt x="3806410" y="2089646"/>
                </a:cubicBezTo>
                <a:cubicBezTo>
                  <a:pt x="3804420" y="2083279"/>
                  <a:pt x="3802829" y="2077707"/>
                  <a:pt x="3800441" y="2070146"/>
                </a:cubicBezTo>
                <a:close/>
                <a:moveTo>
                  <a:pt x="3692994" y="2047065"/>
                </a:moveTo>
                <a:cubicBezTo>
                  <a:pt x="3685035" y="2050249"/>
                  <a:pt x="3678668" y="2052636"/>
                  <a:pt x="3671107" y="2055422"/>
                </a:cubicBezTo>
                <a:cubicBezTo>
                  <a:pt x="3673096" y="2061789"/>
                  <a:pt x="3675086" y="2066962"/>
                  <a:pt x="3677474" y="2073728"/>
                </a:cubicBezTo>
                <a:cubicBezTo>
                  <a:pt x="3685035" y="2070942"/>
                  <a:pt x="3691402" y="2068952"/>
                  <a:pt x="3700555" y="2065769"/>
                </a:cubicBezTo>
                <a:cubicBezTo>
                  <a:pt x="3697372" y="2058208"/>
                  <a:pt x="3695382" y="2053034"/>
                  <a:pt x="3692994" y="2047065"/>
                </a:cubicBezTo>
                <a:close/>
                <a:moveTo>
                  <a:pt x="854005" y="2025178"/>
                </a:moveTo>
                <a:cubicBezTo>
                  <a:pt x="851617" y="2031943"/>
                  <a:pt x="850025" y="2037116"/>
                  <a:pt x="847638" y="2043881"/>
                </a:cubicBezTo>
                <a:cubicBezTo>
                  <a:pt x="855597" y="2046667"/>
                  <a:pt x="862760" y="2048657"/>
                  <a:pt x="870321" y="2051442"/>
                </a:cubicBezTo>
                <a:cubicBezTo>
                  <a:pt x="872709" y="2044279"/>
                  <a:pt x="874300" y="2039504"/>
                  <a:pt x="876688" y="2033137"/>
                </a:cubicBezTo>
                <a:cubicBezTo>
                  <a:pt x="867933" y="2029953"/>
                  <a:pt x="861566" y="2027963"/>
                  <a:pt x="854005" y="2025178"/>
                </a:cubicBezTo>
                <a:close/>
                <a:moveTo>
                  <a:pt x="3819941" y="2002494"/>
                </a:moveTo>
                <a:cubicBezTo>
                  <a:pt x="3812379" y="2005280"/>
                  <a:pt x="3806012" y="2007668"/>
                  <a:pt x="3797655" y="2010851"/>
                </a:cubicBezTo>
                <a:cubicBezTo>
                  <a:pt x="3800839" y="2018412"/>
                  <a:pt x="3803227" y="2023984"/>
                  <a:pt x="3806410" y="2030749"/>
                </a:cubicBezTo>
                <a:cubicBezTo>
                  <a:pt x="3814369" y="2027565"/>
                  <a:pt x="3820737" y="2025178"/>
                  <a:pt x="3828298" y="2021994"/>
                </a:cubicBezTo>
                <a:cubicBezTo>
                  <a:pt x="3825114" y="2014433"/>
                  <a:pt x="3822726" y="2008862"/>
                  <a:pt x="3819941" y="2002494"/>
                </a:cubicBezTo>
                <a:close/>
                <a:moveTo>
                  <a:pt x="727058" y="1979015"/>
                </a:moveTo>
                <a:cubicBezTo>
                  <a:pt x="724670" y="1986576"/>
                  <a:pt x="722681" y="1992545"/>
                  <a:pt x="720691" y="1999311"/>
                </a:cubicBezTo>
                <a:cubicBezTo>
                  <a:pt x="729048" y="2002096"/>
                  <a:pt x="735415" y="2004086"/>
                  <a:pt x="742976" y="2006474"/>
                </a:cubicBezTo>
                <a:cubicBezTo>
                  <a:pt x="745762" y="1999311"/>
                  <a:pt x="747752" y="1993739"/>
                  <a:pt x="750537" y="1986576"/>
                </a:cubicBezTo>
                <a:cubicBezTo>
                  <a:pt x="741384" y="1983791"/>
                  <a:pt x="734619" y="1981403"/>
                  <a:pt x="727058" y="1979015"/>
                </a:cubicBezTo>
                <a:close/>
                <a:moveTo>
                  <a:pt x="922851" y="1959118"/>
                </a:moveTo>
                <a:cubicBezTo>
                  <a:pt x="920463" y="1965087"/>
                  <a:pt x="918075" y="1970260"/>
                  <a:pt x="916085" y="1975036"/>
                </a:cubicBezTo>
                <a:cubicBezTo>
                  <a:pt x="936779" y="1988566"/>
                  <a:pt x="936779" y="1988566"/>
                  <a:pt x="943146" y="1968270"/>
                </a:cubicBezTo>
                <a:cubicBezTo>
                  <a:pt x="937177" y="1965485"/>
                  <a:pt x="930810" y="1962699"/>
                  <a:pt x="922851" y="1959118"/>
                </a:cubicBezTo>
                <a:close/>
                <a:moveTo>
                  <a:pt x="784363" y="1944393"/>
                </a:moveTo>
                <a:cubicBezTo>
                  <a:pt x="781578" y="1951954"/>
                  <a:pt x="779190" y="1957128"/>
                  <a:pt x="776802" y="1963893"/>
                </a:cubicBezTo>
                <a:cubicBezTo>
                  <a:pt x="784363" y="1966679"/>
                  <a:pt x="791526" y="1969464"/>
                  <a:pt x="799087" y="1972648"/>
                </a:cubicBezTo>
                <a:cubicBezTo>
                  <a:pt x="801873" y="1965485"/>
                  <a:pt x="803863" y="1959913"/>
                  <a:pt x="806649" y="1953546"/>
                </a:cubicBezTo>
                <a:cubicBezTo>
                  <a:pt x="798690" y="1950363"/>
                  <a:pt x="791924" y="1947577"/>
                  <a:pt x="784363" y="1944393"/>
                </a:cubicBezTo>
                <a:close/>
                <a:moveTo>
                  <a:pt x="850423" y="1912159"/>
                </a:moveTo>
                <a:cubicBezTo>
                  <a:pt x="847240" y="1918924"/>
                  <a:pt x="845250" y="1923700"/>
                  <a:pt x="842066" y="1930863"/>
                </a:cubicBezTo>
                <a:cubicBezTo>
                  <a:pt x="850821" y="1934444"/>
                  <a:pt x="857586" y="1936832"/>
                  <a:pt x="865148" y="1939618"/>
                </a:cubicBezTo>
                <a:cubicBezTo>
                  <a:pt x="867933" y="1932455"/>
                  <a:pt x="869923" y="1927679"/>
                  <a:pt x="872311" y="1921710"/>
                </a:cubicBezTo>
                <a:cubicBezTo>
                  <a:pt x="864750" y="1918526"/>
                  <a:pt x="857984" y="1915343"/>
                  <a:pt x="850423" y="1912159"/>
                </a:cubicBezTo>
                <a:close/>
                <a:moveTo>
                  <a:pt x="3665933" y="1871568"/>
                </a:moveTo>
                <a:cubicBezTo>
                  <a:pt x="3681453" y="1906986"/>
                  <a:pt x="3696576" y="1941608"/>
                  <a:pt x="3711698" y="1976229"/>
                </a:cubicBezTo>
                <a:cubicBezTo>
                  <a:pt x="3714086" y="1976229"/>
                  <a:pt x="3716075" y="1975832"/>
                  <a:pt x="3718463" y="1975434"/>
                </a:cubicBezTo>
                <a:cubicBezTo>
                  <a:pt x="3718065" y="1970260"/>
                  <a:pt x="3718861" y="1964689"/>
                  <a:pt x="3717269" y="1959913"/>
                </a:cubicBezTo>
                <a:cubicBezTo>
                  <a:pt x="3689412" y="1886690"/>
                  <a:pt x="3680657" y="1871170"/>
                  <a:pt x="3665933" y="1871568"/>
                </a:cubicBezTo>
                <a:close/>
                <a:moveTo>
                  <a:pt x="3709708" y="1850875"/>
                </a:moveTo>
                <a:cubicBezTo>
                  <a:pt x="3708912" y="1853660"/>
                  <a:pt x="3707320" y="1857242"/>
                  <a:pt x="3708514" y="1859630"/>
                </a:cubicBezTo>
                <a:cubicBezTo>
                  <a:pt x="3723238" y="1893455"/>
                  <a:pt x="3738361" y="1926883"/>
                  <a:pt x="3754676" y="1963495"/>
                </a:cubicBezTo>
                <a:cubicBezTo>
                  <a:pt x="3758656" y="1958322"/>
                  <a:pt x="3762238" y="1955934"/>
                  <a:pt x="3761840" y="1954740"/>
                </a:cubicBezTo>
                <a:cubicBezTo>
                  <a:pt x="3747513" y="1920516"/>
                  <a:pt x="3733187" y="1886690"/>
                  <a:pt x="3718065" y="1852864"/>
                </a:cubicBezTo>
                <a:cubicBezTo>
                  <a:pt x="3717269" y="1851273"/>
                  <a:pt x="3712494" y="1851671"/>
                  <a:pt x="3709708" y="1850875"/>
                </a:cubicBezTo>
                <a:close/>
                <a:moveTo>
                  <a:pt x="3516701" y="1831375"/>
                </a:moveTo>
                <a:cubicBezTo>
                  <a:pt x="3502375" y="1839732"/>
                  <a:pt x="3490038" y="1846895"/>
                  <a:pt x="3478896" y="1853660"/>
                </a:cubicBezTo>
                <a:cubicBezTo>
                  <a:pt x="3507946" y="1912955"/>
                  <a:pt x="3535803" y="1971056"/>
                  <a:pt x="3564058" y="2028759"/>
                </a:cubicBezTo>
                <a:cubicBezTo>
                  <a:pt x="3566445" y="2027565"/>
                  <a:pt x="3568435" y="2026769"/>
                  <a:pt x="3570823" y="2025576"/>
                </a:cubicBezTo>
                <a:cubicBezTo>
                  <a:pt x="3548140" y="1976229"/>
                  <a:pt x="3525456" y="1926883"/>
                  <a:pt x="3502375" y="1877139"/>
                </a:cubicBezTo>
                <a:cubicBezTo>
                  <a:pt x="3510334" y="1872762"/>
                  <a:pt x="3517099" y="1869578"/>
                  <a:pt x="3525854" y="1864803"/>
                </a:cubicBezTo>
                <a:cubicBezTo>
                  <a:pt x="3550129" y="1916537"/>
                  <a:pt x="3573608" y="1966281"/>
                  <a:pt x="3597088" y="2016025"/>
                </a:cubicBezTo>
                <a:cubicBezTo>
                  <a:pt x="3599475" y="2014831"/>
                  <a:pt x="3601465" y="2014035"/>
                  <a:pt x="3603455" y="2012841"/>
                </a:cubicBezTo>
                <a:cubicBezTo>
                  <a:pt x="3581170" y="1949965"/>
                  <a:pt x="3550527" y="1890670"/>
                  <a:pt x="3516701" y="1831375"/>
                </a:cubicBezTo>
                <a:close/>
                <a:moveTo>
                  <a:pt x="3553711" y="1812671"/>
                </a:moveTo>
                <a:cubicBezTo>
                  <a:pt x="3551721" y="1813865"/>
                  <a:pt x="3549731" y="1814661"/>
                  <a:pt x="3547344" y="1815457"/>
                </a:cubicBezTo>
                <a:cubicBezTo>
                  <a:pt x="3577190" y="1876741"/>
                  <a:pt x="3606639" y="1938026"/>
                  <a:pt x="3636485" y="1999311"/>
                </a:cubicBezTo>
                <a:cubicBezTo>
                  <a:pt x="3638475" y="1998515"/>
                  <a:pt x="3640464" y="1997321"/>
                  <a:pt x="3642454" y="1996525"/>
                </a:cubicBezTo>
                <a:cubicBezTo>
                  <a:pt x="3613006" y="1935240"/>
                  <a:pt x="3583159" y="1873956"/>
                  <a:pt x="3553711" y="1812671"/>
                </a:cubicBezTo>
                <a:close/>
                <a:moveTo>
                  <a:pt x="3500783" y="1671000"/>
                </a:moveTo>
                <a:cubicBezTo>
                  <a:pt x="3488845" y="1679357"/>
                  <a:pt x="3478498" y="1686918"/>
                  <a:pt x="3466559" y="1695275"/>
                </a:cubicBezTo>
                <a:cubicBezTo>
                  <a:pt x="3474120" y="1705622"/>
                  <a:pt x="3480090" y="1713979"/>
                  <a:pt x="3486457" y="1722734"/>
                </a:cubicBezTo>
                <a:cubicBezTo>
                  <a:pt x="3498793" y="1714377"/>
                  <a:pt x="3509538" y="1707214"/>
                  <a:pt x="3520681" y="1699255"/>
                </a:cubicBezTo>
                <a:cubicBezTo>
                  <a:pt x="3513518" y="1688908"/>
                  <a:pt x="3507548" y="1680551"/>
                  <a:pt x="3500783" y="1671000"/>
                </a:cubicBezTo>
                <a:close/>
                <a:moveTo>
                  <a:pt x="3596690" y="1625236"/>
                </a:moveTo>
                <a:cubicBezTo>
                  <a:pt x="3584353" y="1633991"/>
                  <a:pt x="3574006" y="1641154"/>
                  <a:pt x="3562864" y="1649511"/>
                </a:cubicBezTo>
                <a:cubicBezTo>
                  <a:pt x="3570027" y="1659858"/>
                  <a:pt x="3576394" y="1669011"/>
                  <a:pt x="3583159" y="1678959"/>
                </a:cubicBezTo>
                <a:cubicBezTo>
                  <a:pt x="3595098" y="1671000"/>
                  <a:pt x="3605843" y="1663837"/>
                  <a:pt x="3617781" y="1655878"/>
                </a:cubicBezTo>
                <a:cubicBezTo>
                  <a:pt x="3610220" y="1645133"/>
                  <a:pt x="3603853" y="1635583"/>
                  <a:pt x="3596690" y="1625236"/>
                </a:cubicBezTo>
                <a:close/>
                <a:moveTo>
                  <a:pt x="3271165" y="1567135"/>
                </a:moveTo>
                <a:cubicBezTo>
                  <a:pt x="3268777" y="1569125"/>
                  <a:pt x="3266390" y="1571512"/>
                  <a:pt x="3264400" y="1573502"/>
                </a:cubicBezTo>
                <a:cubicBezTo>
                  <a:pt x="3277134" y="1586634"/>
                  <a:pt x="3289869" y="1599767"/>
                  <a:pt x="3302603" y="1612899"/>
                </a:cubicBezTo>
                <a:cubicBezTo>
                  <a:pt x="3304991" y="1610910"/>
                  <a:pt x="3306981" y="1608920"/>
                  <a:pt x="3308970" y="1606930"/>
                </a:cubicBezTo>
                <a:cubicBezTo>
                  <a:pt x="3296236" y="1593798"/>
                  <a:pt x="3283899" y="1580267"/>
                  <a:pt x="3271165" y="1567135"/>
                </a:cubicBezTo>
                <a:close/>
                <a:moveTo>
                  <a:pt x="3471335" y="1554002"/>
                </a:moveTo>
                <a:cubicBezTo>
                  <a:pt x="3459794" y="1563951"/>
                  <a:pt x="3449845" y="1571910"/>
                  <a:pt x="3439101" y="1581063"/>
                </a:cubicBezTo>
                <a:cubicBezTo>
                  <a:pt x="3446662" y="1590216"/>
                  <a:pt x="3453029" y="1598175"/>
                  <a:pt x="3460988" y="1608124"/>
                </a:cubicBezTo>
                <a:cubicBezTo>
                  <a:pt x="3472927" y="1598573"/>
                  <a:pt x="3482875" y="1590216"/>
                  <a:pt x="3493620" y="1581461"/>
                </a:cubicBezTo>
                <a:cubicBezTo>
                  <a:pt x="3485661" y="1571512"/>
                  <a:pt x="3478896" y="1563155"/>
                  <a:pt x="3471335" y="1554002"/>
                </a:cubicBezTo>
                <a:close/>
                <a:moveTo>
                  <a:pt x="674926" y="1529329"/>
                </a:moveTo>
                <a:cubicBezTo>
                  <a:pt x="650253" y="1571114"/>
                  <a:pt x="625978" y="1611706"/>
                  <a:pt x="601703" y="1653093"/>
                </a:cubicBezTo>
                <a:cubicBezTo>
                  <a:pt x="583000" y="1643144"/>
                  <a:pt x="565490" y="1633991"/>
                  <a:pt x="546388" y="1624042"/>
                </a:cubicBezTo>
                <a:cubicBezTo>
                  <a:pt x="542806" y="1632001"/>
                  <a:pt x="539623" y="1638368"/>
                  <a:pt x="537235" y="1645133"/>
                </a:cubicBezTo>
                <a:cubicBezTo>
                  <a:pt x="497440" y="1749795"/>
                  <a:pt x="481920" y="1857640"/>
                  <a:pt x="499430" y="1969066"/>
                </a:cubicBezTo>
                <a:cubicBezTo>
                  <a:pt x="521715" y="2113125"/>
                  <a:pt x="589765" y="2229725"/>
                  <a:pt x="711936" y="2311703"/>
                </a:cubicBezTo>
                <a:cubicBezTo>
                  <a:pt x="719099" y="2316876"/>
                  <a:pt x="727058" y="2320856"/>
                  <a:pt x="735813" y="2326029"/>
                </a:cubicBezTo>
                <a:cubicBezTo>
                  <a:pt x="742976" y="2286632"/>
                  <a:pt x="749343" y="2250020"/>
                  <a:pt x="756507" y="2208634"/>
                </a:cubicBezTo>
                <a:cubicBezTo>
                  <a:pt x="735017" y="2222164"/>
                  <a:pt x="719895" y="2220970"/>
                  <a:pt x="710344" y="2205848"/>
                </a:cubicBezTo>
                <a:cubicBezTo>
                  <a:pt x="696018" y="2205848"/>
                  <a:pt x="683284" y="2205848"/>
                  <a:pt x="667365" y="2205848"/>
                </a:cubicBezTo>
                <a:cubicBezTo>
                  <a:pt x="680498" y="2154910"/>
                  <a:pt x="692436" y="2108350"/>
                  <a:pt x="704773" y="2060595"/>
                </a:cubicBezTo>
                <a:cubicBezTo>
                  <a:pt x="687661" y="2054626"/>
                  <a:pt x="671345" y="2049055"/>
                  <a:pt x="654233" y="2043483"/>
                </a:cubicBezTo>
                <a:cubicBezTo>
                  <a:pt x="659008" y="2027963"/>
                  <a:pt x="662988" y="2014433"/>
                  <a:pt x="667365" y="2000107"/>
                </a:cubicBezTo>
                <a:cubicBezTo>
                  <a:pt x="653437" y="1994933"/>
                  <a:pt x="641896" y="1990954"/>
                  <a:pt x="627172" y="1985382"/>
                </a:cubicBezTo>
                <a:cubicBezTo>
                  <a:pt x="645080" y="1938822"/>
                  <a:pt x="662590" y="1893853"/>
                  <a:pt x="680498" y="1848487"/>
                </a:cubicBezTo>
                <a:cubicBezTo>
                  <a:pt x="695620" y="1854854"/>
                  <a:pt x="707161" y="1859630"/>
                  <a:pt x="719497" y="1864803"/>
                </a:cubicBezTo>
                <a:cubicBezTo>
                  <a:pt x="727058" y="1849681"/>
                  <a:pt x="734221" y="1834956"/>
                  <a:pt x="741782" y="1819436"/>
                </a:cubicBezTo>
                <a:cubicBezTo>
                  <a:pt x="833311" y="1863211"/>
                  <a:pt x="922851" y="1905394"/>
                  <a:pt x="1012788" y="1948373"/>
                </a:cubicBezTo>
                <a:cubicBezTo>
                  <a:pt x="1018757" y="1935638"/>
                  <a:pt x="1024328" y="1924496"/>
                  <a:pt x="1029900" y="1912557"/>
                </a:cubicBezTo>
                <a:cubicBezTo>
                  <a:pt x="1004829" y="1899425"/>
                  <a:pt x="981747" y="1887486"/>
                  <a:pt x="956278" y="1874354"/>
                </a:cubicBezTo>
                <a:cubicBezTo>
                  <a:pt x="984533" y="1825804"/>
                  <a:pt x="1011196" y="1779641"/>
                  <a:pt x="1037859" y="1733479"/>
                </a:cubicBezTo>
                <a:cubicBezTo>
                  <a:pt x="1035471" y="1732285"/>
                  <a:pt x="1033481" y="1730693"/>
                  <a:pt x="1031094" y="1729499"/>
                </a:cubicBezTo>
                <a:cubicBezTo>
                  <a:pt x="1000849" y="1772080"/>
                  <a:pt x="976176" y="1818641"/>
                  <a:pt x="950309" y="1865201"/>
                </a:cubicBezTo>
                <a:cubicBezTo>
                  <a:pt x="922851" y="1851273"/>
                  <a:pt x="897382" y="1837742"/>
                  <a:pt x="870321" y="1823814"/>
                </a:cubicBezTo>
                <a:cubicBezTo>
                  <a:pt x="896586" y="1778049"/>
                  <a:pt x="921657" y="1734673"/>
                  <a:pt x="946728" y="1691296"/>
                </a:cubicBezTo>
                <a:cubicBezTo>
                  <a:pt x="945136" y="1689704"/>
                  <a:pt x="943942" y="1688112"/>
                  <a:pt x="942350" y="1686520"/>
                </a:cubicBezTo>
                <a:cubicBezTo>
                  <a:pt x="938371" y="1690102"/>
                  <a:pt x="933197" y="1692490"/>
                  <a:pt x="930412" y="1696867"/>
                </a:cubicBezTo>
                <a:cubicBezTo>
                  <a:pt x="907330" y="1735071"/>
                  <a:pt x="885045" y="1773274"/>
                  <a:pt x="861566" y="1812671"/>
                </a:cubicBezTo>
                <a:cubicBezTo>
                  <a:pt x="836893" y="1799937"/>
                  <a:pt x="811822" y="1786804"/>
                  <a:pt x="785955" y="1773274"/>
                </a:cubicBezTo>
                <a:cubicBezTo>
                  <a:pt x="789935" y="1765713"/>
                  <a:pt x="792720" y="1759744"/>
                  <a:pt x="795904" y="1754172"/>
                </a:cubicBezTo>
                <a:cubicBezTo>
                  <a:pt x="814608" y="1721142"/>
                  <a:pt x="834107" y="1688908"/>
                  <a:pt x="852413" y="1655878"/>
                </a:cubicBezTo>
                <a:cubicBezTo>
                  <a:pt x="854403" y="1652297"/>
                  <a:pt x="852413" y="1646327"/>
                  <a:pt x="852413" y="1641552"/>
                </a:cubicBezTo>
                <a:cubicBezTo>
                  <a:pt x="848434" y="1643940"/>
                  <a:pt x="844056" y="1645531"/>
                  <a:pt x="840872" y="1648715"/>
                </a:cubicBezTo>
                <a:cubicBezTo>
                  <a:pt x="837689" y="1651899"/>
                  <a:pt x="835699" y="1656276"/>
                  <a:pt x="833311" y="1660256"/>
                </a:cubicBezTo>
                <a:cubicBezTo>
                  <a:pt x="814210" y="1692888"/>
                  <a:pt x="794710" y="1726316"/>
                  <a:pt x="774812" y="1760142"/>
                </a:cubicBezTo>
                <a:cubicBezTo>
                  <a:pt x="749343" y="1747009"/>
                  <a:pt x="725068" y="1733877"/>
                  <a:pt x="699202" y="1720346"/>
                </a:cubicBezTo>
                <a:cubicBezTo>
                  <a:pt x="722681" y="1680949"/>
                  <a:pt x="744170" y="1643940"/>
                  <a:pt x="766058" y="1606930"/>
                </a:cubicBezTo>
                <a:cubicBezTo>
                  <a:pt x="772823" y="1595389"/>
                  <a:pt x="772425" y="1595389"/>
                  <a:pt x="756905" y="1589420"/>
                </a:cubicBezTo>
                <a:cubicBezTo>
                  <a:pt x="733823" y="1628419"/>
                  <a:pt x="711140" y="1667419"/>
                  <a:pt x="687661" y="1707214"/>
                </a:cubicBezTo>
                <a:cubicBezTo>
                  <a:pt x="662988" y="1694082"/>
                  <a:pt x="639907" y="1681745"/>
                  <a:pt x="614836" y="1668215"/>
                </a:cubicBezTo>
                <a:cubicBezTo>
                  <a:pt x="640305" y="1624440"/>
                  <a:pt x="664978" y="1582257"/>
                  <a:pt x="689651" y="1539278"/>
                </a:cubicBezTo>
                <a:cubicBezTo>
                  <a:pt x="684875" y="1536095"/>
                  <a:pt x="680896" y="1533309"/>
                  <a:pt x="674926" y="1529329"/>
                </a:cubicBezTo>
                <a:close/>
                <a:moveTo>
                  <a:pt x="3598679" y="1527340"/>
                </a:moveTo>
                <a:cubicBezTo>
                  <a:pt x="3586741" y="1536493"/>
                  <a:pt x="3576394" y="1544452"/>
                  <a:pt x="3566047" y="1552809"/>
                </a:cubicBezTo>
                <a:cubicBezTo>
                  <a:pt x="3574006" y="1563553"/>
                  <a:pt x="3580772" y="1572308"/>
                  <a:pt x="3588731" y="1583053"/>
                </a:cubicBezTo>
                <a:cubicBezTo>
                  <a:pt x="3601067" y="1573900"/>
                  <a:pt x="3611016" y="1565941"/>
                  <a:pt x="3622159" y="1557584"/>
                </a:cubicBezTo>
                <a:cubicBezTo>
                  <a:pt x="3613404" y="1546441"/>
                  <a:pt x="3606240" y="1537288"/>
                  <a:pt x="3598679" y="1527340"/>
                </a:cubicBezTo>
                <a:close/>
                <a:moveTo>
                  <a:pt x="1238426" y="1470433"/>
                </a:moveTo>
                <a:cubicBezTo>
                  <a:pt x="1230865" y="1479187"/>
                  <a:pt x="1222906" y="1487942"/>
                  <a:pt x="1213355" y="1498289"/>
                </a:cubicBezTo>
                <a:cubicBezTo>
                  <a:pt x="1220519" y="1504258"/>
                  <a:pt x="1227682" y="1510228"/>
                  <a:pt x="1236437" y="1517391"/>
                </a:cubicBezTo>
                <a:cubicBezTo>
                  <a:pt x="1243600" y="1509432"/>
                  <a:pt x="1251559" y="1500279"/>
                  <a:pt x="1260712" y="1489932"/>
                </a:cubicBezTo>
                <a:cubicBezTo>
                  <a:pt x="1254742" y="1484361"/>
                  <a:pt x="1247579" y="1478392"/>
                  <a:pt x="1238426" y="1470433"/>
                </a:cubicBezTo>
                <a:close/>
                <a:moveTo>
                  <a:pt x="3599873" y="1447749"/>
                </a:moveTo>
                <a:cubicBezTo>
                  <a:pt x="3588731" y="1457300"/>
                  <a:pt x="3578782" y="1465657"/>
                  <a:pt x="3567639" y="1474412"/>
                </a:cubicBezTo>
                <a:cubicBezTo>
                  <a:pt x="3576394" y="1485157"/>
                  <a:pt x="3583557" y="1493912"/>
                  <a:pt x="3591914" y="1504258"/>
                </a:cubicBezTo>
                <a:cubicBezTo>
                  <a:pt x="3603057" y="1495504"/>
                  <a:pt x="3613404" y="1487146"/>
                  <a:pt x="3624546" y="1478392"/>
                </a:cubicBezTo>
                <a:cubicBezTo>
                  <a:pt x="3615791" y="1468045"/>
                  <a:pt x="3608230" y="1458494"/>
                  <a:pt x="3599873" y="1447749"/>
                </a:cubicBezTo>
                <a:close/>
                <a:moveTo>
                  <a:pt x="1199029" y="1428648"/>
                </a:moveTo>
                <a:cubicBezTo>
                  <a:pt x="1188682" y="1437402"/>
                  <a:pt x="1179132" y="1444964"/>
                  <a:pt x="1171173" y="1451331"/>
                </a:cubicBezTo>
                <a:cubicBezTo>
                  <a:pt x="1180723" y="1462076"/>
                  <a:pt x="1188285" y="1470830"/>
                  <a:pt x="1195050" y="1478392"/>
                </a:cubicBezTo>
                <a:cubicBezTo>
                  <a:pt x="1204998" y="1469239"/>
                  <a:pt x="1213753" y="1461280"/>
                  <a:pt x="1224100" y="1451729"/>
                </a:cubicBezTo>
                <a:cubicBezTo>
                  <a:pt x="1214947" y="1443372"/>
                  <a:pt x="1206590" y="1435413"/>
                  <a:pt x="1199029" y="1428648"/>
                </a:cubicBezTo>
                <a:close/>
                <a:moveTo>
                  <a:pt x="2320068" y="1391331"/>
                </a:moveTo>
                <a:cubicBezTo>
                  <a:pt x="2169068" y="1386651"/>
                  <a:pt x="2013438" y="1410939"/>
                  <a:pt x="1854058" y="1462871"/>
                </a:cubicBezTo>
                <a:cubicBezTo>
                  <a:pt x="1550421" y="1561962"/>
                  <a:pt x="1331149" y="1763723"/>
                  <a:pt x="1206192" y="2059799"/>
                </a:cubicBezTo>
                <a:cubicBezTo>
                  <a:pt x="1102725" y="2304540"/>
                  <a:pt x="1082827" y="2558433"/>
                  <a:pt x="1138541" y="2818296"/>
                </a:cubicBezTo>
                <a:cubicBezTo>
                  <a:pt x="1189876" y="3056669"/>
                  <a:pt x="1301303" y="3261614"/>
                  <a:pt x="1487544" y="3421591"/>
                </a:cubicBezTo>
                <a:cubicBezTo>
                  <a:pt x="1709999" y="3613006"/>
                  <a:pt x="1972648" y="3695382"/>
                  <a:pt x="2232510" y="3699760"/>
                </a:cubicBezTo>
                <a:cubicBezTo>
                  <a:pt x="2379753" y="3699361"/>
                  <a:pt x="2495159" y="3685035"/>
                  <a:pt x="2608177" y="3651607"/>
                </a:cubicBezTo>
                <a:cubicBezTo>
                  <a:pt x="2922957" y="3559680"/>
                  <a:pt x="3164912" y="3375827"/>
                  <a:pt x="3310164" y="3078159"/>
                </a:cubicBezTo>
                <a:cubicBezTo>
                  <a:pt x="3434325" y="2823867"/>
                  <a:pt x="3461784" y="2556046"/>
                  <a:pt x="3402091" y="2279469"/>
                </a:cubicBezTo>
                <a:cubicBezTo>
                  <a:pt x="3348765" y="2031943"/>
                  <a:pt x="3232166" y="1819436"/>
                  <a:pt x="3032394" y="1662245"/>
                </a:cubicBezTo>
                <a:cubicBezTo>
                  <a:pt x="2810536" y="1487395"/>
                  <a:pt x="2571734" y="1399131"/>
                  <a:pt x="2320068" y="1391331"/>
                </a:cubicBezTo>
                <a:close/>
                <a:moveTo>
                  <a:pt x="3350357" y="1378904"/>
                </a:moveTo>
                <a:cubicBezTo>
                  <a:pt x="3337225" y="1393628"/>
                  <a:pt x="3327276" y="1405168"/>
                  <a:pt x="3316531" y="1417107"/>
                </a:cubicBezTo>
                <a:cubicBezTo>
                  <a:pt x="3327674" y="1427454"/>
                  <a:pt x="3336429" y="1435811"/>
                  <a:pt x="3345184" y="1443770"/>
                </a:cubicBezTo>
                <a:cubicBezTo>
                  <a:pt x="3357520" y="1432229"/>
                  <a:pt x="3368663" y="1422280"/>
                  <a:pt x="3379806" y="1411138"/>
                </a:cubicBezTo>
                <a:cubicBezTo>
                  <a:pt x="3369857" y="1399995"/>
                  <a:pt x="3361102" y="1390444"/>
                  <a:pt x="3350357" y="1378904"/>
                </a:cubicBezTo>
                <a:close/>
                <a:moveTo>
                  <a:pt x="1431831" y="1376914"/>
                </a:moveTo>
                <a:cubicBezTo>
                  <a:pt x="1422280" y="1384077"/>
                  <a:pt x="1411933" y="1391240"/>
                  <a:pt x="1402383" y="1399199"/>
                </a:cubicBezTo>
                <a:cubicBezTo>
                  <a:pt x="1399995" y="1401189"/>
                  <a:pt x="1399597" y="1405566"/>
                  <a:pt x="1398403" y="1408352"/>
                </a:cubicBezTo>
                <a:cubicBezTo>
                  <a:pt x="1401985" y="1408352"/>
                  <a:pt x="1406760" y="1409148"/>
                  <a:pt x="1409546" y="1407556"/>
                </a:cubicBezTo>
                <a:cubicBezTo>
                  <a:pt x="1417903" y="1402383"/>
                  <a:pt x="1425862" y="1396413"/>
                  <a:pt x="1433025" y="1390046"/>
                </a:cubicBezTo>
                <a:cubicBezTo>
                  <a:pt x="1435413" y="1387658"/>
                  <a:pt x="1435811" y="1383281"/>
                  <a:pt x="1437402" y="1379699"/>
                </a:cubicBezTo>
                <a:cubicBezTo>
                  <a:pt x="1435811" y="1378904"/>
                  <a:pt x="1433821" y="1377710"/>
                  <a:pt x="1431831" y="1376914"/>
                </a:cubicBezTo>
                <a:close/>
                <a:moveTo>
                  <a:pt x="3303399" y="1340302"/>
                </a:moveTo>
                <a:cubicBezTo>
                  <a:pt x="3292257" y="1353435"/>
                  <a:pt x="3282308" y="1364975"/>
                  <a:pt x="3271961" y="1377312"/>
                </a:cubicBezTo>
                <a:cubicBezTo>
                  <a:pt x="3282706" y="1386863"/>
                  <a:pt x="3292654" y="1395220"/>
                  <a:pt x="3303001" y="1404373"/>
                </a:cubicBezTo>
                <a:cubicBezTo>
                  <a:pt x="3314144" y="1391638"/>
                  <a:pt x="3324491" y="1380495"/>
                  <a:pt x="3335633" y="1368557"/>
                </a:cubicBezTo>
                <a:cubicBezTo>
                  <a:pt x="3324093" y="1358608"/>
                  <a:pt x="3314144" y="1349455"/>
                  <a:pt x="3303399" y="1340302"/>
                </a:cubicBezTo>
                <a:close/>
                <a:moveTo>
                  <a:pt x="1285385" y="1337517"/>
                </a:moveTo>
                <a:cubicBezTo>
                  <a:pt x="1274640" y="1346272"/>
                  <a:pt x="1265487" y="1354231"/>
                  <a:pt x="1255538" y="1362986"/>
                </a:cubicBezTo>
                <a:cubicBezTo>
                  <a:pt x="1263099" y="1371740"/>
                  <a:pt x="1269467" y="1379301"/>
                  <a:pt x="1277426" y="1388454"/>
                </a:cubicBezTo>
                <a:cubicBezTo>
                  <a:pt x="1288170" y="1378904"/>
                  <a:pt x="1297323" y="1370945"/>
                  <a:pt x="1306476" y="1362588"/>
                </a:cubicBezTo>
                <a:cubicBezTo>
                  <a:pt x="1298517" y="1353435"/>
                  <a:pt x="1292548" y="1345874"/>
                  <a:pt x="1285385" y="1337517"/>
                </a:cubicBezTo>
                <a:close/>
                <a:moveTo>
                  <a:pt x="1111082" y="1327966"/>
                </a:moveTo>
                <a:cubicBezTo>
                  <a:pt x="1099541" y="1338312"/>
                  <a:pt x="1089990" y="1347465"/>
                  <a:pt x="1082031" y="1355027"/>
                </a:cubicBezTo>
                <a:cubicBezTo>
                  <a:pt x="1090388" y="1364975"/>
                  <a:pt x="1097551" y="1373332"/>
                  <a:pt x="1106306" y="1384077"/>
                </a:cubicBezTo>
                <a:cubicBezTo>
                  <a:pt x="1116255" y="1372934"/>
                  <a:pt x="1124612" y="1362986"/>
                  <a:pt x="1134163" y="1352241"/>
                </a:cubicBezTo>
                <a:cubicBezTo>
                  <a:pt x="1127000" y="1344680"/>
                  <a:pt x="1119041" y="1336323"/>
                  <a:pt x="1111082" y="1327966"/>
                </a:cubicBezTo>
                <a:close/>
                <a:moveTo>
                  <a:pt x="3398908" y="1327568"/>
                </a:moveTo>
                <a:cubicBezTo>
                  <a:pt x="3386571" y="1341098"/>
                  <a:pt x="3376224" y="1352241"/>
                  <a:pt x="3364684" y="1364577"/>
                </a:cubicBezTo>
                <a:cubicBezTo>
                  <a:pt x="3375826" y="1375322"/>
                  <a:pt x="3385775" y="1384475"/>
                  <a:pt x="3393734" y="1392036"/>
                </a:cubicBezTo>
                <a:cubicBezTo>
                  <a:pt x="3406071" y="1380097"/>
                  <a:pt x="3416815" y="1369751"/>
                  <a:pt x="3426764" y="1360200"/>
                </a:cubicBezTo>
                <a:cubicBezTo>
                  <a:pt x="3418009" y="1349853"/>
                  <a:pt x="3408856" y="1339506"/>
                  <a:pt x="3398908" y="1327568"/>
                </a:cubicBezTo>
                <a:close/>
                <a:moveTo>
                  <a:pt x="3256043" y="1300905"/>
                </a:moveTo>
                <a:cubicBezTo>
                  <a:pt x="3244900" y="1314833"/>
                  <a:pt x="3235747" y="1326374"/>
                  <a:pt x="3225798" y="1338710"/>
                </a:cubicBezTo>
                <a:cubicBezTo>
                  <a:pt x="3236941" y="1347863"/>
                  <a:pt x="3246890" y="1355822"/>
                  <a:pt x="3258032" y="1364975"/>
                </a:cubicBezTo>
                <a:cubicBezTo>
                  <a:pt x="3269175" y="1351445"/>
                  <a:pt x="3278726" y="1339904"/>
                  <a:pt x="3289471" y="1327170"/>
                </a:cubicBezTo>
                <a:cubicBezTo>
                  <a:pt x="3277532" y="1318017"/>
                  <a:pt x="3267185" y="1309660"/>
                  <a:pt x="3256043" y="1300905"/>
                </a:cubicBezTo>
                <a:close/>
                <a:moveTo>
                  <a:pt x="1247181" y="1289762"/>
                </a:moveTo>
                <a:cubicBezTo>
                  <a:pt x="1235641" y="1299711"/>
                  <a:pt x="1226090" y="1308068"/>
                  <a:pt x="1215743" y="1316823"/>
                </a:cubicBezTo>
                <a:cubicBezTo>
                  <a:pt x="1224498" y="1326772"/>
                  <a:pt x="1231661" y="1335129"/>
                  <a:pt x="1240416" y="1345078"/>
                </a:cubicBezTo>
                <a:cubicBezTo>
                  <a:pt x="1251559" y="1335527"/>
                  <a:pt x="1260712" y="1327568"/>
                  <a:pt x="1271059" y="1319211"/>
                </a:cubicBezTo>
                <a:cubicBezTo>
                  <a:pt x="1262702" y="1308864"/>
                  <a:pt x="1255538" y="1300109"/>
                  <a:pt x="1247181" y="1289762"/>
                </a:cubicBezTo>
                <a:close/>
                <a:moveTo>
                  <a:pt x="1533309" y="1288171"/>
                </a:moveTo>
                <a:cubicBezTo>
                  <a:pt x="1524952" y="1293344"/>
                  <a:pt x="1518187" y="1297323"/>
                  <a:pt x="1509432" y="1302497"/>
                </a:cubicBezTo>
                <a:cubicBezTo>
                  <a:pt x="1516197" y="1313639"/>
                  <a:pt x="1522166" y="1323190"/>
                  <a:pt x="1528533" y="1333537"/>
                </a:cubicBezTo>
                <a:cubicBezTo>
                  <a:pt x="1536890" y="1327966"/>
                  <a:pt x="1543656" y="1323588"/>
                  <a:pt x="1551615" y="1318813"/>
                </a:cubicBezTo>
                <a:cubicBezTo>
                  <a:pt x="1544849" y="1307670"/>
                  <a:pt x="1539278" y="1298119"/>
                  <a:pt x="1533309" y="1288171"/>
                </a:cubicBezTo>
                <a:close/>
                <a:moveTo>
                  <a:pt x="3349960" y="1285783"/>
                </a:moveTo>
                <a:cubicBezTo>
                  <a:pt x="3338817" y="1298517"/>
                  <a:pt x="3328868" y="1310456"/>
                  <a:pt x="3318123" y="1323190"/>
                </a:cubicBezTo>
                <a:cubicBezTo>
                  <a:pt x="3329664" y="1333139"/>
                  <a:pt x="3340011" y="1341894"/>
                  <a:pt x="3350755" y="1351047"/>
                </a:cubicBezTo>
                <a:cubicBezTo>
                  <a:pt x="3362296" y="1338312"/>
                  <a:pt x="3372245" y="1327170"/>
                  <a:pt x="3382990" y="1315231"/>
                </a:cubicBezTo>
                <a:cubicBezTo>
                  <a:pt x="3371449" y="1305283"/>
                  <a:pt x="3361500" y="1296130"/>
                  <a:pt x="3349960" y="1285783"/>
                </a:cubicBezTo>
                <a:close/>
                <a:moveTo>
                  <a:pt x="1071685" y="1285783"/>
                </a:moveTo>
                <a:cubicBezTo>
                  <a:pt x="1060542" y="1297323"/>
                  <a:pt x="1050991" y="1306874"/>
                  <a:pt x="1042634" y="1315231"/>
                </a:cubicBezTo>
                <a:cubicBezTo>
                  <a:pt x="1049797" y="1322792"/>
                  <a:pt x="1057358" y="1330751"/>
                  <a:pt x="1064521" y="1338710"/>
                </a:cubicBezTo>
                <a:cubicBezTo>
                  <a:pt x="1074072" y="1329557"/>
                  <a:pt x="1083623" y="1320803"/>
                  <a:pt x="1094766" y="1310058"/>
                </a:cubicBezTo>
                <a:cubicBezTo>
                  <a:pt x="1086011" y="1300507"/>
                  <a:pt x="1078848" y="1293344"/>
                  <a:pt x="1071685" y="1285783"/>
                </a:cubicBezTo>
                <a:close/>
                <a:moveTo>
                  <a:pt x="1352639" y="1282599"/>
                </a:moveTo>
                <a:cubicBezTo>
                  <a:pt x="1339506" y="1292548"/>
                  <a:pt x="1330751" y="1299313"/>
                  <a:pt x="1320007" y="1307272"/>
                </a:cubicBezTo>
                <a:cubicBezTo>
                  <a:pt x="1339904" y="1332741"/>
                  <a:pt x="1358608" y="1357016"/>
                  <a:pt x="1378108" y="1382485"/>
                </a:cubicBezTo>
                <a:cubicBezTo>
                  <a:pt x="1392036" y="1372536"/>
                  <a:pt x="1403974" y="1363383"/>
                  <a:pt x="1421086" y="1350649"/>
                </a:cubicBezTo>
                <a:cubicBezTo>
                  <a:pt x="1396413" y="1326374"/>
                  <a:pt x="1374526" y="1304487"/>
                  <a:pt x="1352639" y="1282599"/>
                </a:cubicBezTo>
                <a:close/>
                <a:moveTo>
                  <a:pt x="3446264" y="1276630"/>
                </a:moveTo>
                <a:cubicBezTo>
                  <a:pt x="3434325" y="1289364"/>
                  <a:pt x="3424376" y="1300109"/>
                  <a:pt x="3414428" y="1310854"/>
                </a:cubicBezTo>
                <a:cubicBezTo>
                  <a:pt x="3424774" y="1322394"/>
                  <a:pt x="3434325" y="1332741"/>
                  <a:pt x="3442284" y="1341496"/>
                </a:cubicBezTo>
                <a:cubicBezTo>
                  <a:pt x="3455815" y="1329557"/>
                  <a:pt x="3466957" y="1319609"/>
                  <a:pt x="3479692" y="1308466"/>
                </a:cubicBezTo>
                <a:cubicBezTo>
                  <a:pt x="3468151" y="1297721"/>
                  <a:pt x="3457407" y="1287375"/>
                  <a:pt x="3446264" y="1276630"/>
                </a:cubicBezTo>
                <a:close/>
                <a:moveTo>
                  <a:pt x="1473616" y="1273446"/>
                </a:moveTo>
                <a:cubicBezTo>
                  <a:pt x="1464463" y="1279416"/>
                  <a:pt x="1457300" y="1284191"/>
                  <a:pt x="1449341" y="1289364"/>
                </a:cubicBezTo>
                <a:cubicBezTo>
                  <a:pt x="1456902" y="1300109"/>
                  <a:pt x="1462871" y="1309262"/>
                  <a:pt x="1469637" y="1319211"/>
                </a:cubicBezTo>
                <a:cubicBezTo>
                  <a:pt x="1478789" y="1313242"/>
                  <a:pt x="1485555" y="1308864"/>
                  <a:pt x="1493116" y="1303691"/>
                </a:cubicBezTo>
                <a:cubicBezTo>
                  <a:pt x="1486351" y="1293344"/>
                  <a:pt x="1480779" y="1284191"/>
                  <a:pt x="1473616" y="1273446"/>
                </a:cubicBezTo>
                <a:close/>
                <a:moveTo>
                  <a:pt x="907579" y="1265239"/>
                </a:moveTo>
                <a:cubicBezTo>
                  <a:pt x="892507" y="1263597"/>
                  <a:pt x="876091" y="1273248"/>
                  <a:pt x="843260" y="1292548"/>
                </a:cubicBezTo>
                <a:cubicBezTo>
                  <a:pt x="842066" y="1292946"/>
                  <a:pt x="840872" y="1294140"/>
                  <a:pt x="840077" y="1294936"/>
                </a:cubicBezTo>
                <a:cubicBezTo>
                  <a:pt x="840872" y="1303293"/>
                  <a:pt x="839679" y="1310854"/>
                  <a:pt x="835301" y="1316425"/>
                </a:cubicBezTo>
                <a:cubicBezTo>
                  <a:pt x="810628" y="1347465"/>
                  <a:pt x="785557" y="1378506"/>
                  <a:pt x="760884" y="1409546"/>
                </a:cubicBezTo>
                <a:cubicBezTo>
                  <a:pt x="759690" y="1411138"/>
                  <a:pt x="759292" y="1413127"/>
                  <a:pt x="758098" y="1416311"/>
                </a:cubicBezTo>
                <a:cubicBezTo>
                  <a:pt x="762874" y="1419097"/>
                  <a:pt x="767649" y="1421882"/>
                  <a:pt x="771629" y="1424270"/>
                </a:cubicBezTo>
                <a:cubicBezTo>
                  <a:pt x="803067" y="1385669"/>
                  <a:pt x="832913" y="1349057"/>
                  <a:pt x="863954" y="1311252"/>
                </a:cubicBezTo>
                <a:cubicBezTo>
                  <a:pt x="885841" y="1330751"/>
                  <a:pt x="906137" y="1348261"/>
                  <a:pt x="926034" y="1365771"/>
                </a:cubicBezTo>
                <a:cubicBezTo>
                  <a:pt x="896586" y="1402383"/>
                  <a:pt x="868729" y="1437005"/>
                  <a:pt x="840475" y="1472024"/>
                </a:cubicBezTo>
                <a:cubicBezTo>
                  <a:pt x="842066" y="1474412"/>
                  <a:pt x="843658" y="1476800"/>
                  <a:pt x="845250" y="1479187"/>
                </a:cubicBezTo>
                <a:cubicBezTo>
                  <a:pt x="850821" y="1476402"/>
                  <a:pt x="858382" y="1475208"/>
                  <a:pt x="861964" y="1470830"/>
                </a:cubicBezTo>
                <a:cubicBezTo>
                  <a:pt x="889025" y="1438198"/>
                  <a:pt x="915289" y="1405168"/>
                  <a:pt x="942748" y="1371342"/>
                </a:cubicBezTo>
                <a:cubicBezTo>
                  <a:pt x="965431" y="1391240"/>
                  <a:pt x="985727" y="1409546"/>
                  <a:pt x="1006420" y="1427852"/>
                </a:cubicBezTo>
                <a:cubicBezTo>
                  <a:pt x="978962" y="1461678"/>
                  <a:pt x="953493" y="1493514"/>
                  <a:pt x="927626" y="1525350"/>
                </a:cubicBezTo>
                <a:cubicBezTo>
                  <a:pt x="921657" y="1532115"/>
                  <a:pt x="915687" y="1539278"/>
                  <a:pt x="930014" y="1543656"/>
                </a:cubicBezTo>
                <a:cubicBezTo>
                  <a:pt x="960258" y="1507044"/>
                  <a:pt x="990502" y="1470433"/>
                  <a:pt x="1021543" y="1433025"/>
                </a:cubicBezTo>
                <a:cubicBezTo>
                  <a:pt x="1044624" y="1453719"/>
                  <a:pt x="1064919" y="1472024"/>
                  <a:pt x="1086409" y="1491126"/>
                </a:cubicBezTo>
                <a:cubicBezTo>
                  <a:pt x="1081235" y="1497493"/>
                  <a:pt x="1076858" y="1502269"/>
                  <a:pt x="1072879" y="1507442"/>
                </a:cubicBezTo>
                <a:cubicBezTo>
                  <a:pt x="1049399" y="1536493"/>
                  <a:pt x="1025920" y="1565145"/>
                  <a:pt x="1002839" y="1594196"/>
                </a:cubicBezTo>
                <a:cubicBezTo>
                  <a:pt x="999655" y="1598175"/>
                  <a:pt x="999257" y="1604144"/>
                  <a:pt x="997666" y="1609318"/>
                </a:cubicBezTo>
                <a:cubicBezTo>
                  <a:pt x="999655" y="1610114"/>
                  <a:pt x="1001247" y="1610512"/>
                  <a:pt x="1003237" y="1611308"/>
                </a:cubicBezTo>
                <a:cubicBezTo>
                  <a:pt x="1034675" y="1572706"/>
                  <a:pt x="1066511" y="1534105"/>
                  <a:pt x="1099143" y="1494708"/>
                </a:cubicBezTo>
                <a:cubicBezTo>
                  <a:pt x="1122622" y="1515799"/>
                  <a:pt x="1143714" y="1534503"/>
                  <a:pt x="1165999" y="1554798"/>
                </a:cubicBezTo>
                <a:cubicBezTo>
                  <a:pt x="1152469" y="1570716"/>
                  <a:pt x="1140928" y="1583849"/>
                  <a:pt x="1129388" y="1597777"/>
                </a:cubicBezTo>
                <a:cubicBezTo>
                  <a:pt x="1118245" y="1610910"/>
                  <a:pt x="1107102" y="1623644"/>
                  <a:pt x="1097153" y="1637970"/>
                </a:cubicBezTo>
                <a:cubicBezTo>
                  <a:pt x="1088001" y="1651103"/>
                  <a:pt x="1073276" y="1661847"/>
                  <a:pt x="1075266" y="1681347"/>
                </a:cubicBezTo>
                <a:cubicBezTo>
                  <a:pt x="1108694" y="1640358"/>
                  <a:pt x="1142520" y="1598971"/>
                  <a:pt x="1178336" y="1557982"/>
                </a:cubicBezTo>
                <a:cubicBezTo>
                  <a:pt x="1200223" y="1577482"/>
                  <a:pt x="1219723" y="1594991"/>
                  <a:pt x="1240416" y="1613695"/>
                </a:cubicBezTo>
                <a:cubicBezTo>
                  <a:pt x="1248773" y="1604940"/>
                  <a:pt x="1255538" y="1597379"/>
                  <a:pt x="1263099" y="1589022"/>
                </a:cubicBezTo>
                <a:cubicBezTo>
                  <a:pt x="1255936" y="1582655"/>
                  <a:pt x="1250365" y="1577880"/>
                  <a:pt x="1245192" y="1572706"/>
                </a:cubicBezTo>
                <a:cubicBezTo>
                  <a:pt x="1151275" y="1483565"/>
                  <a:pt x="1057358" y="1394822"/>
                  <a:pt x="963840" y="1305680"/>
                </a:cubicBezTo>
                <a:cubicBezTo>
                  <a:pt x="936381" y="1279814"/>
                  <a:pt x="922652" y="1266880"/>
                  <a:pt x="907579" y="1265239"/>
                </a:cubicBezTo>
                <a:close/>
                <a:moveTo>
                  <a:pt x="3207493" y="1263100"/>
                </a:moveTo>
                <a:cubicBezTo>
                  <a:pt x="3197146" y="1277426"/>
                  <a:pt x="3187993" y="1290160"/>
                  <a:pt x="3178840" y="1302497"/>
                </a:cubicBezTo>
                <a:cubicBezTo>
                  <a:pt x="3191177" y="1312048"/>
                  <a:pt x="3200728" y="1319211"/>
                  <a:pt x="3211472" y="1327170"/>
                </a:cubicBezTo>
                <a:cubicBezTo>
                  <a:pt x="3221421" y="1314037"/>
                  <a:pt x="3230972" y="1302099"/>
                  <a:pt x="3241318" y="1288568"/>
                </a:cubicBezTo>
                <a:cubicBezTo>
                  <a:pt x="3229778" y="1279813"/>
                  <a:pt x="3219431" y="1271854"/>
                  <a:pt x="3207493" y="1263100"/>
                </a:cubicBezTo>
                <a:close/>
                <a:moveTo>
                  <a:pt x="1414719" y="1254345"/>
                </a:moveTo>
                <a:cubicBezTo>
                  <a:pt x="1405566" y="1260712"/>
                  <a:pt x="1398403" y="1265487"/>
                  <a:pt x="1389648" y="1271457"/>
                </a:cubicBezTo>
                <a:cubicBezTo>
                  <a:pt x="1397607" y="1281803"/>
                  <a:pt x="1404372" y="1291354"/>
                  <a:pt x="1411138" y="1300905"/>
                </a:cubicBezTo>
                <a:cubicBezTo>
                  <a:pt x="1419893" y="1294538"/>
                  <a:pt x="1427056" y="1289762"/>
                  <a:pt x="1434617" y="1284589"/>
                </a:cubicBezTo>
                <a:cubicBezTo>
                  <a:pt x="1427852" y="1273844"/>
                  <a:pt x="1421484" y="1264691"/>
                  <a:pt x="1414719" y="1254345"/>
                </a:cubicBezTo>
                <a:close/>
                <a:moveTo>
                  <a:pt x="1269467" y="1247977"/>
                </a:moveTo>
                <a:cubicBezTo>
                  <a:pt x="1268671" y="1249171"/>
                  <a:pt x="1267875" y="1250763"/>
                  <a:pt x="1267079" y="1251957"/>
                </a:cubicBezTo>
                <a:cubicBezTo>
                  <a:pt x="1278620" y="1266681"/>
                  <a:pt x="1289762" y="1281007"/>
                  <a:pt x="1302497" y="1297323"/>
                </a:cubicBezTo>
                <a:cubicBezTo>
                  <a:pt x="1312843" y="1289762"/>
                  <a:pt x="1320803" y="1283395"/>
                  <a:pt x="1331945" y="1274640"/>
                </a:cubicBezTo>
                <a:cubicBezTo>
                  <a:pt x="1308864" y="1264691"/>
                  <a:pt x="1288966" y="1256334"/>
                  <a:pt x="1269467" y="1247977"/>
                </a:cubicBezTo>
                <a:close/>
                <a:moveTo>
                  <a:pt x="3300216" y="1244794"/>
                </a:moveTo>
                <a:cubicBezTo>
                  <a:pt x="3289471" y="1258722"/>
                  <a:pt x="3280318" y="1270263"/>
                  <a:pt x="3269971" y="1283395"/>
                </a:cubicBezTo>
                <a:cubicBezTo>
                  <a:pt x="3281512" y="1292946"/>
                  <a:pt x="3292257" y="1301303"/>
                  <a:pt x="3303399" y="1310456"/>
                </a:cubicBezTo>
                <a:cubicBezTo>
                  <a:pt x="3314144" y="1297721"/>
                  <a:pt x="3323695" y="1286181"/>
                  <a:pt x="3334439" y="1273446"/>
                </a:cubicBezTo>
                <a:cubicBezTo>
                  <a:pt x="3323297" y="1263895"/>
                  <a:pt x="3312950" y="1255141"/>
                  <a:pt x="3300216" y="1244794"/>
                </a:cubicBezTo>
                <a:close/>
                <a:moveTo>
                  <a:pt x="3396122" y="1232457"/>
                </a:moveTo>
                <a:cubicBezTo>
                  <a:pt x="3384979" y="1245192"/>
                  <a:pt x="3375826" y="1256334"/>
                  <a:pt x="3364286" y="1269467"/>
                </a:cubicBezTo>
                <a:cubicBezTo>
                  <a:pt x="3376622" y="1280211"/>
                  <a:pt x="3387367" y="1289364"/>
                  <a:pt x="3398509" y="1299313"/>
                </a:cubicBezTo>
                <a:cubicBezTo>
                  <a:pt x="3410846" y="1285385"/>
                  <a:pt x="3420397" y="1274640"/>
                  <a:pt x="3431142" y="1262702"/>
                </a:cubicBezTo>
                <a:cubicBezTo>
                  <a:pt x="3418805" y="1251957"/>
                  <a:pt x="3407663" y="1242406"/>
                  <a:pt x="3396122" y="1232457"/>
                </a:cubicBezTo>
                <a:close/>
                <a:moveTo>
                  <a:pt x="3494814" y="1224100"/>
                </a:moveTo>
                <a:cubicBezTo>
                  <a:pt x="3482477" y="1237631"/>
                  <a:pt x="3472131" y="1248375"/>
                  <a:pt x="3460988" y="1260712"/>
                </a:cubicBezTo>
                <a:cubicBezTo>
                  <a:pt x="3472927" y="1271854"/>
                  <a:pt x="3483671" y="1282201"/>
                  <a:pt x="3493620" y="1291354"/>
                </a:cubicBezTo>
                <a:cubicBezTo>
                  <a:pt x="3506355" y="1279813"/>
                  <a:pt x="3517497" y="1269865"/>
                  <a:pt x="3528242" y="1259916"/>
                </a:cubicBezTo>
                <a:cubicBezTo>
                  <a:pt x="3516701" y="1247579"/>
                  <a:pt x="3506752" y="1236835"/>
                  <a:pt x="3494814" y="1224100"/>
                </a:cubicBezTo>
                <a:close/>
                <a:moveTo>
                  <a:pt x="1707612" y="1223304"/>
                </a:moveTo>
                <a:cubicBezTo>
                  <a:pt x="1695673" y="1228876"/>
                  <a:pt x="1685724" y="1233253"/>
                  <a:pt x="1674582" y="1238427"/>
                </a:cubicBezTo>
                <a:cubicBezTo>
                  <a:pt x="1680153" y="1250763"/>
                  <a:pt x="1685326" y="1261508"/>
                  <a:pt x="1690500" y="1273048"/>
                </a:cubicBezTo>
                <a:cubicBezTo>
                  <a:pt x="1702040" y="1267875"/>
                  <a:pt x="1711989" y="1263498"/>
                  <a:pt x="1722734" y="1258722"/>
                </a:cubicBezTo>
                <a:cubicBezTo>
                  <a:pt x="1717561" y="1245988"/>
                  <a:pt x="1713183" y="1236039"/>
                  <a:pt x="1707612" y="1223304"/>
                </a:cubicBezTo>
                <a:close/>
                <a:moveTo>
                  <a:pt x="1747009" y="1207386"/>
                </a:moveTo>
                <a:cubicBezTo>
                  <a:pt x="1735070" y="1212162"/>
                  <a:pt x="1725122" y="1216539"/>
                  <a:pt x="1713979" y="1221315"/>
                </a:cubicBezTo>
                <a:cubicBezTo>
                  <a:pt x="1718754" y="1233651"/>
                  <a:pt x="1723132" y="1244396"/>
                  <a:pt x="1728703" y="1257130"/>
                </a:cubicBezTo>
                <a:cubicBezTo>
                  <a:pt x="1740642" y="1251957"/>
                  <a:pt x="1750193" y="1247977"/>
                  <a:pt x="1761335" y="1243202"/>
                </a:cubicBezTo>
                <a:cubicBezTo>
                  <a:pt x="1756560" y="1230865"/>
                  <a:pt x="1751784" y="1219723"/>
                  <a:pt x="1747009" y="1207386"/>
                </a:cubicBezTo>
                <a:close/>
                <a:moveTo>
                  <a:pt x="3249278" y="1206590"/>
                </a:moveTo>
                <a:cubicBezTo>
                  <a:pt x="3239329" y="1220121"/>
                  <a:pt x="3230972" y="1231661"/>
                  <a:pt x="3220625" y="1245590"/>
                </a:cubicBezTo>
                <a:cubicBezTo>
                  <a:pt x="3232564" y="1254345"/>
                  <a:pt x="3243308" y="1262702"/>
                  <a:pt x="3254849" y="1271457"/>
                </a:cubicBezTo>
                <a:cubicBezTo>
                  <a:pt x="3265196" y="1257926"/>
                  <a:pt x="3274349" y="1245988"/>
                  <a:pt x="3285093" y="1233253"/>
                </a:cubicBezTo>
                <a:cubicBezTo>
                  <a:pt x="3272757" y="1224100"/>
                  <a:pt x="3261216" y="1215743"/>
                  <a:pt x="3249278" y="1206590"/>
                </a:cubicBezTo>
                <a:close/>
                <a:moveTo>
                  <a:pt x="1507840" y="1197438"/>
                </a:moveTo>
                <a:cubicBezTo>
                  <a:pt x="1498687" y="1202611"/>
                  <a:pt x="1491524" y="1206590"/>
                  <a:pt x="1481973" y="1212162"/>
                </a:cubicBezTo>
                <a:cubicBezTo>
                  <a:pt x="1488738" y="1223702"/>
                  <a:pt x="1494310" y="1232855"/>
                  <a:pt x="1500677" y="1243600"/>
                </a:cubicBezTo>
                <a:cubicBezTo>
                  <a:pt x="1510228" y="1238029"/>
                  <a:pt x="1517789" y="1233253"/>
                  <a:pt x="1525748" y="1228478"/>
                </a:cubicBezTo>
                <a:cubicBezTo>
                  <a:pt x="1519380" y="1216937"/>
                  <a:pt x="1513809" y="1207386"/>
                  <a:pt x="1507840" y="1197438"/>
                </a:cubicBezTo>
                <a:close/>
                <a:moveTo>
                  <a:pt x="1423872" y="1194254"/>
                </a:moveTo>
                <a:cubicBezTo>
                  <a:pt x="1414321" y="1200223"/>
                  <a:pt x="1407556" y="1204601"/>
                  <a:pt x="1398005" y="1210570"/>
                </a:cubicBezTo>
                <a:cubicBezTo>
                  <a:pt x="1405566" y="1221713"/>
                  <a:pt x="1411933" y="1230865"/>
                  <a:pt x="1418699" y="1240814"/>
                </a:cubicBezTo>
                <a:cubicBezTo>
                  <a:pt x="1428250" y="1234447"/>
                  <a:pt x="1435811" y="1229672"/>
                  <a:pt x="1443770" y="1224100"/>
                </a:cubicBezTo>
                <a:cubicBezTo>
                  <a:pt x="1436209" y="1212958"/>
                  <a:pt x="1430239" y="1204203"/>
                  <a:pt x="1423872" y="1194254"/>
                </a:cubicBezTo>
                <a:close/>
                <a:moveTo>
                  <a:pt x="1786804" y="1192264"/>
                </a:moveTo>
                <a:cubicBezTo>
                  <a:pt x="1774468" y="1197438"/>
                  <a:pt x="1764121" y="1201417"/>
                  <a:pt x="1753376" y="1205795"/>
                </a:cubicBezTo>
                <a:cubicBezTo>
                  <a:pt x="1758152" y="1218131"/>
                  <a:pt x="1762131" y="1228876"/>
                  <a:pt x="1767305" y="1241212"/>
                </a:cubicBezTo>
                <a:cubicBezTo>
                  <a:pt x="1778447" y="1236835"/>
                  <a:pt x="1788794" y="1232855"/>
                  <a:pt x="1799937" y="1228478"/>
                </a:cubicBezTo>
                <a:cubicBezTo>
                  <a:pt x="1795161" y="1215743"/>
                  <a:pt x="1791182" y="1204601"/>
                  <a:pt x="1786804" y="1192264"/>
                </a:cubicBezTo>
                <a:close/>
                <a:moveTo>
                  <a:pt x="1619664" y="1191070"/>
                </a:moveTo>
                <a:cubicBezTo>
                  <a:pt x="1602155" y="1200223"/>
                  <a:pt x="1585839" y="1208580"/>
                  <a:pt x="1568727" y="1217335"/>
                </a:cubicBezTo>
                <a:cubicBezTo>
                  <a:pt x="1586236" y="1250763"/>
                  <a:pt x="1602950" y="1282201"/>
                  <a:pt x="1620858" y="1316027"/>
                </a:cubicBezTo>
                <a:cubicBezTo>
                  <a:pt x="1637572" y="1306874"/>
                  <a:pt x="1652296" y="1299313"/>
                  <a:pt x="1667817" y="1290956"/>
                </a:cubicBezTo>
                <a:cubicBezTo>
                  <a:pt x="1651103" y="1256732"/>
                  <a:pt x="1635980" y="1224498"/>
                  <a:pt x="1619664" y="1191070"/>
                </a:cubicBezTo>
                <a:close/>
                <a:moveTo>
                  <a:pt x="3344388" y="1189478"/>
                </a:moveTo>
                <a:cubicBezTo>
                  <a:pt x="3333643" y="1203009"/>
                  <a:pt x="3324491" y="1214549"/>
                  <a:pt x="3314144" y="1227682"/>
                </a:cubicBezTo>
                <a:cubicBezTo>
                  <a:pt x="3326082" y="1237233"/>
                  <a:pt x="3337225" y="1246386"/>
                  <a:pt x="3349164" y="1255936"/>
                </a:cubicBezTo>
                <a:cubicBezTo>
                  <a:pt x="3359908" y="1243202"/>
                  <a:pt x="3369459" y="1231661"/>
                  <a:pt x="3380602" y="1218529"/>
                </a:cubicBezTo>
                <a:cubicBezTo>
                  <a:pt x="3367469" y="1208182"/>
                  <a:pt x="3356327" y="1199427"/>
                  <a:pt x="3344388" y="1189478"/>
                </a:cubicBezTo>
                <a:close/>
                <a:moveTo>
                  <a:pt x="2835010" y="1183509"/>
                </a:moveTo>
                <a:cubicBezTo>
                  <a:pt x="2829040" y="1197835"/>
                  <a:pt x="2823469" y="1211366"/>
                  <a:pt x="2817500" y="1225692"/>
                </a:cubicBezTo>
                <a:cubicBezTo>
                  <a:pt x="2838989" y="1234845"/>
                  <a:pt x="2857693" y="1243202"/>
                  <a:pt x="2877591" y="1251957"/>
                </a:cubicBezTo>
                <a:cubicBezTo>
                  <a:pt x="2884356" y="1237631"/>
                  <a:pt x="2890325" y="1225294"/>
                  <a:pt x="2896692" y="1211366"/>
                </a:cubicBezTo>
                <a:cubicBezTo>
                  <a:pt x="2875601" y="1201815"/>
                  <a:pt x="2856499" y="1193060"/>
                  <a:pt x="2835010" y="1183509"/>
                </a:cubicBezTo>
                <a:close/>
                <a:moveTo>
                  <a:pt x="1826997" y="1179132"/>
                </a:moveTo>
                <a:cubicBezTo>
                  <a:pt x="1815059" y="1183509"/>
                  <a:pt x="1804314" y="1187091"/>
                  <a:pt x="1792774" y="1191070"/>
                </a:cubicBezTo>
                <a:cubicBezTo>
                  <a:pt x="1797151" y="1203805"/>
                  <a:pt x="1801528" y="1214947"/>
                  <a:pt x="1806304" y="1226886"/>
                </a:cubicBezTo>
                <a:cubicBezTo>
                  <a:pt x="1818242" y="1222508"/>
                  <a:pt x="1828191" y="1219325"/>
                  <a:pt x="1838936" y="1215345"/>
                </a:cubicBezTo>
                <a:cubicBezTo>
                  <a:pt x="1834956" y="1202611"/>
                  <a:pt x="1830977" y="1191468"/>
                  <a:pt x="1826997" y="1179132"/>
                </a:cubicBezTo>
                <a:close/>
                <a:moveTo>
                  <a:pt x="3442284" y="1178336"/>
                </a:moveTo>
                <a:cubicBezTo>
                  <a:pt x="3430744" y="1191468"/>
                  <a:pt x="3421193" y="1203009"/>
                  <a:pt x="3410448" y="1215345"/>
                </a:cubicBezTo>
                <a:cubicBezTo>
                  <a:pt x="3422785" y="1226090"/>
                  <a:pt x="3433927" y="1235641"/>
                  <a:pt x="3445468" y="1246386"/>
                </a:cubicBezTo>
                <a:cubicBezTo>
                  <a:pt x="3457008" y="1234049"/>
                  <a:pt x="3466957" y="1222906"/>
                  <a:pt x="3478100" y="1210570"/>
                </a:cubicBezTo>
                <a:cubicBezTo>
                  <a:pt x="3466161" y="1199825"/>
                  <a:pt x="3455019" y="1189876"/>
                  <a:pt x="3442284" y="1178336"/>
                </a:cubicBezTo>
                <a:close/>
                <a:moveTo>
                  <a:pt x="1362587" y="1176346"/>
                </a:moveTo>
                <a:cubicBezTo>
                  <a:pt x="1353037" y="1183111"/>
                  <a:pt x="1345476" y="1188683"/>
                  <a:pt x="1336721" y="1194652"/>
                </a:cubicBezTo>
                <a:cubicBezTo>
                  <a:pt x="1344282" y="1205397"/>
                  <a:pt x="1350649" y="1214151"/>
                  <a:pt x="1357414" y="1224100"/>
                </a:cubicBezTo>
                <a:cubicBezTo>
                  <a:pt x="1366567" y="1217733"/>
                  <a:pt x="1374128" y="1212560"/>
                  <a:pt x="1382883" y="1206590"/>
                </a:cubicBezTo>
                <a:cubicBezTo>
                  <a:pt x="1376118" y="1196642"/>
                  <a:pt x="1370149" y="1187489"/>
                  <a:pt x="1362587" y="1176346"/>
                </a:cubicBezTo>
                <a:close/>
                <a:moveTo>
                  <a:pt x="3542568" y="1173162"/>
                </a:moveTo>
                <a:cubicBezTo>
                  <a:pt x="3531028" y="1185897"/>
                  <a:pt x="3521079" y="1196244"/>
                  <a:pt x="3509538" y="1208978"/>
                </a:cubicBezTo>
                <a:cubicBezTo>
                  <a:pt x="3521875" y="1220917"/>
                  <a:pt x="3533415" y="1231263"/>
                  <a:pt x="3541772" y="1239222"/>
                </a:cubicBezTo>
                <a:cubicBezTo>
                  <a:pt x="3555303" y="1228080"/>
                  <a:pt x="3567241" y="1218529"/>
                  <a:pt x="3579976" y="1208182"/>
                </a:cubicBezTo>
                <a:cubicBezTo>
                  <a:pt x="3566445" y="1195448"/>
                  <a:pt x="3554905" y="1184703"/>
                  <a:pt x="3542568" y="1173162"/>
                </a:cubicBezTo>
                <a:close/>
                <a:moveTo>
                  <a:pt x="1685724" y="1172366"/>
                </a:moveTo>
                <a:cubicBezTo>
                  <a:pt x="1672990" y="1177938"/>
                  <a:pt x="1662643" y="1182713"/>
                  <a:pt x="1651501" y="1187887"/>
                </a:cubicBezTo>
                <a:cubicBezTo>
                  <a:pt x="1657072" y="1199427"/>
                  <a:pt x="1661449" y="1208978"/>
                  <a:pt x="1667021" y="1221315"/>
                </a:cubicBezTo>
                <a:cubicBezTo>
                  <a:pt x="1678959" y="1216141"/>
                  <a:pt x="1689306" y="1211366"/>
                  <a:pt x="1700449" y="1206590"/>
                </a:cubicBezTo>
                <a:cubicBezTo>
                  <a:pt x="1695275" y="1194254"/>
                  <a:pt x="1690500" y="1183509"/>
                  <a:pt x="1685724" y="1172366"/>
                </a:cubicBezTo>
                <a:close/>
                <a:moveTo>
                  <a:pt x="1867190" y="1166795"/>
                </a:moveTo>
                <a:cubicBezTo>
                  <a:pt x="1855650" y="1169979"/>
                  <a:pt x="1845303" y="1173162"/>
                  <a:pt x="1832569" y="1176744"/>
                </a:cubicBezTo>
                <a:cubicBezTo>
                  <a:pt x="1837344" y="1190672"/>
                  <a:pt x="1841324" y="1201815"/>
                  <a:pt x="1845701" y="1213356"/>
                </a:cubicBezTo>
                <a:cubicBezTo>
                  <a:pt x="1857640" y="1209376"/>
                  <a:pt x="1867190" y="1206192"/>
                  <a:pt x="1878333" y="1202611"/>
                </a:cubicBezTo>
                <a:cubicBezTo>
                  <a:pt x="1874354" y="1189876"/>
                  <a:pt x="1870772" y="1178734"/>
                  <a:pt x="1867190" y="1166795"/>
                </a:cubicBezTo>
                <a:close/>
                <a:moveTo>
                  <a:pt x="1109888" y="1158438"/>
                </a:moveTo>
                <a:cubicBezTo>
                  <a:pt x="1104317" y="1162816"/>
                  <a:pt x="1099541" y="1166397"/>
                  <a:pt x="1095164" y="1169979"/>
                </a:cubicBezTo>
                <a:cubicBezTo>
                  <a:pt x="1088797" y="1175550"/>
                  <a:pt x="1082429" y="1181121"/>
                  <a:pt x="1076062" y="1186693"/>
                </a:cubicBezTo>
                <a:cubicBezTo>
                  <a:pt x="1091582" y="1209376"/>
                  <a:pt x="1109490" y="1208182"/>
                  <a:pt x="1130582" y="1183111"/>
                </a:cubicBezTo>
                <a:cubicBezTo>
                  <a:pt x="1124214" y="1175152"/>
                  <a:pt x="1117449" y="1167193"/>
                  <a:pt x="1109888" y="1158438"/>
                </a:cubicBezTo>
                <a:close/>
                <a:moveTo>
                  <a:pt x="1726713" y="1155653"/>
                </a:moveTo>
                <a:cubicBezTo>
                  <a:pt x="1714377" y="1160428"/>
                  <a:pt x="1704030" y="1165203"/>
                  <a:pt x="1692092" y="1170377"/>
                </a:cubicBezTo>
                <a:cubicBezTo>
                  <a:pt x="1697265" y="1181917"/>
                  <a:pt x="1701643" y="1192264"/>
                  <a:pt x="1706816" y="1204203"/>
                </a:cubicBezTo>
                <a:cubicBezTo>
                  <a:pt x="1719550" y="1199029"/>
                  <a:pt x="1729499" y="1194652"/>
                  <a:pt x="1740642" y="1190274"/>
                </a:cubicBezTo>
                <a:cubicBezTo>
                  <a:pt x="1735468" y="1177938"/>
                  <a:pt x="1731489" y="1167591"/>
                  <a:pt x="1726713" y="1155653"/>
                </a:cubicBezTo>
                <a:close/>
                <a:moveTo>
                  <a:pt x="2743481" y="1149683"/>
                </a:moveTo>
                <a:cubicBezTo>
                  <a:pt x="2738307" y="1164805"/>
                  <a:pt x="2734328" y="1177540"/>
                  <a:pt x="2729552" y="1192662"/>
                </a:cubicBezTo>
                <a:cubicBezTo>
                  <a:pt x="2750644" y="1200223"/>
                  <a:pt x="2769745" y="1207386"/>
                  <a:pt x="2790837" y="1214947"/>
                </a:cubicBezTo>
                <a:cubicBezTo>
                  <a:pt x="2796408" y="1200223"/>
                  <a:pt x="2801582" y="1187091"/>
                  <a:pt x="2807153" y="1172764"/>
                </a:cubicBezTo>
                <a:cubicBezTo>
                  <a:pt x="2784868" y="1164407"/>
                  <a:pt x="2764572" y="1157244"/>
                  <a:pt x="2743481" y="1149683"/>
                </a:cubicBezTo>
                <a:close/>
                <a:moveTo>
                  <a:pt x="3291062" y="1149285"/>
                </a:moveTo>
                <a:cubicBezTo>
                  <a:pt x="3281114" y="1162816"/>
                  <a:pt x="3271961" y="1175152"/>
                  <a:pt x="3262410" y="1188285"/>
                </a:cubicBezTo>
                <a:cubicBezTo>
                  <a:pt x="3275144" y="1197438"/>
                  <a:pt x="3286287" y="1206192"/>
                  <a:pt x="3298624" y="1215345"/>
                </a:cubicBezTo>
                <a:cubicBezTo>
                  <a:pt x="3308970" y="1201417"/>
                  <a:pt x="3318123" y="1189478"/>
                  <a:pt x="3328072" y="1176346"/>
                </a:cubicBezTo>
                <a:cubicBezTo>
                  <a:pt x="3314542" y="1166397"/>
                  <a:pt x="3303001" y="1158040"/>
                  <a:pt x="3291062" y="1149285"/>
                </a:cubicBezTo>
                <a:close/>
                <a:moveTo>
                  <a:pt x="1767305" y="1139734"/>
                </a:moveTo>
                <a:cubicBezTo>
                  <a:pt x="1754968" y="1144908"/>
                  <a:pt x="1744223" y="1149285"/>
                  <a:pt x="1733081" y="1154061"/>
                </a:cubicBezTo>
                <a:cubicBezTo>
                  <a:pt x="1737856" y="1166397"/>
                  <a:pt x="1741836" y="1176744"/>
                  <a:pt x="1746611" y="1187489"/>
                </a:cubicBezTo>
                <a:cubicBezTo>
                  <a:pt x="1758550" y="1182713"/>
                  <a:pt x="1769294" y="1179132"/>
                  <a:pt x="1780835" y="1174754"/>
                </a:cubicBezTo>
                <a:cubicBezTo>
                  <a:pt x="1776059" y="1162816"/>
                  <a:pt x="1772080" y="1151673"/>
                  <a:pt x="1767305" y="1139734"/>
                </a:cubicBezTo>
                <a:close/>
                <a:moveTo>
                  <a:pt x="3388561" y="1133765"/>
                </a:moveTo>
                <a:cubicBezTo>
                  <a:pt x="3377816" y="1147296"/>
                  <a:pt x="3369061" y="1158438"/>
                  <a:pt x="3358316" y="1171969"/>
                </a:cubicBezTo>
                <a:cubicBezTo>
                  <a:pt x="3371051" y="1182713"/>
                  <a:pt x="3382591" y="1191866"/>
                  <a:pt x="3394530" y="1201815"/>
                </a:cubicBezTo>
                <a:cubicBezTo>
                  <a:pt x="3405275" y="1189080"/>
                  <a:pt x="3415224" y="1177540"/>
                  <a:pt x="3425968" y="1164407"/>
                </a:cubicBezTo>
                <a:cubicBezTo>
                  <a:pt x="3412836" y="1153663"/>
                  <a:pt x="3400897" y="1144112"/>
                  <a:pt x="3388561" y="1133765"/>
                </a:cubicBezTo>
                <a:close/>
                <a:moveTo>
                  <a:pt x="1809487" y="1126204"/>
                </a:moveTo>
                <a:cubicBezTo>
                  <a:pt x="1796753" y="1130582"/>
                  <a:pt x="1786406" y="1134163"/>
                  <a:pt x="1774070" y="1138541"/>
                </a:cubicBezTo>
                <a:cubicBezTo>
                  <a:pt x="1778845" y="1151275"/>
                  <a:pt x="1783223" y="1162020"/>
                  <a:pt x="1787600" y="1173162"/>
                </a:cubicBezTo>
                <a:cubicBezTo>
                  <a:pt x="1799937" y="1168785"/>
                  <a:pt x="1809885" y="1165203"/>
                  <a:pt x="1821028" y="1161224"/>
                </a:cubicBezTo>
                <a:cubicBezTo>
                  <a:pt x="1817049" y="1148887"/>
                  <a:pt x="1813467" y="1138143"/>
                  <a:pt x="1809487" y="1126204"/>
                </a:cubicBezTo>
                <a:close/>
                <a:moveTo>
                  <a:pt x="1492320" y="1125806"/>
                </a:moveTo>
                <a:cubicBezTo>
                  <a:pt x="1482371" y="1131377"/>
                  <a:pt x="1474412" y="1136153"/>
                  <a:pt x="1465657" y="1141724"/>
                </a:cubicBezTo>
                <a:cubicBezTo>
                  <a:pt x="1472422" y="1152867"/>
                  <a:pt x="1477994" y="1162020"/>
                  <a:pt x="1483963" y="1172366"/>
                </a:cubicBezTo>
                <a:cubicBezTo>
                  <a:pt x="1493514" y="1167193"/>
                  <a:pt x="1501473" y="1162816"/>
                  <a:pt x="1510626" y="1157642"/>
                </a:cubicBezTo>
                <a:cubicBezTo>
                  <a:pt x="1503860" y="1146500"/>
                  <a:pt x="1498289" y="1136551"/>
                  <a:pt x="1492320" y="1125806"/>
                </a:cubicBezTo>
                <a:close/>
                <a:moveTo>
                  <a:pt x="3488049" y="1124612"/>
                </a:moveTo>
                <a:cubicBezTo>
                  <a:pt x="3476906" y="1137745"/>
                  <a:pt x="3467355" y="1148887"/>
                  <a:pt x="3456611" y="1161622"/>
                </a:cubicBezTo>
                <a:cubicBezTo>
                  <a:pt x="3469743" y="1173162"/>
                  <a:pt x="3481284" y="1183111"/>
                  <a:pt x="3493620" y="1193856"/>
                </a:cubicBezTo>
                <a:cubicBezTo>
                  <a:pt x="3505161" y="1180723"/>
                  <a:pt x="3515110" y="1169183"/>
                  <a:pt x="3525854" y="1156846"/>
                </a:cubicBezTo>
                <a:cubicBezTo>
                  <a:pt x="3511926" y="1145306"/>
                  <a:pt x="3500385" y="1135357"/>
                  <a:pt x="3488049" y="1124612"/>
                </a:cubicBezTo>
                <a:close/>
                <a:moveTo>
                  <a:pt x="1252355" y="1122622"/>
                </a:moveTo>
                <a:cubicBezTo>
                  <a:pt x="1233651" y="1136551"/>
                  <a:pt x="1216539" y="1149285"/>
                  <a:pt x="1197437" y="1162816"/>
                </a:cubicBezTo>
                <a:cubicBezTo>
                  <a:pt x="1214151" y="1183509"/>
                  <a:pt x="1226090" y="1208182"/>
                  <a:pt x="1245988" y="1219723"/>
                </a:cubicBezTo>
                <a:cubicBezTo>
                  <a:pt x="1277028" y="1238427"/>
                  <a:pt x="1313241" y="1248375"/>
                  <a:pt x="1347465" y="1261906"/>
                </a:cubicBezTo>
                <a:cubicBezTo>
                  <a:pt x="1348659" y="1261508"/>
                  <a:pt x="1349455" y="1260712"/>
                  <a:pt x="1350649" y="1259916"/>
                </a:cubicBezTo>
                <a:cubicBezTo>
                  <a:pt x="1318415" y="1214549"/>
                  <a:pt x="1285783" y="1169581"/>
                  <a:pt x="1252355" y="1122622"/>
                </a:cubicBezTo>
                <a:close/>
                <a:moveTo>
                  <a:pt x="2649962" y="1121429"/>
                </a:moveTo>
                <a:cubicBezTo>
                  <a:pt x="2645982" y="1136949"/>
                  <a:pt x="2642401" y="1150479"/>
                  <a:pt x="2638819" y="1165203"/>
                </a:cubicBezTo>
                <a:cubicBezTo>
                  <a:pt x="2660707" y="1171173"/>
                  <a:pt x="2680206" y="1176744"/>
                  <a:pt x="2701298" y="1182713"/>
                </a:cubicBezTo>
                <a:cubicBezTo>
                  <a:pt x="2706073" y="1167989"/>
                  <a:pt x="2710053" y="1154857"/>
                  <a:pt x="2714828" y="1140132"/>
                </a:cubicBezTo>
                <a:cubicBezTo>
                  <a:pt x="2691747" y="1133367"/>
                  <a:pt x="2671452" y="1127398"/>
                  <a:pt x="2649962" y="1121429"/>
                </a:cubicBezTo>
                <a:close/>
                <a:moveTo>
                  <a:pt x="3591118" y="1119837"/>
                </a:moveTo>
                <a:cubicBezTo>
                  <a:pt x="3578384" y="1133367"/>
                  <a:pt x="3568435" y="1144510"/>
                  <a:pt x="3557292" y="1156448"/>
                </a:cubicBezTo>
                <a:cubicBezTo>
                  <a:pt x="3570425" y="1168785"/>
                  <a:pt x="3582363" y="1179530"/>
                  <a:pt x="3591118" y="1187887"/>
                </a:cubicBezTo>
                <a:cubicBezTo>
                  <a:pt x="3604251" y="1176744"/>
                  <a:pt x="3615393" y="1166795"/>
                  <a:pt x="3624944" y="1158040"/>
                </a:cubicBezTo>
                <a:cubicBezTo>
                  <a:pt x="3613802" y="1145704"/>
                  <a:pt x="3603057" y="1133367"/>
                  <a:pt x="3591118" y="1119837"/>
                </a:cubicBezTo>
                <a:close/>
                <a:moveTo>
                  <a:pt x="1375322" y="1116653"/>
                </a:moveTo>
                <a:cubicBezTo>
                  <a:pt x="1364975" y="1123020"/>
                  <a:pt x="1357016" y="1128592"/>
                  <a:pt x="1348261" y="1134561"/>
                </a:cubicBezTo>
                <a:cubicBezTo>
                  <a:pt x="1355424" y="1145306"/>
                  <a:pt x="1361394" y="1154459"/>
                  <a:pt x="1368159" y="1164407"/>
                </a:cubicBezTo>
                <a:cubicBezTo>
                  <a:pt x="1377710" y="1158438"/>
                  <a:pt x="1385669" y="1153265"/>
                  <a:pt x="1394822" y="1147296"/>
                </a:cubicBezTo>
                <a:cubicBezTo>
                  <a:pt x="1388056" y="1136551"/>
                  <a:pt x="1382087" y="1127000"/>
                  <a:pt x="1375322" y="1116653"/>
                </a:cubicBezTo>
                <a:close/>
                <a:moveTo>
                  <a:pt x="1851272" y="1113072"/>
                </a:moveTo>
                <a:cubicBezTo>
                  <a:pt x="1838538" y="1117051"/>
                  <a:pt x="1827793" y="1120633"/>
                  <a:pt x="1815855" y="1124612"/>
                </a:cubicBezTo>
                <a:cubicBezTo>
                  <a:pt x="1820232" y="1136949"/>
                  <a:pt x="1823416" y="1147296"/>
                  <a:pt x="1827395" y="1159234"/>
                </a:cubicBezTo>
                <a:cubicBezTo>
                  <a:pt x="1839732" y="1155255"/>
                  <a:pt x="1850079" y="1152071"/>
                  <a:pt x="1862017" y="1148489"/>
                </a:cubicBezTo>
                <a:cubicBezTo>
                  <a:pt x="1858038" y="1135755"/>
                  <a:pt x="1854854" y="1125010"/>
                  <a:pt x="1851272" y="1113072"/>
                </a:cubicBezTo>
                <a:close/>
                <a:moveTo>
                  <a:pt x="1071287" y="1112276"/>
                </a:moveTo>
                <a:cubicBezTo>
                  <a:pt x="1058552" y="1123418"/>
                  <a:pt x="1047409" y="1133367"/>
                  <a:pt x="1035471" y="1143714"/>
                </a:cubicBezTo>
                <a:cubicBezTo>
                  <a:pt x="1044226" y="1153663"/>
                  <a:pt x="1051389" y="1161622"/>
                  <a:pt x="1059348" y="1170377"/>
                </a:cubicBezTo>
                <a:cubicBezTo>
                  <a:pt x="1072083" y="1159632"/>
                  <a:pt x="1082827" y="1150081"/>
                  <a:pt x="1094368" y="1140132"/>
                </a:cubicBezTo>
                <a:cubicBezTo>
                  <a:pt x="1086409" y="1130582"/>
                  <a:pt x="1080042" y="1122622"/>
                  <a:pt x="1071287" y="1112276"/>
                </a:cubicBezTo>
                <a:close/>
                <a:moveTo>
                  <a:pt x="1312445" y="1100337"/>
                </a:moveTo>
                <a:cubicBezTo>
                  <a:pt x="1302497" y="1107102"/>
                  <a:pt x="1294538" y="1112276"/>
                  <a:pt x="1284987" y="1119439"/>
                </a:cubicBezTo>
                <a:cubicBezTo>
                  <a:pt x="1292548" y="1130184"/>
                  <a:pt x="1298915" y="1138939"/>
                  <a:pt x="1305680" y="1148887"/>
                </a:cubicBezTo>
                <a:cubicBezTo>
                  <a:pt x="1315629" y="1142122"/>
                  <a:pt x="1323986" y="1136153"/>
                  <a:pt x="1332741" y="1130184"/>
                </a:cubicBezTo>
                <a:cubicBezTo>
                  <a:pt x="1325180" y="1119041"/>
                  <a:pt x="1319211" y="1110286"/>
                  <a:pt x="1312445" y="1100337"/>
                </a:cubicBezTo>
                <a:close/>
                <a:moveTo>
                  <a:pt x="3332847" y="1091582"/>
                </a:moveTo>
                <a:cubicBezTo>
                  <a:pt x="3322899" y="1105511"/>
                  <a:pt x="3313746" y="1118245"/>
                  <a:pt x="3304195" y="1131377"/>
                </a:cubicBezTo>
                <a:cubicBezTo>
                  <a:pt x="3317327" y="1140928"/>
                  <a:pt x="3328868" y="1149683"/>
                  <a:pt x="3341602" y="1159234"/>
                </a:cubicBezTo>
                <a:cubicBezTo>
                  <a:pt x="3351551" y="1146500"/>
                  <a:pt x="3360306" y="1134959"/>
                  <a:pt x="3371449" y="1120633"/>
                </a:cubicBezTo>
                <a:cubicBezTo>
                  <a:pt x="3357919" y="1110286"/>
                  <a:pt x="3345980" y="1101531"/>
                  <a:pt x="3332847" y="1091582"/>
                </a:cubicBezTo>
                <a:close/>
                <a:moveTo>
                  <a:pt x="1440188" y="1078450"/>
                </a:moveTo>
                <a:cubicBezTo>
                  <a:pt x="1430637" y="1083623"/>
                  <a:pt x="1422280" y="1088797"/>
                  <a:pt x="1412331" y="1094766"/>
                </a:cubicBezTo>
                <a:cubicBezTo>
                  <a:pt x="1419495" y="1106704"/>
                  <a:pt x="1425464" y="1115857"/>
                  <a:pt x="1431433" y="1125806"/>
                </a:cubicBezTo>
                <a:cubicBezTo>
                  <a:pt x="1441382" y="1119837"/>
                  <a:pt x="1449341" y="1114663"/>
                  <a:pt x="1458494" y="1109490"/>
                </a:cubicBezTo>
                <a:cubicBezTo>
                  <a:pt x="1451729" y="1098348"/>
                  <a:pt x="1446157" y="1088797"/>
                  <a:pt x="1440188" y="1078450"/>
                </a:cubicBezTo>
                <a:close/>
                <a:moveTo>
                  <a:pt x="3432335" y="1078052"/>
                </a:moveTo>
                <a:cubicBezTo>
                  <a:pt x="3421989" y="1091582"/>
                  <a:pt x="3412438" y="1103919"/>
                  <a:pt x="3402489" y="1116653"/>
                </a:cubicBezTo>
                <a:cubicBezTo>
                  <a:pt x="3415622" y="1127398"/>
                  <a:pt x="3426764" y="1136153"/>
                  <a:pt x="3440294" y="1147296"/>
                </a:cubicBezTo>
                <a:cubicBezTo>
                  <a:pt x="3451039" y="1134163"/>
                  <a:pt x="3460590" y="1122225"/>
                  <a:pt x="3471335" y="1109490"/>
                </a:cubicBezTo>
                <a:cubicBezTo>
                  <a:pt x="3457804" y="1098745"/>
                  <a:pt x="3445866" y="1089195"/>
                  <a:pt x="3432335" y="1078052"/>
                </a:cubicBezTo>
                <a:close/>
                <a:moveTo>
                  <a:pt x="1645929" y="1078052"/>
                </a:moveTo>
                <a:cubicBezTo>
                  <a:pt x="1632399" y="1084419"/>
                  <a:pt x="1621654" y="1089195"/>
                  <a:pt x="1608920" y="1094766"/>
                </a:cubicBezTo>
                <a:cubicBezTo>
                  <a:pt x="1622450" y="1124214"/>
                  <a:pt x="1635185" y="1151673"/>
                  <a:pt x="1648317" y="1180326"/>
                </a:cubicBezTo>
                <a:cubicBezTo>
                  <a:pt x="1660653" y="1174754"/>
                  <a:pt x="1671000" y="1169979"/>
                  <a:pt x="1682939" y="1164407"/>
                </a:cubicBezTo>
                <a:cubicBezTo>
                  <a:pt x="1670204" y="1134561"/>
                  <a:pt x="1658266" y="1106704"/>
                  <a:pt x="1645929" y="1078052"/>
                </a:cubicBezTo>
                <a:close/>
                <a:moveTo>
                  <a:pt x="3534609" y="1071287"/>
                </a:moveTo>
                <a:cubicBezTo>
                  <a:pt x="3523466" y="1084419"/>
                  <a:pt x="3513518" y="1095562"/>
                  <a:pt x="3503171" y="1107898"/>
                </a:cubicBezTo>
                <a:cubicBezTo>
                  <a:pt x="3515905" y="1119041"/>
                  <a:pt x="3527446" y="1129388"/>
                  <a:pt x="3540976" y="1142122"/>
                </a:cubicBezTo>
                <a:cubicBezTo>
                  <a:pt x="3552517" y="1128990"/>
                  <a:pt x="3562864" y="1117449"/>
                  <a:pt x="3573608" y="1105113"/>
                </a:cubicBezTo>
                <a:cubicBezTo>
                  <a:pt x="3559680" y="1092776"/>
                  <a:pt x="3547344" y="1082429"/>
                  <a:pt x="3534609" y="1071287"/>
                </a:cubicBezTo>
                <a:close/>
                <a:moveTo>
                  <a:pt x="3639270" y="1068899"/>
                </a:moveTo>
                <a:cubicBezTo>
                  <a:pt x="3626934" y="1081633"/>
                  <a:pt x="3616985" y="1092776"/>
                  <a:pt x="3605843" y="1104715"/>
                </a:cubicBezTo>
                <a:cubicBezTo>
                  <a:pt x="3618975" y="1117051"/>
                  <a:pt x="3631311" y="1128592"/>
                  <a:pt x="3642056" y="1138541"/>
                </a:cubicBezTo>
                <a:cubicBezTo>
                  <a:pt x="3654393" y="1127000"/>
                  <a:pt x="3665137" y="1116653"/>
                  <a:pt x="3677474" y="1105113"/>
                </a:cubicBezTo>
                <a:cubicBezTo>
                  <a:pt x="3664739" y="1092776"/>
                  <a:pt x="3652005" y="1080838"/>
                  <a:pt x="3639270" y="1068899"/>
                </a:cubicBezTo>
                <a:close/>
                <a:moveTo>
                  <a:pt x="1561961" y="1068103"/>
                </a:moveTo>
                <a:cubicBezTo>
                  <a:pt x="1541666" y="1078450"/>
                  <a:pt x="1523758" y="1087603"/>
                  <a:pt x="1505054" y="1097154"/>
                </a:cubicBezTo>
                <a:cubicBezTo>
                  <a:pt x="1522166" y="1129786"/>
                  <a:pt x="1538482" y="1160428"/>
                  <a:pt x="1555594" y="1192662"/>
                </a:cubicBezTo>
                <a:cubicBezTo>
                  <a:pt x="1573502" y="1183509"/>
                  <a:pt x="1590216" y="1175152"/>
                  <a:pt x="1608920" y="1165601"/>
                </a:cubicBezTo>
                <a:cubicBezTo>
                  <a:pt x="1592604" y="1131775"/>
                  <a:pt x="1577879" y="1100735"/>
                  <a:pt x="1561961" y="1068103"/>
                </a:cubicBezTo>
                <a:close/>
                <a:moveTo>
                  <a:pt x="2885151" y="1063328"/>
                </a:moveTo>
                <a:cubicBezTo>
                  <a:pt x="2879182" y="1078052"/>
                  <a:pt x="2874009" y="1090786"/>
                  <a:pt x="2868040" y="1104715"/>
                </a:cubicBezTo>
                <a:cubicBezTo>
                  <a:pt x="2889927" y="1114663"/>
                  <a:pt x="2910621" y="1123816"/>
                  <a:pt x="2932906" y="1133765"/>
                </a:cubicBezTo>
                <a:cubicBezTo>
                  <a:pt x="2939273" y="1120633"/>
                  <a:pt x="2945242" y="1108296"/>
                  <a:pt x="2952803" y="1092776"/>
                </a:cubicBezTo>
                <a:cubicBezTo>
                  <a:pt x="2928926" y="1082429"/>
                  <a:pt x="2907835" y="1073276"/>
                  <a:pt x="2885151" y="1063328"/>
                </a:cubicBezTo>
                <a:close/>
                <a:moveTo>
                  <a:pt x="1689704" y="1060144"/>
                </a:moveTo>
                <a:cubicBezTo>
                  <a:pt x="1675776" y="1066113"/>
                  <a:pt x="1664633" y="1070889"/>
                  <a:pt x="1652296" y="1075664"/>
                </a:cubicBezTo>
                <a:cubicBezTo>
                  <a:pt x="1665031" y="1105511"/>
                  <a:pt x="1676969" y="1133765"/>
                  <a:pt x="1689306" y="1162418"/>
                </a:cubicBezTo>
                <a:cubicBezTo>
                  <a:pt x="1702040" y="1156846"/>
                  <a:pt x="1712387" y="1152867"/>
                  <a:pt x="1723928" y="1147694"/>
                </a:cubicBezTo>
                <a:cubicBezTo>
                  <a:pt x="1712387" y="1118245"/>
                  <a:pt x="1701643" y="1090388"/>
                  <a:pt x="1689704" y="1060144"/>
                </a:cubicBezTo>
                <a:close/>
                <a:moveTo>
                  <a:pt x="2666278" y="1058552"/>
                </a:moveTo>
                <a:cubicBezTo>
                  <a:pt x="2661901" y="1075664"/>
                  <a:pt x="2658717" y="1088399"/>
                  <a:pt x="2655135" y="1101929"/>
                </a:cubicBezTo>
                <a:cubicBezTo>
                  <a:pt x="2677819" y="1108296"/>
                  <a:pt x="2698910" y="1114266"/>
                  <a:pt x="2720797" y="1120633"/>
                </a:cubicBezTo>
                <a:cubicBezTo>
                  <a:pt x="2725573" y="1106307"/>
                  <a:pt x="2729552" y="1093174"/>
                  <a:pt x="2734328" y="1077654"/>
                </a:cubicBezTo>
                <a:cubicBezTo>
                  <a:pt x="2709655" y="1070889"/>
                  <a:pt x="2688165" y="1064522"/>
                  <a:pt x="2666278" y="1058552"/>
                </a:cubicBezTo>
                <a:close/>
                <a:moveTo>
                  <a:pt x="1385271" y="1054175"/>
                </a:moveTo>
                <a:cubicBezTo>
                  <a:pt x="1374924" y="1060940"/>
                  <a:pt x="1366169" y="1066113"/>
                  <a:pt x="1357414" y="1072083"/>
                </a:cubicBezTo>
                <a:cubicBezTo>
                  <a:pt x="1364179" y="1082827"/>
                  <a:pt x="1369751" y="1091980"/>
                  <a:pt x="1376516" y="1102725"/>
                </a:cubicBezTo>
                <a:cubicBezTo>
                  <a:pt x="1386863" y="1096358"/>
                  <a:pt x="1395220" y="1090786"/>
                  <a:pt x="1404372" y="1085215"/>
                </a:cubicBezTo>
                <a:cubicBezTo>
                  <a:pt x="1397209" y="1073674"/>
                  <a:pt x="1391638" y="1064124"/>
                  <a:pt x="1385271" y="1054175"/>
                </a:cubicBezTo>
                <a:close/>
                <a:moveTo>
                  <a:pt x="2051840" y="1052185"/>
                </a:moveTo>
                <a:cubicBezTo>
                  <a:pt x="2040300" y="1053777"/>
                  <a:pt x="2029953" y="1055369"/>
                  <a:pt x="2018014" y="1056563"/>
                </a:cubicBezTo>
                <a:cubicBezTo>
                  <a:pt x="2020402" y="1071287"/>
                  <a:pt x="2022392" y="1084021"/>
                  <a:pt x="2024779" y="1097950"/>
                </a:cubicBezTo>
                <a:cubicBezTo>
                  <a:pt x="2036718" y="1095960"/>
                  <a:pt x="2046667" y="1094368"/>
                  <a:pt x="2057810" y="1092378"/>
                </a:cubicBezTo>
                <a:cubicBezTo>
                  <a:pt x="2055820" y="1078450"/>
                  <a:pt x="2053830" y="1066113"/>
                  <a:pt x="2051840" y="1052185"/>
                </a:cubicBezTo>
                <a:close/>
                <a:moveTo>
                  <a:pt x="1627623" y="1036665"/>
                </a:moveTo>
                <a:cubicBezTo>
                  <a:pt x="1614491" y="1043032"/>
                  <a:pt x="1602950" y="1048604"/>
                  <a:pt x="1590216" y="1054573"/>
                </a:cubicBezTo>
                <a:cubicBezTo>
                  <a:pt x="1596185" y="1066909"/>
                  <a:pt x="1600961" y="1076858"/>
                  <a:pt x="1606134" y="1087205"/>
                </a:cubicBezTo>
                <a:cubicBezTo>
                  <a:pt x="1618470" y="1081633"/>
                  <a:pt x="1629215" y="1076858"/>
                  <a:pt x="1642746" y="1070889"/>
                </a:cubicBezTo>
                <a:cubicBezTo>
                  <a:pt x="1637572" y="1058552"/>
                  <a:pt x="1632797" y="1048206"/>
                  <a:pt x="1627623" y="1036665"/>
                </a:cubicBezTo>
                <a:close/>
                <a:moveTo>
                  <a:pt x="2566790" y="1035073"/>
                </a:moveTo>
                <a:cubicBezTo>
                  <a:pt x="2564004" y="1052185"/>
                  <a:pt x="2561617" y="1065317"/>
                  <a:pt x="2559627" y="1079644"/>
                </a:cubicBezTo>
                <a:cubicBezTo>
                  <a:pt x="2582708" y="1084817"/>
                  <a:pt x="2603800" y="1089195"/>
                  <a:pt x="2625687" y="1093970"/>
                </a:cubicBezTo>
                <a:cubicBezTo>
                  <a:pt x="2629268" y="1078450"/>
                  <a:pt x="2632850" y="1065317"/>
                  <a:pt x="2636432" y="1050195"/>
                </a:cubicBezTo>
                <a:cubicBezTo>
                  <a:pt x="2612953" y="1045022"/>
                  <a:pt x="2591463" y="1040246"/>
                  <a:pt x="2566790" y="1035073"/>
                </a:cubicBezTo>
                <a:close/>
                <a:moveTo>
                  <a:pt x="3375030" y="1034277"/>
                </a:moveTo>
                <a:cubicBezTo>
                  <a:pt x="3364684" y="1048604"/>
                  <a:pt x="3355929" y="1060940"/>
                  <a:pt x="3346378" y="1074072"/>
                </a:cubicBezTo>
                <a:cubicBezTo>
                  <a:pt x="3359908" y="1084419"/>
                  <a:pt x="3371847" y="1093174"/>
                  <a:pt x="3384979" y="1103123"/>
                </a:cubicBezTo>
                <a:cubicBezTo>
                  <a:pt x="3395326" y="1089593"/>
                  <a:pt x="3404877" y="1077256"/>
                  <a:pt x="3414826" y="1064124"/>
                </a:cubicBezTo>
                <a:cubicBezTo>
                  <a:pt x="3400897" y="1053777"/>
                  <a:pt x="3388561" y="1044226"/>
                  <a:pt x="3375030" y="1034277"/>
                </a:cubicBezTo>
                <a:close/>
                <a:moveTo>
                  <a:pt x="1778447" y="1029104"/>
                </a:moveTo>
                <a:cubicBezTo>
                  <a:pt x="1765315" y="1033481"/>
                  <a:pt x="1754172" y="1037063"/>
                  <a:pt x="1740244" y="1041838"/>
                </a:cubicBezTo>
                <a:cubicBezTo>
                  <a:pt x="1750989" y="1072481"/>
                  <a:pt x="1761335" y="1101133"/>
                  <a:pt x="1771682" y="1130582"/>
                </a:cubicBezTo>
                <a:cubicBezTo>
                  <a:pt x="1784814" y="1126204"/>
                  <a:pt x="1795161" y="1122622"/>
                  <a:pt x="1807498" y="1118643"/>
                </a:cubicBezTo>
                <a:cubicBezTo>
                  <a:pt x="1797549" y="1088399"/>
                  <a:pt x="1788396" y="1059348"/>
                  <a:pt x="1778447" y="1029104"/>
                </a:cubicBezTo>
                <a:close/>
                <a:moveTo>
                  <a:pt x="3199932" y="1025522"/>
                </a:moveTo>
                <a:cubicBezTo>
                  <a:pt x="3195952" y="1032685"/>
                  <a:pt x="3192370" y="1037859"/>
                  <a:pt x="3188789" y="1044624"/>
                </a:cubicBezTo>
                <a:cubicBezTo>
                  <a:pt x="3217043" y="1062930"/>
                  <a:pt x="3244104" y="1080838"/>
                  <a:pt x="3272757" y="1099541"/>
                </a:cubicBezTo>
                <a:cubicBezTo>
                  <a:pt x="3276736" y="1093572"/>
                  <a:pt x="3280716" y="1088399"/>
                  <a:pt x="3285491" y="1081633"/>
                </a:cubicBezTo>
                <a:cubicBezTo>
                  <a:pt x="3256441" y="1062532"/>
                  <a:pt x="3228584" y="1044226"/>
                  <a:pt x="3199932" y="1025522"/>
                </a:cubicBezTo>
                <a:close/>
                <a:moveTo>
                  <a:pt x="2785664" y="1025522"/>
                </a:moveTo>
                <a:cubicBezTo>
                  <a:pt x="2780888" y="1039848"/>
                  <a:pt x="2776113" y="1052981"/>
                  <a:pt x="2770939" y="1068103"/>
                </a:cubicBezTo>
                <a:cubicBezTo>
                  <a:pt x="2794419" y="1076858"/>
                  <a:pt x="2815510" y="1084419"/>
                  <a:pt x="2838193" y="1092378"/>
                </a:cubicBezTo>
                <a:cubicBezTo>
                  <a:pt x="2843765" y="1078052"/>
                  <a:pt x="2848938" y="1065317"/>
                  <a:pt x="2854509" y="1050593"/>
                </a:cubicBezTo>
                <a:cubicBezTo>
                  <a:pt x="2831428" y="1042236"/>
                  <a:pt x="2809541" y="1034277"/>
                  <a:pt x="2785664" y="1025522"/>
                </a:cubicBezTo>
                <a:close/>
                <a:moveTo>
                  <a:pt x="1934444" y="1023930"/>
                </a:moveTo>
                <a:cubicBezTo>
                  <a:pt x="1921710" y="1026716"/>
                  <a:pt x="1911761" y="1029104"/>
                  <a:pt x="1900221" y="1031889"/>
                </a:cubicBezTo>
                <a:cubicBezTo>
                  <a:pt x="1903802" y="1046216"/>
                  <a:pt x="1906986" y="1058552"/>
                  <a:pt x="1910169" y="1072481"/>
                </a:cubicBezTo>
                <a:cubicBezTo>
                  <a:pt x="1922506" y="1069695"/>
                  <a:pt x="1932853" y="1067307"/>
                  <a:pt x="1944393" y="1064522"/>
                </a:cubicBezTo>
                <a:cubicBezTo>
                  <a:pt x="1940812" y="1049797"/>
                  <a:pt x="1937628" y="1037461"/>
                  <a:pt x="1934444" y="1023930"/>
                </a:cubicBezTo>
                <a:close/>
                <a:moveTo>
                  <a:pt x="3476906" y="1023134"/>
                </a:moveTo>
                <a:cubicBezTo>
                  <a:pt x="3466559" y="1035869"/>
                  <a:pt x="3457008" y="1047808"/>
                  <a:pt x="3446264" y="1061338"/>
                </a:cubicBezTo>
                <a:cubicBezTo>
                  <a:pt x="3460192" y="1072481"/>
                  <a:pt x="3472131" y="1082429"/>
                  <a:pt x="3485661" y="1093174"/>
                </a:cubicBezTo>
                <a:cubicBezTo>
                  <a:pt x="3496406" y="1080042"/>
                  <a:pt x="3506355" y="1068501"/>
                  <a:pt x="3517099" y="1055767"/>
                </a:cubicBezTo>
                <a:cubicBezTo>
                  <a:pt x="3503569" y="1044624"/>
                  <a:pt x="3490834" y="1034277"/>
                  <a:pt x="3476906" y="1023134"/>
                </a:cubicBezTo>
                <a:close/>
                <a:moveTo>
                  <a:pt x="1672592" y="1018757"/>
                </a:moveTo>
                <a:cubicBezTo>
                  <a:pt x="1659062" y="1024328"/>
                  <a:pt x="1647919" y="1029104"/>
                  <a:pt x="1634787" y="1034675"/>
                </a:cubicBezTo>
                <a:cubicBezTo>
                  <a:pt x="1639960" y="1046614"/>
                  <a:pt x="1644337" y="1056563"/>
                  <a:pt x="1649113" y="1068103"/>
                </a:cubicBezTo>
                <a:cubicBezTo>
                  <a:pt x="1662245" y="1062930"/>
                  <a:pt x="1673388" y="1058154"/>
                  <a:pt x="1686520" y="1052981"/>
                </a:cubicBezTo>
                <a:cubicBezTo>
                  <a:pt x="1681745" y="1040644"/>
                  <a:pt x="1677367" y="1030298"/>
                  <a:pt x="1672592" y="1018757"/>
                </a:cubicBezTo>
                <a:close/>
                <a:moveTo>
                  <a:pt x="2384130" y="1017961"/>
                </a:moveTo>
                <a:cubicBezTo>
                  <a:pt x="2382936" y="1041042"/>
                  <a:pt x="2381742" y="1060940"/>
                  <a:pt x="2380549" y="1082031"/>
                </a:cubicBezTo>
                <a:cubicBezTo>
                  <a:pt x="2398456" y="1083623"/>
                  <a:pt x="2413977" y="1084817"/>
                  <a:pt x="2430691" y="1086409"/>
                </a:cubicBezTo>
                <a:cubicBezTo>
                  <a:pt x="2433078" y="1064124"/>
                  <a:pt x="2435068" y="1044624"/>
                  <a:pt x="2437456" y="1023532"/>
                </a:cubicBezTo>
                <a:cubicBezTo>
                  <a:pt x="2419548" y="1021941"/>
                  <a:pt x="2403630" y="1019951"/>
                  <a:pt x="2384130" y="1017961"/>
                </a:cubicBezTo>
                <a:close/>
                <a:moveTo>
                  <a:pt x="3580772" y="1016767"/>
                </a:moveTo>
                <a:cubicBezTo>
                  <a:pt x="3569629" y="1029900"/>
                  <a:pt x="3559680" y="1041838"/>
                  <a:pt x="3548936" y="1054175"/>
                </a:cubicBezTo>
                <a:cubicBezTo>
                  <a:pt x="3562864" y="1066511"/>
                  <a:pt x="3575200" y="1077256"/>
                  <a:pt x="3588333" y="1088797"/>
                </a:cubicBezTo>
                <a:cubicBezTo>
                  <a:pt x="3599873" y="1076062"/>
                  <a:pt x="3610220" y="1064522"/>
                  <a:pt x="3620965" y="1052185"/>
                </a:cubicBezTo>
                <a:cubicBezTo>
                  <a:pt x="3607434" y="1040246"/>
                  <a:pt x="3595098" y="1029502"/>
                  <a:pt x="3580772" y="1016767"/>
                </a:cubicBezTo>
                <a:close/>
                <a:moveTo>
                  <a:pt x="2205450" y="1015175"/>
                </a:moveTo>
                <a:cubicBezTo>
                  <a:pt x="2186746" y="1016369"/>
                  <a:pt x="2170032" y="1017563"/>
                  <a:pt x="2152124" y="1018757"/>
                </a:cubicBezTo>
                <a:cubicBezTo>
                  <a:pt x="2153716" y="1040246"/>
                  <a:pt x="2155308" y="1060144"/>
                  <a:pt x="2156899" y="1082031"/>
                </a:cubicBezTo>
                <a:cubicBezTo>
                  <a:pt x="2175603" y="1080838"/>
                  <a:pt x="2191123" y="1079644"/>
                  <a:pt x="2205450" y="1078848"/>
                </a:cubicBezTo>
                <a:cubicBezTo>
                  <a:pt x="2205450" y="1056563"/>
                  <a:pt x="2205450" y="1037063"/>
                  <a:pt x="2205450" y="1015175"/>
                </a:cubicBezTo>
                <a:close/>
                <a:moveTo>
                  <a:pt x="1823018" y="1015175"/>
                </a:moveTo>
                <a:cubicBezTo>
                  <a:pt x="1809090" y="1019553"/>
                  <a:pt x="1797151" y="1023532"/>
                  <a:pt x="1784417" y="1027512"/>
                </a:cubicBezTo>
                <a:cubicBezTo>
                  <a:pt x="1794763" y="1058552"/>
                  <a:pt x="1803916" y="1087205"/>
                  <a:pt x="1813467" y="1116653"/>
                </a:cubicBezTo>
                <a:cubicBezTo>
                  <a:pt x="1826599" y="1112674"/>
                  <a:pt x="1836946" y="1109490"/>
                  <a:pt x="1849681" y="1105511"/>
                </a:cubicBezTo>
                <a:cubicBezTo>
                  <a:pt x="1840528" y="1074072"/>
                  <a:pt x="1832171" y="1045420"/>
                  <a:pt x="1823018" y="1015175"/>
                </a:cubicBezTo>
                <a:close/>
                <a:moveTo>
                  <a:pt x="2306927" y="1014380"/>
                </a:moveTo>
                <a:cubicBezTo>
                  <a:pt x="2306927" y="1036665"/>
                  <a:pt x="2306927" y="1056165"/>
                  <a:pt x="2306927" y="1077654"/>
                </a:cubicBezTo>
                <a:cubicBezTo>
                  <a:pt x="2323244" y="1078450"/>
                  <a:pt x="2338764" y="1079246"/>
                  <a:pt x="2356274" y="1080042"/>
                </a:cubicBezTo>
                <a:cubicBezTo>
                  <a:pt x="2357865" y="1058552"/>
                  <a:pt x="2359059" y="1038655"/>
                  <a:pt x="2360253" y="1016767"/>
                </a:cubicBezTo>
                <a:cubicBezTo>
                  <a:pt x="2341549" y="1015971"/>
                  <a:pt x="2325233" y="1015175"/>
                  <a:pt x="2306927" y="1014380"/>
                </a:cubicBezTo>
                <a:close/>
                <a:moveTo>
                  <a:pt x="1718356" y="1001645"/>
                </a:moveTo>
                <a:cubicBezTo>
                  <a:pt x="1704428" y="1006818"/>
                  <a:pt x="1692888" y="1011196"/>
                  <a:pt x="1679755" y="1016369"/>
                </a:cubicBezTo>
                <a:cubicBezTo>
                  <a:pt x="1684133" y="1027910"/>
                  <a:pt x="1688112" y="1038257"/>
                  <a:pt x="1692888" y="1050991"/>
                </a:cubicBezTo>
                <a:cubicBezTo>
                  <a:pt x="1706418" y="1045818"/>
                  <a:pt x="1717561" y="1041440"/>
                  <a:pt x="1730693" y="1036267"/>
                </a:cubicBezTo>
                <a:cubicBezTo>
                  <a:pt x="1726315" y="1023930"/>
                  <a:pt x="1722336" y="1013186"/>
                  <a:pt x="1718356" y="1001645"/>
                </a:cubicBezTo>
                <a:close/>
                <a:moveTo>
                  <a:pt x="2476057" y="995676"/>
                </a:moveTo>
                <a:cubicBezTo>
                  <a:pt x="2468098" y="1053777"/>
                  <a:pt x="2460935" y="1109490"/>
                  <a:pt x="2453374" y="1167193"/>
                </a:cubicBezTo>
                <a:cubicBezTo>
                  <a:pt x="2472077" y="1169979"/>
                  <a:pt x="2489189" y="1172366"/>
                  <a:pt x="2507495" y="1175152"/>
                </a:cubicBezTo>
                <a:cubicBezTo>
                  <a:pt x="2517444" y="1117051"/>
                  <a:pt x="2526995" y="1061736"/>
                  <a:pt x="2536944" y="1004431"/>
                </a:cubicBezTo>
                <a:cubicBezTo>
                  <a:pt x="2516648" y="1001247"/>
                  <a:pt x="2497944" y="998462"/>
                  <a:pt x="2476057" y="995676"/>
                </a:cubicBezTo>
                <a:close/>
                <a:moveTo>
                  <a:pt x="1044226" y="994084"/>
                </a:moveTo>
                <a:cubicBezTo>
                  <a:pt x="1030298" y="1006023"/>
                  <a:pt x="1018359" y="1015971"/>
                  <a:pt x="1006022" y="1026318"/>
                </a:cubicBezTo>
                <a:cubicBezTo>
                  <a:pt x="1013584" y="1035869"/>
                  <a:pt x="1019951" y="1043032"/>
                  <a:pt x="1027114" y="1051787"/>
                </a:cubicBezTo>
                <a:cubicBezTo>
                  <a:pt x="1040644" y="1041042"/>
                  <a:pt x="1052583" y="1031093"/>
                  <a:pt x="1065317" y="1020747"/>
                </a:cubicBezTo>
                <a:cubicBezTo>
                  <a:pt x="1058154" y="1011992"/>
                  <a:pt x="1052185" y="1004033"/>
                  <a:pt x="1044226" y="994084"/>
                </a:cubicBezTo>
                <a:close/>
                <a:moveTo>
                  <a:pt x="1764519" y="985727"/>
                </a:moveTo>
                <a:cubicBezTo>
                  <a:pt x="1750989" y="990502"/>
                  <a:pt x="1739448" y="994482"/>
                  <a:pt x="1725122" y="999257"/>
                </a:cubicBezTo>
                <a:cubicBezTo>
                  <a:pt x="1729897" y="1012390"/>
                  <a:pt x="1733877" y="1023134"/>
                  <a:pt x="1737856" y="1034277"/>
                </a:cubicBezTo>
                <a:cubicBezTo>
                  <a:pt x="1752182" y="1029104"/>
                  <a:pt x="1763723" y="1025124"/>
                  <a:pt x="1776059" y="1020349"/>
                </a:cubicBezTo>
                <a:cubicBezTo>
                  <a:pt x="1772080" y="1008012"/>
                  <a:pt x="1768498" y="997666"/>
                  <a:pt x="1764519" y="985727"/>
                </a:cubicBezTo>
                <a:close/>
                <a:moveTo>
                  <a:pt x="1606134" y="984931"/>
                </a:moveTo>
                <a:cubicBezTo>
                  <a:pt x="1593002" y="990900"/>
                  <a:pt x="1580665" y="996074"/>
                  <a:pt x="1567135" y="1002043"/>
                </a:cubicBezTo>
                <a:cubicBezTo>
                  <a:pt x="1573104" y="1014380"/>
                  <a:pt x="1577879" y="1024726"/>
                  <a:pt x="1583053" y="1036665"/>
                </a:cubicBezTo>
                <a:cubicBezTo>
                  <a:pt x="1596185" y="1031093"/>
                  <a:pt x="1608124" y="1025920"/>
                  <a:pt x="1621256" y="1019951"/>
                </a:cubicBezTo>
                <a:cubicBezTo>
                  <a:pt x="1616481" y="1008410"/>
                  <a:pt x="1612103" y="998462"/>
                  <a:pt x="1606134" y="984931"/>
                </a:cubicBezTo>
                <a:close/>
                <a:moveTo>
                  <a:pt x="3416815" y="976972"/>
                </a:moveTo>
                <a:cubicBezTo>
                  <a:pt x="3406867" y="990900"/>
                  <a:pt x="3397714" y="1003635"/>
                  <a:pt x="3388561" y="1016767"/>
                </a:cubicBezTo>
                <a:cubicBezTo>
                  <a:pt x="3402489" y="1027114"/>
                  <a:pt x="3414826" y="1036665"/>
                  <a:pt x="3428754" y="1047012"/>
                </a:cubicBezTo>
                <a:cubicBezTo>
                  <a:pt x="3438703" y="1034277"/>
                  <a:pt x="3447856" y="1022339"/>
                  <a:pt x="3458600" y="1008410"/>
                </a:cubicBezTo>
                <a:cubicBezTo>
                  <a:pt x="3443876" y="997268"/>
                  <a:pt x="3430744" y="987717"/>
                  <a:pt x="3416815" y="976972"/>
                </a:cubicBezTo>
                <a:close/>
                <a:moveTo>
                  <a:pt x="1810681" y="971799"/>
                </a:moveTo>
                <a:cubicBezTo>
                  <a:pt x="1796753" y="976176"/>
                  <a:pt x="1784417" y="980156"/>
                  <a:pt x="1771682" y="984135"/>
                </a:cubicBezTo>
                <a:cubicBezTo>
                  <a:pt x="1775662" y="996472"/>
                  <a:pt x="1778845" y="1006818"/>
                  <a:pt x="1782825" y="1018757"/>
                </a:cubicBezTo>
                <a:cubicBezTo>
                  <a:pt x="1795957" y="1014777"/>
                  <a:pt x="1807498" y="1011594"/>
                  <a:pt x="1821426" y="1007216"/>
                </a:cubicBezTo>
                <a:cubicBezTo>
                  <a:pt x="1817446" y="994084"/>
                  <a:pt x="1814263" y="983737"/>
                  <a:pt x="1810681" y="971799"/>
                </a:cubicBezTo>
                <a:close/>
                <a:moveTo>
                  <a:pt x="3520681" y="967023"/>
                </a:moveTo>
                <a:cubicBezTo>
                  <a:pt x="3509936" y="980554"/>
                  <a:pt x="3500385" y="992492"/>
                  <a:pt x="3490437" y="1005227"/>
                </a:cubicBezTo>
                <a:cubicBezTo>
                  <a:pt x="3504763" y="1016767"/>
                  <a:pt x="3516701" y="1026716"/>
                  <a:pt x="3531426" y="1038655"/>
                </a:cubicBezTo>
                <a:cubicBezTo>
                  <a:pt x="3542170" y="1025522"/>
                  <a:pt x="3551721" y="1013584"/>
                  <a:pt x="3562466" y="1000849"/>
                </a:cubicBezTo>
                <a:cubicBezTo>
                  <a:pt x="3547741" y="988911"/>
                  <a:pt x="3534609" y="978564"/>
                  <a:pt x="3520681" y="967023"/>
                </a:cubicBezTo>
                <a:close/>
                <a:moveTo>
                  <a:pt x="1652296" y="965034"/>
                </a:moveTo>
                <a:cubicBezTo>
                  <a:pt x="1637970" y="971401"/>
                  <a:pt x="1625634" y="976574"/>
                  <a:pt x="1612899" y="982145"/>
                </a:cubicBezTo>
                <a:cubicBezTo>
                  <a:pt x="1618470" y="994880"/>
                  <a:pt x="1623246" y="1005625"/>
                  <a:pt x="1628419" y="1017165"/>
                </a:cubicBezTo>
                <a:cubicBezTo>
                  <a:pt x="1642348" y="1011196"/>
                  <a:pt x="1654286" y="1006023"/>
                  <a:pt x="1666623" y="1000849"/>
                </a:cubicBezTo>
                <a:cubicBezTo>
                  <a:pt x="1661449" y="988115"/>
                  <a:pt x="1657470" y="977768"/>
                  <a:pt x="1652296" y="965034"/>
                </a:cubicBezTo>
                <a:close/>
                <a:moveTo>
                  <a:pt x="1699255" y="947922"/>
                </a:moveTo>
                <a:cubicBezTo>
                  <a:pt x="1685326" y="953095"/>
                  <a:pt x="1672990" y="957870"/>
                  <a:pt x="1659460" y="963044"/>
                </a:cubicBezTo>
                <a:cubicBezTo>
                  <a:pt x="1664235" y="975380"/>
                  <a:pt x="1668214" y="985727"/>
                  <a:pt x="1673388" y="998859"/>
                </a:cubicBezTo>
                <a:cubicBezTo>
                  <a:pt x="1687316" y="993686"/>
                  <a:pt x="1699255" y="989309"/>
                  <a:pt x="1712387" y="984135"/>
                </a:cubicBezTo>
                <a:cubicBezTo>
                  <a:pt x="1708010" y="971799"/>
                  <a:pt x="1704030" y="960656"/>
                  <a:pt x="1699255" y="947922"/>
                </a:cubicBezTo>
                <a:close/>
                <a:moveTo>
                  <a:pt x="1006818" y="947126"/>
                </a:moveTo>
                <a:cubicBezTo>
                  <a:pt x="992890" y="958666"/>
                  <a:pt x="980554" y="969013"/>
                  <a:pt x="967421" y="979758"/>
                </a:cubicBezTo>
                <a:cubicBezTo>
                  <a:pt x="975380" y="989707"/>
                  <a:pt x="982543" y="998064"/>
                  <a:pt x="991298" y="1008410"/>
                </a:cubicBezTo>
                <a:cubicBezTo>
                  <a:pt x="1005227" y="996870"/>
                  <a:pt x="1017165" y="986921"/>
                  <a:pt x="1030298" y="976176"/>
                </a:cubicBezTo>
                <a:cubicBezTo>
                  <a:pt x="1021941" y="966227"/>
                  <a:pt x="1014777" y="957074"/>
                  <a:pt x="1006818" y="947126"/>
                </a:cubicBezTo>
                <a:close/>
                <a:moveTo>
                  <a:pt x="2055422" y="944738"/>
                </a:moveTo>
                <a:cubicBezTo>
                  <a:pt x="2041891" y="947126"/>
                  <a:pt x="2030749" y="948718"/>
                  <a:pt x="2018810" y="951105"/>
                </a:cubicBezTo>
                <a:cubicBezTo>
                  <a:pt x="2021198" y="965034"/>
                  <a:pt x="2022790" y="977370"/>
                  <a:pt x="2025177" y="991298"/>
                </a:cubicBezTo>
                <a:cubicBezTo>
                  <a:pt x="2037116" y="989707"/>
                  <a:pt x="2047861" y="988115"/>
                  <a:pt x="2060595" y="986523"/>
                </a:cubicBezTo>
                <a:cubicBezTo>
                  <a:pt x="2059003" y="972197"/>
                  <a:pt x="2057411" y="959860"/>
                  <a:pt x="2055422" y="944738"/>
                </a:cubicBezTo>
                <a:close/>
                <a:moveTo>
                  <a:pt x="2935294" y="942350"/>
                </a:moveTo>
                <a:cubicBezTo>
                  <a:pt x="2928926" y="957472"/>
                  <a:pt x="2923355" y="970605"/>
                  <a:pt x="2917784" y="984135"/>
                </a:cubicBezTo>
                <a:cubicBezTo>
                  <a:pt x="2942855" y="995278"/>
                  <a:pt x="2965538" y="1004829"/>
                  <a:pt x="2989017" y="1015175"/>
                </a:cubicBezTo>
                <a:cubicBezTo>
                  <a:pt x="2995384" y="1001247"/>
                  <a:pt x="3001354" y="989707"/>
                  <a:pt x="3008119" y="974982"/>
                </a:cubicBezTo>
                <a:cubicBezTo>
                  <a:pt x="2983048" y="963442"/>
                  <a:pt x="2959967" y="953095"/>
                  <a:pt x="2935294" y="942350"/>
                </a:cubicBezTo>
                <a:close/>
                <a:moveTo>
                  <a:pt x="2700502" y="931606"/>
                </a:moveTo>
                <a:cubicBezTo>
                  <a:pt x="2696522" y="947126"/>
                  <a:pt x="2692941" y="960258"/>
                  <a:pt x="2688961" y="975380"/>
                </a:cubicBezTo>
                <a:cubicBezTo>
                  <a:pt x="2714430" y="982543"/>
                  <a:pt x="2736715" y="988911"/>
                  <a:pt x="2760593" y="995676"/>
                </a:cubicBezTo>
                <a:cubicBezTo>
                  <a:pt x="2764970" y="980952"/>
                  <a:pt x="2768950" y="967819"/>
                  <a:pt x="2773327" y="953095"/>
                </a:cubicBezTo>
                <a:cubicBezTo>
                  <a:pt x="2748256" y="945932"/>
                  <a:pt x="2725175" y="939167"/>
                  <a:pt x="2700502" y="931606"/>
                </a:cubicBezTo>
                <a:close/>
                <a:moveTo>
                  <a:pt x="1747009" y="931606"/>
                </a:moveTo>
                <a:cubicBezTo>
                  <a:pt x="1732683" y="936381"/>
                  <a:pt x="1720346" y="940758"/>
                  <a:pt x="1706418" y="945534"/>
                </a:cubicBezTo>
                <a:cubicBezTo>
                  <a:pt x="1711193" y="958666"/>
                  <a:pt x="1715173" y="969809"/>
                  <a:pt x="1719550" y="981747"/>
                </a:cubicBezTo>
                <a:cubicBezTo>
                  <a:pt x="1733479" y="976972"/>
                  <a:pt x="1745019" y="972993"/>
                  <a:pt x="1758948" y="968217"/>
                </a:cubicBezTo>
                <a:cubicBezTo>
                  <a:pt x="1754570" y="954687"/>
                  <a:pt x="1750989" y="943942"/>
                  <a:pt x="1747009" y="931606"/>
                </a:cubicBezTo>
                <a:close/>
                <a:moveTo>
                  <a:pt x="2309713" y="924442"/>
                </a:moveTo>
                <a:cubicBezTo>
                  <a:pt x="2309713" y="943942"/>
                  <a:pt x="2309713" y="963442"/>
                  <a:pt x="2309713" y="985329"/>
                </a:cubicBezTo>
                <a:cubicBezTo>
                  <a:pt x="2326427" y="986125"/>
                  <a:pt x="2343539" y="986921"/>
                  <a:pt x="2362243" y="987717"/>
                </a:cubicBezTo>
                <a:cubicBezTo>
                  <a:pt x="2363437" y="965829"/>
                  <a:pt x="2364630" y="946330"/>
                  <a:pt x="2365824" y="924442"/>
                </a:cubicBezTo>
                <a:cubicBezTo>
                  <a:pt x="2346325" y="924442"/>
                  <a:pt x="2328815" y="924442"/>
                  <a:pt x="2309713" y="924442"/>
                </a:cubicBezTo>
                <a:close/>
                <a:moveTo>
                  <a:pt x="2228531" y="923647"/>
                </a:moveTo>
                <a:cubicBezTo>
                  <a:pt x="2228531" y="944738"/>
                  <a:pt x="2228531" y="964238"/>
                  <a:pt x="2228531" y="984533"/>
                </a:cubicBezTo>
                <a:cubicBezTo>
                  <a:pt x="2248428" y="984533"/>
                  <a:pt x="2265142" y="984533"/>
                  <a:pt x="2282254" y="984533"/>
                </a:cubicBezTo>
                <a:cubicBezTo>
                  <a:pt x="2282254" y="963044"/>
                  <a:pt x="2282254" y="943146"/>
                  <a:pt x="2282254" y="923647"/>
                </a:cubicBezTo>
                <a:cubicBezTo>
                  <a:pt x="2263153" y="923647"/>
                  <a:pt x="2245643" y="923647"/>
                  <a:pt x="2228531" y="923647"/>
                </a:cubicBezTo>
                <a:close/>
                <a:moveTo>
                  <a:pt x="2201470" y="923249"/>
                </a:moveTo>
                <a:cubicBezTo>
                  <a:pt x="2182766" y="924442"/>
                  <a:pt x="2166053" y="925636"/>
                  <a:pt x="2145359" y="926830"/>
                </a:cubicBezTo>
                <a:cubicBezTo>
                  <a:pt x="2146951" y="949115"/>
                  <a:pt x="2148543" y="969013"/>
                  <a:pt x="2150532" y="990502"/>
                </a:cubicBezTo>
                <a:cubicBezTo>
                  <a:pt x="2170032" y="988911"/>
                  <a:pt x="2186746" y="987717"/>
                  <a:pt x="2204256" y="986523"/>
                </a:cubicBezTo>
                <a:cubicBezTo>
                  <a:pt x="2203460" y="964238"/>
                  <a:pt x="2202266" y="944340"/>
                  <a:pt x="2201470" y="923249"/>
                </a:cubicBezTo>
                <a:close/>
                <a:moveTo>
                  <a:pt x="3458998" y="919667"/>
                </a:moveTo>
                <a:cubicBezTo>
                  <a:pt x="3448652" y="933993"/>
                  <a:pt x="3439499" y="946330"/>
                  <a:pt x="3430346" y="959462"/>
                </a:cubicBezTo>
                <a:cubicBezTo>
                  <a:pt x="3445070" y="970605"/>
                  <a:pt x="3457804" y="980156"/>
                  <a:pt x="3472131" y="990900"/>
                </a:cubicBezTo>
                <a:cubicBezTo>
                  <a:pt x="3482477" y="977370"/>
                  <a:pt x="3491630" y="965034"/>
                  <a:pt x="3501977" y="951901"/>
                </a:cubicBezTo>
                <a:cubicBezTo>
                  <a:pt x="3487253" y="941156"/>
                  <a:pt x="3474518" y="931208"/>
                  <a:pt x="3458998" y="919667"/>
                </a:cubicBezTo>
                <a:close/>
                <a:moveTo>
                  <a:pt x="1794365" y="917279"/>
                </a:moveTo>
                <a:cubicBezTo>
                  <a:pt x="1780039" y="921259"/>
                  <a:pt x="1767702" y="925238"/>
                  <a:pt x="1753774" y="929218"/>
                </a:cubicBezTo>
                <a:cubicBezTo>
                  <a:pt x="1757754" y="941952"/>
                  <a:pt x="1761335" y="953095"/>
                  <a:pt x="1765315" y="966625"/>
                </a:cubicBezTo>
                <a:cubicBezTo>
                  <a:pt x="1780039" y="961850"/>
                  <a:pt x="1792376" y="957870"/>
                  <a:pt x="1805508" y="953493"/>
                </a:cubicBezTo>
                <a:cubicBezTo>
                  <a:pt x="1801528" y="940360"/>
                  <a:pt x="1798345" y="929218"/>
                  <a:pt x="1794365" y="917279"/>
                </a:cubicBezTo>
                <a:close/>
                <a:moveTo>
                  <a:pt x="2592657" y="906933"/>
                </a:moveTo>
                <a:cubicBezTo>
                  <a:pt x="2589473" y="922453"/>
                  <a:pt x="2586688" y="935585"/>
                  <a:pt x="2583902" y="950707"/>
                </a:cubicBezTo>
                <a:cubicBezTo>
                  <a:pt x="2608575" y="956279"/>
                  <a:pt x="2632054" y="961452"/>
                  <a:pt x="2656727" y="967023"/>
                </a:cubicBezTo>
                <a:cubicBezTo>
                  <a:pt x="2660309" y="952299"/>
                  <a:pt x="2663890" y="939167"/>
                  <a:pt x="2667472" y="923647"/>
                </a:cubicBezTo>
                <a:cubicBezTo>
                  <a:pt x="2642003" y="918075"/>
                  <a:pt x="2618126" y="912504"/>
                  <a:pt x="2592657" y="906933"/>
                </a:cubicBezTo>
                <a:close/>
                <a:moveTo>
                  <a:pt x="2827847" y="901361"/>
                </a:moveTo>
                <a:cubicBezTo>
                  <a:pt x="2822673" y="916085"/>
                  <a:pt x="2818296" y="929218"/>
                  <a:pt x="2813122" y="944340"/>
                </a:cubicBezTo>
                <a:cubicBezTo>
                  <a:pt x="2838989" y="953891"/>
                  <a:pt x="2862070" y="962248"/>
                  <a:pt x="2886346" y="971003"/>
                </a:cubicBezTo>
                <a:cubicBezTo>
                  <a:pt x="2891917" y="956279"/>
                  <a:pt x="2896692" y="943942"/>
                  <a:pt x="2902264" y="929218"/>
                </a:cubicBezTo>
                <a:cubicBezTo>
                  <a:pt x="2876795" y="920065"/>
                  <a:pt x="2852917" y="911310"/>
                  <a:pt x="2827847" y="901361"/>
                </a:cubicBezTo>
                <a:close/>
                <a:moveTo>
                  <a:pt x="1969066" y="898178"/>
                </a:moveTo>
                <a:cubicBezTo>
                  <a:pt x="1955536" y="900963"/>
                  <a:pt x="1943995" y="903351"/>
                  <a:pt x="1931261" y="906137"/>
                </a:cubicBezTo>
                <a:cubicBezTo>
                  <a:pt x="1934444" y="920463"/>
                  <a:pt x="1937230" y="932799"/>
                  <a:pt x="1940016" y="946728"/>
                </a:cubicBezTo>
                <a:cubicBezTo>
                  <a:pt x="1953148" y="943942"/>
                  <a:pt x="1964291" y="941554"/>
                  <a:pt x="1976627" y="939167"/>
                </a:cubicBezTo>
                <a:cubicBezTo>
                  <a:pt x="1973842" y="924442"/>
                  <a:pt x="1971454" y="911708"/>
                  <a:pt x="1969066" y="898178"/>
                </a:cubicBezTo>
                <a:close/>
                <a:moveTo>
                  <a:pt x="1565941" y="890617"/>
                </a:moveTo>
                <a:cubicBezTo>
                  <a:pt x="1551217" y="896984"/>
                  <a:pt x="1538482" y="902555"/>
                  <a:pt x="1524156" y="908922"/>
                </a:cubicBezTo>
                <a:cubicBezTo>
                  <a:pt x="1537686" y="938371"/>
                  <a:pt x="1550421" y="965829"/>
                  <a:pt x="1563553" y="994880"/>
                </a:cubicBezTo>
                <a:cubicBezTo>
                  <a:pt x="1576686" y="988911"/>
                  <a:pt x="1588624" y="983737"/>
                  <a:pt x="1602950" y="977370"/>
                </a:cubicBezTo>
                <a:cubicBezTo>
                  <a:pt x="1590216" y="947524"/>
                  <a:pt x="1578277" y="919667"/>
                  <a:pt x="1565941" y="890617"/>
                </a:cubicBezTo>
                <a:close/>
                <a:moveTo>
                  <a:pt x="2960762" y="882259"/>
                </a:moveTo>
                <a:cubicBezTo>
                  <a:pt x="2954395" y="896586"/>
                  <a:pt x="2949222" y="909718"/>
                  <a:pt x="2943253" y="923647"/>
                </a:cubicBezTo>
                <a:cubicBezTo>
                  <a:pt x="2968324" y="934789"/>
                  <a:pt x="2991803" y="945136"/>
                  <a:pt x="3016874" y="956279"/>
                </a:cubicBezTo>
                <a:cubicBezTo>
                  <a:pt x="3023241" y="942350"/>
                  <a:pt x="3029210" y="929616"/>
                  <a:pt x="3036373" y="915687"/>
                </a:cubicBezTo>
                <a:cubicBezTo>
                  <a:pt x="3010108" y="904147"/>
                  <a:pt x="2986231" y="893402"/>
                  <a:pt x="2960762" y="882259"/>
                </a:cubicBezTo>
                <a:close/>
                <a:moveTo>
                  <a:pt x="2491975" y="875096"/>
                </a:moveTo>
                <a:cubicBezTo>
                  <a:pt x="2488394" y="904147"/>
                  <a:pt x="2484812" y="930412"/>
                  <a:pt x="2480832" y="958666"/>
                </a:cubicBezTo>
                <a:cubicBezTo>
                  <a:pt x="2502322" y="961850"/>
                  <a:pt x="2522220" y="964636"/>
                  <a:pt x="2542913" y="967819"/>
                </a:cubicBezTo>
                <a:cubicBezTo>
                  <a:pt x="2547688" y="939167"/>
                  <a:pt x="2552066" y="913698"/>
                  <a:pt x="2557239" y="884647"/>
                </a:cubicBezTo>
                <a:cubicBezTo>
                  <a:pt x="2534158" y="881066"/>
                  <a:pt x="2513862" y="878280"/>
                  <a:pt x="2491975" y="875096"/>
                </a:cubicBezTo>
                <a:close/>
                <a:moveTo>
                  <a:pt x="1614889" y="870321"/>
                </a:moveTo>
                <a:cubicBezTo>
                  <a:pt x="1600165" y="876290"/>
                  <a:pt x="1587430" y="881862"/>
                  <a:pt x="1573104" y="887831"/>
                </a:cubicBezTo>
                <a:cubicBezTo>
                  <a:pt x="1585441" y="917279"/>
                  <a:pt x="1597379" y="945534"/>
                  <a:pt x="1609716" y="974584"/>
                </a:cubicBezTo>
                <a:cubicBezTo>
                  <a:pt x="1624042" y="968615"/>
                  <a:pt x="1635980" y="963442"/>
                  <a:pt x="1649511" y="957870"/>
                </a:cubicBezTo>
                <a:cubicBezTo>
                  <a:pt x="1637572" y="928024"/>
                  <a:pt x="1626430" y="899769"/>
                  <a:pt x="1614889" y="870321"/>
                </a:cubicBezTo>
                <a:close/>
                <a:moveTo>
                  <a:pt x="1879527" y="858382"/>
                </a:moveTo>
                <a:cubicBezTo>
                  <a:pt x="1866395" y="861566"/>
                  <a:pt x="1855650" y="864352"/>
                  <a:pt x="1841722" y="867933"/>
                </a:cubicBezTo>
                <a:cubicBezTo>
                  <a:pt x="1845701" y="882657"/>
                  <a:pt x="1849283" y="894994"/>
                  <a:pt x="1852864" y="908524"/>
                </a:cubicBezTo>
                <a:cubicBezTo>
                  <a:pt x="1866395" y="904545"/>
                  <a:pt x="1877537" y="901759"/>
                  <a:pt x="1889874" y="898178"/>
                </a:cubicBezTo>
                <a:cubicBezTo>
                  <a:pt x="1885894" y="883453"/>
                  <a:pt x="1882711" y="871117"/>
                  <a:pt x="1879527" y="858382"/>
                </a:cubicBezTo>
                <a:close/>
                <a:moveTo>
                  <a:pt x="2848938" y="840077"/>
                </a:moveTo>
                <a:cubicBezTo>
                  <a:pt x="2843765" y="854801"/>
                  <a:pt x="2838989" y="867535"/>
                  <a:pt x="2833816" y="882657"/>
                </a:cubicBezTo>
                <a:cubicBezTo>
                  <a:pt x="2860081" y="892606"/>
                  <a:pt x="2884356" y="901361"/>
                  <a:pt x="2909825" y="910514"/>
                </a:cubicBezTo>
                <a:cubicBezTo>
                  <a:pt x="2915396" y="896188"/>
                  <a:pt x="2920569" y="883055"/>
                  <a:pt x="2926141" y="868331"/>
                </a:cubicBezTo>
                <a:cubicBezTo>
                  <a:pt x="2899080" y="858382"/>
                  <a:pt x="2874805" y="849627"/>
                  <a:pt x="2848938" y="840077"/>
                </a:cubicBezTo>
                <a:close/>
                <a:moveTo>
                  <a:pt x="1715173" y="834505"/>
                </a:moveTo>
                <a:cubicBezTo>
                  <a:pt x="1699653" y="839679"/>
                  <a:pt x="1686520" y="844056"/>
                  <a:pt x="1672194" y="849230"/>
                </a:cubicBezTo>
                <a:cubicBezTo>
                  <a:pt x="1682939" y="879872"/>
                  <a:pt x="1693286" y="908524"/>
                  <a:pt x="1703632" y="937973"/>
                </a:cubicBezTo>
                <a:cubicBezTo>
                  <a:pt x="1718754" y="932799"/>
                  <a:pt x="1731091" y="928422"/>
                  <a:pt x="1744621" y="924044"/>
                </a:cubicBezTo>
                <a:cubicBezTo>
                  <a:pt x="1734673" y="893402"/>
                  <a:pt x="1725122" y="864352"/>
                  <a:pt x="1715173" y="834505"/>
                </a:cubicBezTo>
                <a:close/>
                <a:moveTo>
                  <a:pt x="2398058" y="834107"/>
                </a:moveTo>
                <a:cubicBezTo>
                  <a:pt x="2396467" y="856393"/>
                  <a:pt x="2394875" y="876290"/>
                  <a:pt x="2393283" y="897382"/>
                </a:cubicBezTo>
                <a:cubicBezTo>
                  <a:pt x="2413181" y="899371"/>
                  <a:pt x="2430691" y="900963"/>
                  <a:pt x="2450588" y="902953"/>
                </a:cubicBezTo>
                <a:cubicBezTo>
                  <a:pt x="2452976" y="880668"/>
                  <a:pt x="2454966" y="861168"/>
                  <a:pt x="2457353" y="839679"/>
                </a:cubicBezTo>
                <a:cubicBezTo>
                  <a:pt x="2437058" y="837689"/>
                  <a:pt x="2418354" y="836097"/>
                  <a:pt x="2398058" y="834107"/>
                </a:cubicBezTo>
                <a:close/>
                <a:moveTo>
                  <a:pt x="2311305" y="832515"/>
                </a:moveTo>
                <a:cubicBezTo>
                  <a:pt x="2311305" y="852413"/>
                  <a:pt x="2311305" y="871913"/>
                  <a:pt x="2311305" y="893402"/>
                </a:cubicBezTo>
                <a:cubicBezTo>
                  <a:pt x="2329611" y="893402"/>
                  <a:pt x="2347916" y="893402"/>
                  <a:pt x="2367814" y="893402"/>
                </a:cubicBezTo>
                <a:cubicBezTo>
                  <a:pt x="2368610" y="873505"/>
                  <a:pt x="2369406" y="854005"/>
                  <a:pt x="2370600" y="832515"/>
                </a:cubicBezTo>
                <a:cubicBezTo>
                  <a:pt x="2350702" y="832515"/>
                  <a:pt x="2332396" y="832515"/>
                  <a:pt x="2311305" y="832515"/>
                </a:cubicBezTo>
                <a:close/>
                <a:moveTo>
                  <a:pt x="2197889" y="830526"/>
                </a:moveTo>
                <a:cubicBezTo>
                  <a:pt x="2177593" y="831322"/>
                  <a:pt x="2159287" y="832515"/>
                  <a:pt x="2137798" y="833709"/>
                </a:cubicBezTo>
                <a:cubicBezTo>
                  <a:pt x="2139788" y="856393"/>
                  <a:pt x="2141379" y="876290"/>
                  <a:pt x="2143369" y="897780"/>
                </a:cubicBezTo>
                <a:cubicBezTo>
                  <a:pt x="2163267" y="896586"/>
                  <a:pt x="2181175" y="894994"/>
                  <a:pt x="2197889" y="893800"/>
                </a:cubicBezTo>
                <a:cubicBezTo>
                  <a:pt x="2197889" y="872311"/>
                  <a:pt x="2197889" y="852811"/>
                  <a:pt x="2197889" y="830526"/>
                </a:cubicBezTo>
                <a:close/>
                <a:moveTo>
                  <a:pt x="1766111" y="819383"/>
                </a:moveTo>
                <a:cubicBezTo>
                  <a:pt x="1751784" y="823761"/>
                  <a:pt x="1738652" y="827740"/>
                  <a:pt x="1722734" y="832515"/>
                </a:cubicBezTo>
                <a:cubicBezTo>
                  <a:pt x="1732683" y="863556"/>
                  <a:pt x="1741836" y="892208"/>
                  <a:pt x="1751387" y="922055"/>
                </a:cubicBezTo>
                <a:cubicBezTo>
                  <a:pt x="1766111" y="917279"/>
                  <a:pt x="1778845" y="913300"/>
                  <a:pt x="1792774" y="908922"/>
                </a:cubicBezTo>
                <a:cubicBezTo>
                  <a:pt x="1783621" y="878280"/>
                  <a:pt x="1775264" y="849230"/>
                  <a:pt x="1766111" y="819383"/>
                </a:cubicBezTo>
                <a:close/>
                <a:moveTo>
                  <a:pt x="2733930" y="805853"/>
                </a:moveTo>
                <a:cubicBezTo>
                  <a:pt x="2729950" y="820975"/>
                  <a:pt x="2726369" y="834107"/>
                  <a:pt x="2722389" y="849230"/>
                </a:cubicBezTo>
                <a:cubicBezTo>
                  <a:pt x="2749450" y="857189"/>
                  <a:pt x="2774123" y="863954"/>
                  <a:pt x="2799990" y="871515"/>
                </a:cubicBezTo>
                <a:cubicBezTo>
                  <a:pt x="2804367" y="856791"/>
                  <a:pt x="2808745" y="843260"/>
                  <a:pt x="2813122" y="828536"/>
                </a:cubicBezTo>
                <a:cubicBezTo>
                  <a:pt x="2785266" y="820577"/>
                  <a:pt x="2760195" y="813414"/>
                  <a:pt x="2733930" y="805853"/>
                </a:cubicBezTo>
                <a:close/>
                <a:moveTo>
                  <a:pt x="2617330" y="778792"/>
                </a:moveTo>
                <a:cubicBezTo>
                  <a:pt x="2614544" y="794312"/>
                  <a:pt x="2611759" y="808240"/>
                  <a:pt x="2608575" y="822965"/>
                </a:cubicBezTo>
                <a:cubicBezTo>
                  <a:pt x="2635636" y="828934"/>
                  <a:pt x="2660707" y="834107"/>
                  <a:pt x="2687370" y="840077"/>
                </a:cubicBezTo>
                <a:cubicBezTo>
                  <a:pt x="2690951" y="824954"/>
                  <a:pt x="2694135" y="811424"/>
                  <a:pt x="2697716" y="796302"/>
                </a:cubicBezTo>
                <a:cubicBezTo>
                  <a:pt x="2669860" y="790333"/>
                  <a:pt x="2644391" y="784761"/>
                  <a:pt x="2617330" y="778792"/>
                </a:cubicBezTo>
                <a:close/>
                <a:moveTo>
                  <a:pt x="2869233" y="777996"/>
                </a:moveTo>
                <a:cubicBezTo>
                  <a:pt x="2864060" y="793516"/>
                  <a:pt x="2859683" y="806649"/>
                  <a:pt x="2854907" y="820577"/>
                </a:cubicBezTo>
                <a:cubicBezTo>
                  <a:pt x="2881570" y="830526"/>
                  <a:pt x="2906641" y="839679"/>
                  <a:pt x="2933304" y="848832"/>
                </a:cubicBezTo>
                <a:cubicBezTo>
                  <a:pt x="2938875" y="834903"/>
                  <a:pt x="2944049" y="822169"/>
                  <a:pt x="2950018" y="807047"/>
                </a:cubicBezTo>
                <a:cubicBezTo>
                  <a:pt x="2921763" y="797098"/>
                  <a:pt x="2895896" y="787547"/>
                  <a:pt x="2869233" y="777996"/>
                </a:cubicBezTo>
                <a:close/>
                <a:moveTo>
                  <a:pt x="1577879" y="775210"/>
                </a:moveTo>
                <a:cubicBezTo>
                  <a:pt x="1562359" y="781578"/>
                  <a:pt x="1548431" y="787149"/>
                  <a:pt x="1533309" y="793516"/>
                </a:cubicBezTo>
                <a:cubicBezTo>
                  <a:pt x="1545645" y="822965"/>
                  <a:pt x="1557584" y="851219"/>
                  <a:pt x="1569920" y="880668"/>
                </a:cubicBezTo>
                <a:cubicBezTo>
                  <a:pt x="1585043" y="873903"/>
                  <a:pt x="1598175" y="868331"/>
                  <a:pt x="1612103" y="862362"/>
                </a:cubicBezTo>
                <a:cubicBezTo>
                  <a:pt x="1600563" y="832515"/>
                  <a:pt x="1589420" y="804261"/>
                  <a:pt x="1577879" y="775210"/>
                </a:cubicBezTo>
                <a:close/>
                <a:moveTo>
                  <a:pt x="3010506" y="761282"/>
                </a:moveTo>
                <a:cubicBezTo>
                  <a:pt x="3004139" y="776404"/>
                  <a:pt x="2998568" y="789537"/>
                  <a:pt x="2992997" y="803067"/>
                </a:cubicBezTo>
                <a:cubicBezTo>
                  <a:pt x="3020455" y="815404"/>
                  <a:pt x="3045526" y="826546"/>
                  <a:pt x="3072189" y="838087"/>
                </a:cubicBezTo>
                <a:cubicBezTo>
                  <a:pt x="3078954" y="824159"/>
                  <a:pt x="3084923" y="811424"/>
                  <a:pt x="3091689" y="797496"/>
                </a:cubicBezTo>
                <a:cubicBezTo>
                  <a:pt x="3063832" y="785159"/>
                  <a:pt x="3038761" y="773619"/>
                  <a:pt x="3010506" y="761282"/>
                </a:cubicBezTo>
                <a:close/>
                <a:moveTo>
                  <a:pt x="1630807" y="755313"/>
                </a:moveTo>
                <a:cubicBezTo>
                  <a:pt x="1614093" y="761282"/>
                  <a:pt x="1600165" y="766853"/>
                  <a:pt x="1585441" y="772823"/>
                </a:cubicBezTo>
                <a:cubicBezTo>
                  <a:pt x="1597379" y="802669"/>
                  <a:pt x="1608124" y="830924"/>
                  <a:pt x="1619664" y="860372"/>
                </a:cubicBezTo>
                <a:cubicBezTo>
                  <a:pt x="1634389" y="854801"/>
                  <a:pt x="1647919" y="849627"/>
                  <a:pt x="1662643" y="844056"/>
                </a:cubicBezTo>
                <a:cubicBezTo>
                  <a:pt x="1651899" y="813812"/>
                  <a:pt x="1641552" y="785159"/>
                  <a:pt x="1630807" y="755313"/>
                </a:cubicBezTo>
                <a:close/>
                <a:moveTo>
                  <a:pt x="2750644" y="742578"/>
                </a:moveTo>
                <a:cubicBezTo>
                  <a:pt x="2746266" y="758496"/>
                  <a:pt x="2743083" y="771231"/>
                  <a:pt x="2739103" y="785955"/>
                </a:cubicBezTo>
                <a:cubicBezTo>
                  <a:pt x="2766164" y="793516"/>
                  <a:pt x="2791633" y="801077"/>
                  <a:pt x="2819489" y="809036"/>
                </a:cubicBezTo>
                <a:cubicBezTo>
                  <a:pt x="2824265" y="793914"/>
                  <a:pt x="2828244" y="780782"/>
                  <a:pt x="2832622" y="766058"/>
                </a:cubicBezTo>
                <a:cubicBezTo>
                  <a:pt x="2803969" y="757701"/>
                  <a:pt x="2777704" y="750139"/>
                  <a:pt x="2750644" y="742578"/>
                </a:cubicBezTo>
                <a:close/>
                <a:moveTo>
                  <a:pt x="2404824" y="742180"/>
                </a:moveTo>
                <a:cubicBezTo>
                  <a:pt x="2403232" y="764864"/>
                  <a:pt x="2401640" y="784761"/>
                  <a:pt x="2400844" y="805455"/>
                </a:cubicBezTo>
                <a:cubicBezTo>
                  <a:pt x="2422333" y="807445"/>
                  <a:pt x="2441037" y="809036"/>
                  <a:pt x="2460935" y="810628"/>
                </a:cubicBezTo>
                <a:cubicBezTo>
                  <a:pt x="2463322" y="788741"/>
                  <a:pt x="2465312" y="769241"/>
                  <a:pt x="2467700" y="747354"/>
                </a:cubicBezTo>
                <a:cubicBezTo>
                  <a:pt x="2445415" y="745762"/>
                  <a:pt x="2425915" y="744170"/>
                  <a:pt x="2404824" y="742180"/>
                </a:cubicBezTo>
                <a:close/>
                <a:moveTo>
                  <a:pt x="2313693" y="739793"/>
                </a:moveTo>
                <a:cubicBezTo>
                  <a:pt x="2313693" y="760486"/>
                  <a:pt x="2313693" y="779986"/>
                  <a:pt x="2313693" y="801077"/>
                </a:cubicBezTo>
                <a:cubicBezTo>
                  <a:pt x="2333988" y="801077"/>
                  <a:pt x="2353090" y="801077"/>
                  <a:pt x="2372988" y="801077"/>
                </a:cubicBezTo>
                <a:cubicBezTo>
                  <a:pt x="2374181" y="780782"/>
                  <a:pt x="2375375" y="761282"/>
                  <a:pt x="2376569" y="739793"/>
                </a:cubicBezTo>
                <a:cubicBezTo>
                  <a:pt x="2355080" y="739793"/>
                  <a:pt x="2335580" y="739793"/>
                  <a:pt x="2313693" y="739793"/>
                </a:cubicBezTo>
                <a:close/>
                <a:moveTo>
                  <a:pt x="2224153" y="738997"/>
                </a:moveTo>
                <a:cubicBezTo>
                  <a:pt x="2224153" y="760486"/>
                  <a:pt x="2224153" y="779986"/>
                  <a:pt x="2224153" y="799486"/>
                </a:cubicBezTo>
                <a:cubicBezTo>
                  <a:pt x="2245245" y="799486"/>
                  <a:pt x="2264346" y="799486"/>
                  <a:pt x="2284642" y="799486"/>
                </a:cubicBezTo>
                <a:cubicBezTo>
                  <a:pt x="2284642" y="778394"/>
                  <a:pt x="2284642" y="759292"/>
                  <a:pt x="2284642" y="738997"/>
                </a:cubicBezTo>
                <a:cubicBezTo>
                  <a:pt x="2263153" y="738997"/>
                  <a:pt x="2243255" y="738997"/>
                  <a:pt x="2224153" y="738997"/>
                </a:cubicBezTo>
                <a:close/>
                <a:moveTo>
                  <a:pt x="1684133" y="737405"/>
                </a:moveTo>
                <a:cubicBezTo>
                  <a:pt x="1668612" y="742578"/>
                  <a:pt x="1654286" y="747354"/>
                  <a:pt x="1638766" y="752925"/>
                </a:cubicBezTo>
                <a:cubicBezTo>
                  <a:pt x="1649113" y="783567"/>
                  <a:pt x="1659460" y="811822"/>
                  <a:pt x="1669806" y="841668"/>
                </a:cubicBezTo>
                <a:cubicBezTo>
                  <a:pt x="1684929" y="836097"/>
                  <a:pt x="1698459" y="831720"/>
                  <a:pt x="1713183" y="826546"/>
                </a:cubicBezTo>
                <a:cubicBezTo>
                  <a:pt x="1703234" y="796700"/>
                  <a:pt x="1694081" y="768047"/>
                  <a:pt x="1684133" y="737405"/>
                </a:cubicBezTo>
                <a:close/>
                <a:moveTo>
                  <a:pt x="1737856" y="720691"/>
                </a:moveTo>
                <a:cubicBezTo>
                  <a:pt x="1721540" y="725864"/>
                  <a:pt x="1707612" y="729844"/>
                  <a:pt x="1691694" y="734619"/>
                </a:cubicBezTo>
                <a:cubicBezTo>
                  <a:pt x="1702040" y="766058"/>
                  <a:pt x="1711193" y="794710"/>
                  <a:pt x="1720744" y="824556"/>
                </a:cubicBezTo>
                <a:cubicBezTo>
                  <a:pt x="1736264" y="819383"/>
                  <a:pt x="1749795" y="815006"/>
                  <a:pt x="1764121" y="810628"/>
                </a:cubicBezTo>
                <a:cubicBezTo>
                  <a:pt x="1754968" y="779588"/>
                  <a:pt x="1746611" y="750935"/>
                  <a:pt x="1737856" y="720691"/>
                </a:cubicBezTo>
                <a:close/>
                <a:moveTo>
                  <a:pt x="2630064" y="714722"/>
                </a:moveTo>
                <a:cubicBezTo>
                  <a:pt x="2626881" y="730242"/>
                  <a:pt x="2624493" y="743772"/>
                  <a:pt x="2621708" y="759292"/>
                </a:cubicBezTo>
                <a:cubicBezTo>
                  <a:pt x="2649962" y="765262"/>
                  <a:pt x="2675829" y="770833"/>
                  <a:pt x="2703288" y="776802"/>
                </a:cubicBezTo>
                <a:cubicBezTo>
                  <a:pt x="2706869" y="761282"/>
                  <a:pt x="2710053" y="748150"/>
                  <a:pt x="2713634" y="733028"/>
                </a:cubicBezTo>
                <a:cubicBezTo>
                  <a:pt x="2684982" y="726660"/>
                  <a:pt x="2658319" y="721089"/>
                  <a:pt x="2630064" y="714722"/>
                </a:cubicBezTo>
                <a:close/>
                <a:moveTo>
                  <a:pt x="1485953" y="701987"/>
                </a:moveTo>
                <a:cubicBezTo>
                  <a:pt x="1470034" y="709150"/>
                  <a:pt x="1455708" y="715518"/>
                  <a:pt x="1439392" y="722681"/>
                </a:cubicBezTo>
                <a:cubicBezTo>
                  <a:pt x="1453320" y="752925"/>
                  <a:pt x="1465657" y="780384"/>
                  <a:pt x="1478789" y="808638"/>
                </a:cubicBezTo>
                <a:cubicBezTo>
                  <a:pt x="1494708" y="801475"/>
                  <a:pt x="1508238" y="795506"/>
                  <a:pt x="1522962" y="788343"/>
                </a:cubicBezTo>
                <a:cubicBezTo>
                  <a:pt x="1510228" y="758894"/>
                  <a:pt x="1498289" y="731038"/>
                  <a:pt x="1485953" y="701987"/>
                </a:cubicBezTo>
                <a:close/>
                <a:moveTo>
                  <a:pt x="1540870" y="680100"/>
                </a:moveTo>
                <a:cubicBezTo>
                  <a:pt x="1524952" y="686467"/>
                  <a:pt x="1510228" y="692436"/>
                  <a:pt x="1493514" y="698804"/>
                </a:cubicBezTo>
                <a:cubicBezTo>
                  <a:pt x="1506646" y="729048"/>
                  <a:pt x="1518187" y="756905"/>
                  <a:pt x="1530523" y="785955"/>
                </a:cubicBezTo>
                <a:cubicBezTo>
                  <a:pt x="1546441" y="779190"/>
                  <a:pt x="1559972" y="773619"/>
                  <a:pt x="1575094" y="767251"/>
                </a:cubicBezTo>
                <a:cubicBezTo>
                  <a:pt x="1563155" y="737405"/>
                  <a:pt x="1552411" y="709150"/>
                  <a:pt x="1540870" y="680100"/>
                </a:cubicBezTo>
                <a:close/>
                <a:moveTo>
                  <a:pt x="1468841" y="662590"/>
                </a:moveTo>
                <a:cubicBezTo>
                  <a:pt x="1451729" y="670549"/>
                  <a:pt x="1437005" y="677314"/>
                  <a:pt x="1421882" y="684079"/>
                </a:cubicBezTo>
                <a:cubicBezTo>
                  <a:pt x="1426658" y="694824"/>
                  <a:pt x="1431035" y="703977"/>
                  <a:pt x="1436607" y="715916"/>
                </a:cubicBezTo>
                <a:cubicBezTo>
                  <a:pt x="1452525" y="708752"/>
                  <a:pt x="1467647" y="701987"/>
                  <a:pt x="1483167" y="694824"/>
                </a:cubicBezTo>
                <a:cubicBezTo>
                  <a:pt x="1477994" y="683284"/>
                  <a:pt x="1473616" y="673335"/>
                  <a:pt x="1468841" y="662590"/>
                </a:cubicBezTo>
                <a:close/>
                <a:moveTo>
                  <a:pt x="1596185" y="659008"/>
                </a:moveTo>
                <a:cubicBezTo>
                  <a:pt x="1579471" y="665376"/>
                  <a:pt x="1564747" y="670947"/>
                  <a:pt x="1548829" y="676916"/>
                </a:cubicBezTo>
                <a:cubicBezTo>
                  <a:pt x="1560370" y="706763"/>
                  <a:pt x="1571114" y="735017"/>
                  <a:pt x="1582655" y="764864"/>
                </a:cubicBezTo>
                <a:cubicBezTo>
                  <a:pt x="1598573" y="758894"/>
                  <a:pt x="1612899" y="753323"/>
                  <a:pt x="1628021" y="747354"/>
                </a:cubicBezTo>
                <a:cubicBezTo>
                  <a:pt x="1616879" y="716712"/>
                  <a:pt x="1606930" y="688457"/>
                  <a:pt x="1596185" y="659008"/>
                </a:cubicBezTo>
                <a:close/>
                <a:moveTo>
                  <a:pt x="2911018" y="654233"/>
                </a:moveTo>
                <a:cubicBezTo>
                  <a:pt x="2905845" y="669753"/>
                  <a:pt x="2901866" y="682886"/>
                  <a:pt x="2897090" y="696814"/>
                </a:cubicBezTo>
                <a:cubicBezTo>
                  <a:pt x="2925743" y="707559"/>
                  <a:pt x="2952803" y="717507"/>
                  <a:pt x="2981058" y="727854"/>
                </a:cubicBezTo>
                <a:cubicBezTo>
                  <a:pt x="2986629" y="713130"/>
                  <a:pt x="2991803" y="699998"/>
                  <a:pt x="2997374" y="685671"/>
                </a:cubicBezTo>
                <a:cubicBezTo>
                  <a:pt x="2967130" y="674529"/>
                  <a:pt x="2939671" y="664580"/>
                  <a:pt x="2911018" y="654233"/>
                </a:cubicBezTo>
                <a:close/>
                <a:moveTo>
                  <a:pt x="2191123" y="646672"/>
                </a:moveTo>
                <a:cubicBezTo>
                  <a:pt x="2167246" y="647866"/>
                  <a:pt x="2146553" y="648662"/>
                  <a:pt x="2124268" y="649856"/>
                </a:cubicBezTo>
                <a:cubicBezTo>
                  <a:pt x="2125859" y="672539"/>
                  <a:pt x="2127053" y="692436"/>
                  <a:pt x="2128645" y="713528"/>
                </a:cubicBezTo>
                <a:cubicBezTo>
                  <a:pt x="2151726" y="711936"/>
                  <a:pt x="2172022" y="711140"/>
                  <a:pt x="2191123" y="709946"/>
                </a:cubicBezTo>
                <a:cubicBezTo>
                  <a:pt x="2191123" y="688457"/>
                  <a:pt x="2191123" y="669355"/>
                  <a:pt x="2191123" y="646672"/>
                </a:cubicBezTo>
                <a:close/>
                <a:moveTo>
                  <a:pt x="2315682" y="645080"/>
                </a:moveTo>
                <a:cubicBezTo>
                  <a:pt x="2315682" y="667365"/>
                  <a:pt x="2315682" y="687263"/>
                  <a:pt x="2315682" y="708752"/>
                </a:cubicBezTo>
                <a:cubicBezTo>
                  <a:pt x="2335182" y="709548"/>
                  <a:pt x="2355478" y="710344"/>
                  <a:pt x="2378161" y="711538"/>
                </a:cubicBezTo>
                <a:cubicBezTo>
                  <a:pt x="2379355" y="688855"/>
                  <a:pt x="2380549" y="669355"/>
                  <a:pt x="2381742" y="647866"/>
                </a:cubicBezTo>
                <a:cubicBezTo>
                  <a:pt x="2358661" y="647070"/>
                  <a:pt x="2337968" y="645876"/>
                  <a:pt x="2315682" y="645080"/>
                </a:cubicBezTo>
                <a:close/>
                <a:moveTo>
                  <a:pt x="3060648" y="640703"/>
                </a:moveTo>
                <a:cubicBezTo>
                  <a:pt x="3054281" y="655427"/>
                  <a:pt x="3049108" y="667763"/>
                  <a:pt x="3043138" y="682090"/>
                </a:cubicBezTo>
                <a:cubicBezTo>
                  <a:pt x="3072587" y="695222"/>
                  <a:pt x="3099648" y="707161"/>
                  <a:pt x="3127902" y="719895"/>
                </a:cubicBezTo>
                <a:cubicBezTo>
                  <a:pt x="3134270" y="705967"/>
                  <a:pt x="3140239" y="693232"/>
                  <a:pt x="3147004" y="678906"/>
                </a:cubicBezTo>
                <a:cubicBezTo>
                  <a:pt x="3117556" y="665774"/>
                  <a:pt x="3090097" y="653835"/>
                  <a:pt x="3060648" y="640703"/>
                </a:cubicBezTo>
                <a:close/>
                <a:moveTo>
                  <a:pt x="1651899" y="640305"/>
                </a:moveTo>
                <a:cubicBezTo>
                  <a:pt x="1635185" y="645876"/>
                  <a:pt x="1620460" y="651049"/>
                  <a:pt x="1604144" y="656621"/>
                </a:cubicBezTo>
                <a:cubicBezTo>
                  <a:pt x="1614889" y="686467"/>
                  <a:pt x="1624838" y="715120"/>
                  <a:pt x="1635583" y="745364"/>
                </a:cubicBezTo>
                <a:cubicBezTo>
                  <a:pt x="1651899" y="739793"/>
                  <a:pt x="1667021" y="734619"/>
                  <a:pt x="1681347" y="729844"/>
                </a:cubicBezTo>
                <a:cubicBezTo>
                  <a:pt x="1670602" y="697610"/>
                  <a:pt x="1661449" y="669355"/>
                  <a:pt x="1651899" y="640305"/>
                </a:cubicBezTo>
                <a:close/>
                <a:moveTo>
                  <a:pt x="1524554" y="639907"/>
                </a:moveTo>
                <a:cubicBezTo>
                  <a:pt x="1507840" y="647070"/>
                  <a:pt x="1493116" y="653039"/>
                  <a:pt x="1477198" y="659804"/>
                </a:cubicBezTo>
                <a:cubicBezTo>
                  <a:pt x="1481973" y="671345"/>
                  <a:pt x="1486351" y="680896"/>
                  <a:pt x="1491126" y="691641"/>
                </a:cubicBezTo>
                <a:cubicBezTo>
                  <a:pt x="1507044" y="685273"/>
                  <a:pt x="1521370" y="679304"/>
                  <a:pt x="1538482" y="672539"/>
                </a:cubicBezTo>
                <a:cubicBezTo>
                  <a:pt x="1533309" y="660202"/>
                  <a:pt x="1528931" y="650254"/>
                  <a:pt x="1524554" y="639907"/>
                </a:cubicBezTo>
                <a:close/>
                <a:moveTo>
                  <a:pt x="1580665" y="618019"/>
                </a:moveTo>
                <a:cubicBezTo>
                  <a:pt x="1563951" y="624387"/>
                  <a:pt x="1549227" y="629958"/>
                  <a:pt x="1532911" y="636325"/>
                </a:cubicBezTo>
                <a:cubicBezTo>
                  <a:pt x="1537288" y="647468"/>
                  <a:pt x="1540870" y="657019"/>
                  <a:pt x="1545645" y="669355"/>
                </a:cubicBezTo>
                <a:cubicBezTo>
                  <a:pt x="1562757" y="662988"/>
                  <a:pt x="1577879" y="657019"/>
                  <a:pt x="1593798" y="651049"/>
                </a:cubicBezTo>
                <a:cubicBezTo>
                  <a:pt x="1589420" y="639111"/>
                  <a:pt x="1585441" y="629162"/>
                  <a:pt x="1580665" y="618019"/>
                </a:cubicBezTo>
                <a:close/>
                <a:moveTo>
                  <a:pt x="2784470" y="616030"/>
                </a:moveTo>
                <a:cubicBezTo>
                  <a:pt x="2780490" y="630356"/>
                  <a:pt x="2776909" y="643886"/>
                  <a:pt x="2772531" y="659008"/>
                </a:cubicBezTo>
                <a:cubicBezTo>
                  <a:pt x="2802378" y="667763"/>
                  <a:pt x="2829836" y="675722"/>
                  <a:pt x="2858887" y="684079"/>
                </a:cubicBezTo>
                <a:cubicBezTo>
                  <a:pt x="2863264" y="669753"/>
                  <a:pt x="2867642" y="656621"/>
                  <a:pt x="2872417" y="641499"/>
                </a:cubicBezTo>
                <a:cubicBezTo>
                  <a:pt x="2842571" y="633142"/>
                  <a:pt x="2814316" y="624785"/>
                  <a:pt x="2784470" y="616030"/>
                </a:cubicBezTo>
                <a:close/>
                <a:moveTo>
                  <a:pt x="1445759" y="608071"/>
                </a:moveTo>
                <a:cubicBezTo>
                  <a:pt x="1428648" y="616030"/>
                  <a:pt x="1413127" y="622795"/>
                  <a:pt x="1396811" y="630356"/>
                </a:cubicBezTo>
                <a:cubicBezTo>
                  <a:pt x="1403576" y="643488"/>
                  <a:pt x="1408750" y="654631"/>
                  <a:pt x="1414321" y="666172"/>
                </a:cubicBezTo>
                <a:cubicBezTo>
                  <a:pt x="1430637" y="658611"/>
                  <a:pt x="1445361" y="652243"/>
                  <a:pt x="1461677" y="645080"/>
                </a:cubicBezTo>
                <a:cubicBezTo>
                  <a:pt x="1456106" y="631550"/>
                  <a:pt x="1450933" y="620407"/>
                  <a:pt x="1445759" y="608071"/>
                </a:cubicBezTo>
                <a:close/>
                <a:moveTo>
                  <a:pt x="1639164" y="598918"/>
                </a:moveTo>
                <a:cubicBezTo>
                  <a:pt x="1622052" y="604887"/>
                  <a:pt x="1606532" y="610458"/>
                  <a:pt x="1590216" y="616030"/>
                </a:cubicBezTo>
                <a:cubicBezTo>
                  <a:pt x="1594593" y="628366"/>
                  <a:pt x="1598573" y="638315"/>
                  <a:pt x="1602552" y="649060"/>
                </a:cubicBezTo>
                <a:cubicBezTo>
                  <a:pt x="1619266" y="643090"/>
                  <a:pt x="1633991" y="637917"/>
                  <a:pt x="1650307" y="632744"/>
                </a:cubicBezTo>
                <a:cubicBezTo>
                  <a:pt x="1646725" y="621203"/>
                  <a:pt x="1643144" y="611652"/>
                  <a:pt x="1639164" y="598918"/>
                </a:cubicBezTo>
                <a:close/>
                <a:moveTo>
                  <a:pt x="2932110" y="592551"/>
                </a:moveTo>
                <a:cubicBezTo>
                  <a:pt x="2926936" y="607673"/>
                  <a:pt x="2922559" y="620805"/>
                  <a:pt x="2917386" y="635131"/>
                </a:cubicBezTo>
                <a:cubicBezTo>
                  <a:pt x="2947232" y="645876"/>
                  <a:pt x="2975487" y="656223"/>
                  <a:pt x="3004935" y="666968"/>
                </a:cubicBezTo>
                <a:cubicBezTo>
                  <a:pt x="3010506" y="652641"/>
                  <a:pt x="3015282" y="639907"/>
                  <a:pt x="3020853" y="625183"/>
                </a:cubicBezTo>
                <a:cubicBezTo>
                  <a:pt x="2991007" y="614040"/>
                  <a:pt x="2961956" y="603295"/>
                  <a:pt x="2932110" y="592551"/>
                </a:cubicBezTo>
                <a:close/>
                <a:moveTo>
                  <a:pt x="2654737" y="586581"/>
                </a:moveTo>
                <a:cubicBezTo>
                  <a:pt x="2651952" y="602499"/>
                  <a:pt x="2649564" y="616030"/>
                  <a:pt x="2646778" y="630754"/>
                </a:cubicBezTo>
                <a:cubicBezTo>
                  <a:pt x="2676625" y="637519"/>
                  <a:pt x="2704879" y="643488"/>
                  <a:pt x="2733930" y="649856"/>
                </a:cubicBezTo>
                <a:cubicBezTo>
                  <a:pt x="2737909" y="634335"/>
                  <a:pt x="2741093" y="621203"/>
                  <a:pt x="2744675" y="606081"/>
                </a:cubicBezTo>
                <a:cubicBezTo>
                  <a:pt x="2713634" y="599316"/>
                  <a:pt x="2684982" y="592948"/>
                  <a:pt x="2654737" y="586581"/>
                </a:cubicBezTo>
                <a:close/>
                <a:moveTo>
                  <a:pt x="1503860" y="584989"/>
                </a:moveTo>
                <a:cubicBezTo>
                  <a:pt x="1486749" y="591755"/>
                  <a:pt x="1470830" y="598122"/>
                  <a:pt x="1454514" y="605285"/>
                </a:cubicBezTo>
                <a:cubicBezTo>
                  <a:pt x="1460086" y="618019"/>
                  <a:pt x="1464861" y="629560"/>
                  <a:pt x="1470034" y="642295"/>
                </a:cubicBezTo>
                <a:cubicBezTo>
                  <a:pt x="1487146" y="635131"/>
                  <a:pt x="1502269" y="629162"/>
                  <a:pt x="1518585" y="622397"/>
                </a:cubicBezTo>
                <a:cubicBezTo>
                  <a:pt x="1513411" y="609264"/>
                  <a:pt x="1509034" y="598122"/>
                  <a:pt x="1503860" y="584989"/>
                </a:cubicBezTo>
                <a:close/>
                <a:moveTo>
                  <a:pt x="1696469" y="581010"/>
                </a:moveTo>
                <a:cubicBezTo>
                  <a:pt x="1679357" y="586183"/>
                  <a:pt x="1664235" y="590959"/>
                  <a:pt x="1647123" y="596132"/>
                </a:cubicBezTo>
                <a:cubicBezTo>
                  <a:pt x="1651501" y="608867"/>
                  <a:pt x="1654684" y="618417"/>
                  <a:pt x="1658266" y="629560"/>
                </a:cubicBezTo>
                <a:cubicBezTo>
                  <a:pt x="1674980" y="624387"/>
                  <a:pt x="1690102" y="620009"/>
                  <a:pt x="1706816" y="614836"/>
                </a:cubicBezTo>
                <a:cubicBezTo>
                  <a:pt x="1703234" y="603295"/>
                  <a:pt x="1700051" y="592948"/>
                  <a:pt x="1696469" y="581010"/>
                </a:cubicBezTo>
                <a:close/>
                <a:moveTo>
                  <a:pt x="1561563" y="563102"/>
                </a:moveTo>
                <a:cubicBezTo>
                  <a:pt x="1544452" y="569867"/>
                  <a:pt x="1528533" y="575836"/>
                  <a:pt x="1511819" y="582602"/>
                </a:cubicBezTo>
                <a:cubicBezTo>
                  <a:pt x="1517391" y="596132"/>
                  <a:pt x="1522166" y="607275"/>
                  <a:pt x="1526942" y="619611"/>
                </a:cubicBezTo>
                <a:cubicBezTo>
                  <a:pt x="1543656" y="613244"/>
                  <a:pt x="1558778" y="607275"/>
                  <a:pt x="1575492" y="600907"/>
                </a:cubicBezTo>
                <a:cubicBezTo>
                  <a:pt x="1570318" y="587377"/>
                  <a:pt x="1566339" y="575836"/>
                  <a:pt x="1561563" y="563102"/>
                </a:cubicBezTo>
                <a:close/>
                <a:moveTo>
                  <a:pt x="2418354" y="557929"/>
                </a:moveTo>
                <a:cubicBezTo>
                  <a:pt x="2416762" y="580214"/>
                  <a:pt x="2415170" y="600112"/>
                  <a:pt x="2413977" y="621203"/>
                </a:cubicBezTo>
                <a:cubicBezTo>
                  <a:pt x="2436660" y="623591"/>
                  <a:pt x="2457751" y="625580"/>
                  <a:pt x="2480832" y="627570"/>
                </a:cubicBezTo>
                <a:cubicBezTo>
                  <a:pt x="2483220" y="604887"/>
                  <a:pt x="2485210" y="584989"/>
                  <a:pt x="2487200" y="563898"/>
                </a:cubicBezTo>
                <a:cubicBezTo>
                  <a:pt x="2462925" y="561908"/>
                  <a:pt x="2441435" y="559918"/>
                  <a:pt x="2418354" y="557929"/>
                </a:cubicBezTo>
                <a:close/>
                <a:moveTo>
                  <a:pt x="2219378" y="553551"/>
                </a:moveTo>
                <a:cubicBezTo>
                  <a:pt x="2219378" y="575439"/>
                  <a:pt x="2219378" y="594938"/>
                  <a:pt x="2219378" y="614836"/>
                </a:cubicBezTo>
                <a:cubicBezTo>
                  <a:pt x="2242459" y="614836"/>
                  <a:pt x="2263949" y="614836"/>
                  <a:pt x="2284642" y="614836"/>
                </a:cubicBezTo>
                <a:cubicBezTo>
                  <a:pt x="2284642" y="593346"/>
                  <a:pt x="2284642" y="573449"/>
                  <a:pt x="2284642" y="553551"/>
                </a:cubicBezTo>
                <a:cubicBezTo>
                  <a:pt x="2261959" y="553551"/>
                  <a:pt x="2240867" y="553551"/>
                  <a:pt x="2219378" y="553551"/>
                </a:cubicBezTo>
                <a:close/>
                <a:moveTo>
                  <a:pt x="2318070" y="552755"/>
                </a:moveTo>
                <a:cubicBezTo>
                  <a:pt x="2318070" y="575836"/>
                  <a:pt x="2318070" y="595336"/>
                  <a:pt x="2317672" y="616030"/>
                </a:cubicBezTo>
                <a:cubicBezTo>
                  <a:pt x="2339957" y="617224"/>
                  <a:pt x="2360651" y="618417"/>
                  <a:pt x="2383732" y="619611"/>
                </a:cubicBezTo>
                <a:cubicBezTo>
                  <a:pt x="2384926" y="597724"/>
                  <a:pt x="2385722" y="577428"/>
                  <a:pt x="2386916" y="555939"/>
                </a:cubicBezTo>
                <a:cubicBezTo>
                  <a:pt x="2363437" y="554745"/>
                  <a:pt x="2341947" y="553949"/>
                  <a:pt x="2318070" y="552755"/>
                </a:cubicBezTo>
                <a:close/>
                <a:moveTo>
                  <a:pt x="1621256" y="542807"/>
                </a:moveTo>
                <a:cubicBezTo>
                  <a:pt x="1603348" y="548776"/>
                  <a:pt x="1587430" y="554347"/>
                  <a:pt x="1570716" y="560316"/>
                </a:cubicBezTo>
                <a:cubicBezTo>
                  <a:pt x="1575890" y="574245"/>
                  <a:pt x="1579869" y="585785"/>
                  <a:pt x="1584247" y="598122"/>
                </a:cubicBezTo>
                <a:cubicBezTo>
                  <a:pt x="1602155" y="591755"/>
                  <a:pt x="1617277" y="586581"/>
                  <a:pt x="1633593" y="581010"/>
                </a:cubicBezTo>
                <a:cubicBezTo>
                  <a:pt x="1629215" y="568275"/>
                  <a:pt x="1625634" y="557133"/>
                  <a:pt x="1621256" y="542807"/>
                </a:cubicBezTo>
                <a:close/>
                <a:moveTo>
                  <a:pt x="1680153" y="524899"/>
                </a:moveTo>
                <a:cubicBezTo>
                  <a:pt x="1662245" y="530072"/>
                  <a:pt x="1646327" y="535245"/>
                  <a:pt x="1629215" y="540021"/>
                </a:cubicBezTo>
                <a:cubicBezTo>
                  <a:pt x="1633991" y="553949"/>
                  <a:pt x="1637572" y="565092"/>
                  <a:pt x="1641950" y="578622"/>
                </a:cubicBezTo>
                <a:cubicBezTo>
                  <a:pt x="1659858" y="573051"/>
                  <a:pt x="1675378" y="568275"/>
                  <a:pt x="1691694" y="563102"/>
                </a:cubicBezTo>
                <a:cubicBezTo>
                  <a:pt x="1687714" y="549572"/>
                  <a:pt x="1684133" y="537633"/>
                  <a:pt x="1680153" y="524899"/>
                </a:cubicBezTo>
                <a:close/>
                <a:moveTo>
                  <a:pt x="2667472" y="522113"/>
                </a:moveTo>
                <a:cubicBezTo>
                  <a:pt x="2664288" y="538827"/>
                  <a:pt x="2661901" y="551959"/>
                  <a:pt x="2659115" y="566286"/>
                </a:cubicBezTo>
                <a:cubicBezTo>
                  <a:pt x="2690155" y="573051"/>
                  <a:pt x="2718808" y="579418"/>
                  <a:pt x="2749450" y="586183"/>
                </a:cubicBezTo>
                <a:cubicBezTo>
                  <a:pt x="2753032" y="571061"/>
                  <a:pt x="2756215" y="557929"/>
                  <a:pt x="2760195" y="542409"/>
                </a:cubicBezTo>
                <a:cubicBezTo>
                  <a:pt x="2728756" y="535643"/>
                  <a:pt x="2698910" y="528878"/>
                  <a:pt x="2667472" y="522113"/>
                </a:cubicBezTo>
                <a:close/>
                <a:moveTo>
                  <a:pt x="2425119" y="465604"/>
                </a:moveTo>
                <a:cubicBezTo>
                  <a:pt x="2423527" y="487889"/>
                  <a:pt x="2421936" y="508185"/>
                  <a:pt x="2420742" y="529276"/>
                </a:cubicBezTo>
                <a:cubicBezTo>
                  <a:pt x="2445017" y="531266"/>
                  <a:pt x="2467302" y="533654"/>
                  <a:pt x="2490781" y="535643"/>
                </a:cubicBezTo>
                <a:cubicBezTo>
                  <a:pt x="2493169" y="513358"/>
                  <a:pt x="2495159" y="493460"/>
                  <a:pt x="2497148" y="472369"/>
                </a:cubicBezTo>
                <a:cubicBezTo>
                  <a:pt x="2472476" y="469981"/>
                  <a:pt x="2450190" y="467992"/>
                  <a:pt x="2425119" y="465604"/>
                </a:cubicBezTo>
                <a:close/>
                <a:moveTo>
                  <a:pt x="2320060" y="462818"/>
                </a:moveTo>
                <a:cubicBezTo>
                  <a:pt x="2320060" y="483114"/>
                  <a:pt x="2320060" y="503011"/>
                  <a:pt x="2319662" y="523705"/>
                </a:cubicBezTo>
                <a:cubicBezTo>
                  <a:pt x="2342743" y="524899"/>
                  <a:pt x="2364233" y="526092"/>
                  <a:pt x="2388508" y="527286"/>
                </a:cubicBezTo>
                <a:cubicBezTo>
                  <a:pt x="2390099" y="505001"/>
                  <a:pt x="2391293" y="485103"/>
                  <a:pt x="2392487" y="462818"/>
                </a:cubicBezTo>
                <a:cubicBezTo>
                  <a:pt x="2367416" y="462818"/>
                  <a:pt x="2344335" y="462818"/>
                  <a:pt x="2320060" y="462818"/>
                </a:cubicBezTo>
                <a:close/>
                <a:moveTo>
                  <a:pt x="2181971" y="461226"/>
                </a:moveTo>
                <a:cubicBezTo>
                  <a:pt x="2156899" y="462818"/>
                  <a:pt x="2134614" y="464410"/>
                  <a:pt x="2110339" y="466002"/>
                </a:cubicBezTo>
                <a:cubicBezTo>
                  <a:pt x="2111931" y="487491"/>
                  <a:pt x="2113523" y="507787"/>
                  <a:pt x="2115115" y="528878"/>
                </a:cubicBezTo>
                <a:cubicBezTo>
                  <a:pt x="2138992" y="527684"/>
                  <a:pt x="2161277" y="526490"/>
                  <a:pt x="2185950" y="524899"/>
                </a:cubicBezTo>
                <a:cubicBezTo>
                  <a:pt x="2184358" y="501817"/>
                  <a:pt x="2183164" y="481920"/>
                  <a:pt x="2181971" y="461226"/>
                </a:cubicBezTo>
                <a:close/>
                <a:moveTo>
                  <a:pt x="1608523" y="448890"/>
                </a:moveTo>
                <a:cubicBezTo>
                  <a:pt x="1613696" y="462420"/>
                  <a:pt x="1616880" y="471573"/>
                  <a:pt x="1620859" y="481522"/>
                </a:cubicBezTo>
                <a:cubicBezTo>
                  <a:pt x="1630808" y="479532"/>
                  <a:pt x="1640359" y="477543"/>
                  <a:pt x="1651900" y="475155"/>
                </a:cubicBezTo>
                <a:cubicBezTo>
                  <a:pt x="1654287" y="483910"/>
                  <a:pt x="1656277" y="491471"/>
                  <a:pt x="1658267" y="498635"/>
                </a:cubicBezTo>
                <a:cubicBezTo>
                  <a:pt x="1573105" y="530471"/>
                  <a:pt x="1489534" y="561113"/>
                  <a:pt x="1403576" y="592950"/>
                </a:cubicBezTo>
                <a:cubicBezTo>
                  <a:pt x="1400791" y="586980"/>
                  <a:pt x="1397209" y="579817"/>
                  <a:pt x="1391240" y="566685"/>
                </a:cubicBezTo>
                <a:cubicBezTo>
                  <a:pt x="1406760" y="564297"/>
                  <a:pt x="1419892" y="562705"/>
                  <a:pt x="1432627" y="560318"/>
                </a:cubicBezTo>
                <a:cubicBezTo>
                  <a:pt x="1437004" y="559522"/>
                  <a:pt x="1441382" y="557930"/>
                  <a:pt x="1445759" y="556338"/>
                </a:cubicBezTo>
                <a:cubicBezTo>
                  <a:pt x="1499881" y="536838"/>
                  <a:pt x="1554003" y="516941"/>
                  <a:pt x="1608125" y="496247"/>
                </a:cubicBezTo>
                <a:cubicBezTo>
                  <a:pt x="1613298" y="494655"/>
                  <a:pt x="1617676" y="492267"/>
                  <a:pt x="1622451" y="489879"/>
                </a:cubicBezTo>
                <a:cubicBezTo>
                  <a:pt x="1621257" y="487093"/>
                  <a:pt x="1620461" y="484706"/>
                  <a:pt x="1619267" y="482318"/>
                </a:cubicBezTo>
                <a:cubicBezTo>
                  <a:pt x="1555595" y="505400"/>
                  <a:pt x="1492320" y="528481"/>
                  <a:pt x="1427056" y="552359"/>
                </a:cubicBezTo>
                <a:cubicBezTo>
                  <a:pt x="1423474" y="543604"/>
                  <a:pt x="1419494" y="534053"/>
                  <a:pt x="1413525" y="520920"/>
                </a:cubicBezTo>
                <a:cubicBezTo>
                  <a:pt x="1478391" y="497043"/>
                  <a:pt x="1542463" y="473165"/>
                  <a:pt x="1608523" y="448890"/>
                </a:cubicBezTo>
                <a:close/>
                <a:moveTo>
                  <a:pt x="2322448" y="370891"/>
                </a:moveTo>
                <a:cubicBezTo>
                  <a:pt x="2322448" y="390789"/>
                  <a:pt x="2322448" y="410288"/>
                  <a:pt x="2322845" y="432574"/>
                </a:cubicBezTo>
                <a:cubicBezTo>
                  <a:pt x="2347519" y="432574"/>
                  <a:pt x="2370202" y="432574"/>
                  <a:pt x="2394875" y="432574"/>
                </a:cubicBezTo>
                <a:cubicBezTo>
                  <a:pt x="2395671" y="412278"/>
                  <a:pt x="2396865" y="392779"/>
                  <a:pt x="2398058" y="370891"/>
                </a:cubicBezTo>
                <a:cubicBezTo>
                  <a:pt x="2371794" y="370891"/>
                  <a:pt x="2347916" y="370891"/>
                  <a:pt x="2322448" y="370891"/>
                </a:cubicBezTo>
                <a:close/>
                <a:moveTo>
                  <a:pt x="2215398" y="369697"/>
                </a:moveTo>
                <a:cubicBezTo>
                  <a:pt x="2215398" y="390789"/>
                  <a:pt x="2215398" y="411084"/>
                  <a:pt x="2215398" y="430982"/>
                </a:cubicBezTo>
                <a:cubicBezTo>
                  <a:pt x="2240072" y="430982"/>
                  <a:pt x="2263153" y="430982"/>
                  <a:pt x="2287428" y="430982"/>
                </a:cubicBezTo>
                <a:cubicBezTo>
                  <a:pt x="2287428" y="409891"/>
                  <a:pt x="2287428" y="389993"/>
                  <a:pt x="2287428" y="369697"/>
                </a:cubicBezTo>
                <a:cubicBezTo>
                  <a:pt x="2262357" y="369697"/>
                  <a:pt x="2238878" y="369697"/>
                  <a:pt x="2215398" y="369697"/>
                </a:cubicBezTo>
                <a:close/>
                <a:moveTo>
                  <a:pt x="2178787" y="369299"/>
                </a:moveTo>
                <a:cubicBezTo>
                  <a:pt x="2152522" y="370891"/>
                  <a:pt x="2128645" y="372483"/>
                  <a:pt x="2103176" y="374075"/>
                </a:cubicBezTo>
                <a:cubicBezTo>
                  <a:pt x="2104768" y="395962"/>
                  <a:pt x="2106360" y="415462"/>
                  <a:pt x="2108350" y="437747"/>
                </a:cubicBezTo>
                <a:cubicBezTo>
                  <a:pt x="2134614" y="436155"/>
                  <a:pt x="2157695" y="434166"/>
                  <a:pt x="2182368" y="432574"/>
                </a:cubicBezTo>
                <a:cubicBezTo>
                  <a:pt x="2181175" y="410288"/>
                  <a:pt x="2179981" y="390789"/>
                  <a:pt x="2178787" y="369299"/>
                </a:cubicBezTo>
                <a:close/>
                <a:moveTo>
                  <a:pt x="2438650" y="281352"/>
                </a:moveTo>
                <a:cubicBezTo>
                  <a:pt x="2437058" y="303239"/>
                  <a:pt x="2435466" y="323535"/>
                  <a:pt x="2433874" y="345024"/>
                </a:cubicBezTo>
                <a:cubicBezTo>
                  <a:pt x="2460139" y="347412"/>
                  <a:pt x="2484414" y="349402"/>
                  <a:pt x="2510281" y="351790"/>
                </a:cubicBezTo>
                <a:cubicBezTo>
                  <a:pt x="2512669" y="330698"/>
                  <a:pt x="2515056" y="311198"/>
                  <a:pt x="2517444" y="288515"/>
                </a:cubicBezTo>
                <a:cubicBezTo>
                  <a:pt x="2489985" y="286127"/>
                  <a:pt x="2465312" y="283740"/>
                  <a:pt x="2438650" y="281352"/>
                </a:cubicBezTo>
                <a:close/>
                <a:moveTo>
                  <a:pt x="2212215" y="276975"/>
                </a:moveTo>
                <a:cubicBezTo>
                  <a:pt x="2212215" y="298464"/>
                  <a:pt x="2212215" y="317964"/>
                  <a:pt x="2212215" y="337463"/>
                </a:cubicBezTo>
                <a:cubicBezTo>
                  <a:pt x="2238878" y="337463"/>
                  <a:pt x="2263153" y="337463"/>
                  <a:pt x="2288622" y="337463"/>
                </a:cubicBezTo>
                <a:cubicBezTo>
                  <a:pt x="2288622" y="316372"/>
                  <a:pt x="2288622" y="297270"/>
                  <a:pt x="2288622" y="276975"/>
                </a:cubicBezTo>
                <a:cubicBezTo>
                  <a:pt x="2261561" y="276975"/>
                  <a:pt x="2236490" y="276975"/>
                  <a:pt x="2212215" y="276975"/>
                </a:cubicBezTo>
                <a:close/>
                <a:moveTo>
                  <a:pt x="2445415" y="189425"/>
                </a:moveTo>
                <a:cubicBezTo>
                  <a:pt x="2443823" y="212108"/>
                  <a:pt x="2442231" y="231608"/>
                  <a:pt x="2440639" y="252700"/>
                </a:cubicBezTo>
                <a:cubicBezTo>
                  <a:pt x="2467302" y="255087"/>
                  <a:pt x="2492373" y="257475"/>
                  <a:pt x="2520230" y="259863"/>
                </a:cubicBezTo>
                <a:cubicBezTo>
                  <a:pt x="2522617" y="238771"/>
                  <a:pt x="2524607" y="219272"/>
                  <a:pt x="2526995" y="196588"/>
                </a:cubicBezTo>
                <a:cubicBezTo>
                  <a:pt x="2499138" y="194201"/>
                  <a:pt x="2472873" y="191813"/>
                  <a:pt x="2445415" y="189425"/>
                </a:cubicBezTo>
                <a:close/>
                <a:moveTo>
                  <a:pt x="2170828" y="184650"/>
                </a:moveTo>
                <a:cubicBezTo>
                  <a:pt x="2142175" y="186242"/>
                  <a:pt x="2116309" y="188231"/>
                  <a:pt x="2089248" y="189823"/>
                </a:cubicBezTo>
                <a:cubicBezTo>
                  <a:pt x="2091237" y="212506"/>
                  <a:pt x="2092829" y="232006"/>
                  <a:pt x="2094421" y="253097"/>
                </a:cubicBezTo>
                <a:cubicBezTo>
                  <a:pt x="2121880" y="251506"/>
                  <a:pt x="2146951" y="249914"/>
                  <a:pt x="2174409" y="248322"/>
                </a:cubicBezTo>
                <a:cubicBezTo>
                  <a:pt x="2173216" y="226435"/>
                  <a:pt x="2172022" y="206537"/>
                  <a:pt x="2170828" y="184650"/>
                </a:cubicBezTo>
                <a:close/>
                <a:moveTo>
                  <a:pt x="2210225" y="184252"/>
                </a:moveTo>
                <a:cubicBezTo>
                  <a:pt x="2210225" y="205741"/>
                  <a:pt x="2210225" y="225639"/>
                  <a:pt x="2210225" y="245536"/>
                </a:cubicBezTo>
                <a:cubicBezTo>
                  <a:pt x="2238082" y="245536"/>
                  <a:pt x="2263153" y="245536"/>
                  <a:pt x="2289020" y="245536"/>
                </a:cubicBezTo>
                <a:cubicBezTo>
                  <a:pt x="2289020" y="224047"/>
                  <a:pt x="2289020" y="204547"/>
                  <a:pt x="2289020" y="184252"/>
                </a:cubicBezTo>
                <a:cubicBezTo>
                  <a:pt x="2261959" y="184252"/>
                  <a:pt x="2236092" y="184252"/>
                  <a:pt x="2210225" y="184252"/>
                </a:cubicBezTo>
                <a:close/>
                <a:moveTo>
                  <a:pt x="2175205" y="0"/>
                </a:moveTo>
                <a:cubicBezTo>
                  <a:pt x="2211021" y="0"/>
                  <a:pt x="2246837" y="0"/>
                  <a:pt x="2282652" y="0"/>
                </a:cubicBezTo>
                <a:cubicBezTo>
                  <a:pt x="2282652" y="10347"/>
                  <a:pt x="2282652" y="21091"/>
                  <a:pt x="2282652" y="33030"/>
                </a:cubicBezTo>
                <a:cubicBezTo>
                  <a:pt x="2302948" y="33030"/>
                  <a:pt x="2322050" y="33030"/>
                  <a:pt x="2342345" y="33030"/>
                </a:cubicBezTo>
                <a:cubicBezTo>
                  <a:pt x="2342345" y="21091"/>
                  <a:pt x="2342345" y="10347"/>
                  <a:pt x="2342345" y="0"/>
                </a:cubicBezTo>
                <a:cubicBezTo>
                  <a:pt x="2350304" y="0"/>
                  <a:pt x="2358263" y="0"/>
                  <a:pt x="2366222" y="0"/>
                </a:cubicBezTo>
                <a:cubicBezTo>
                  <a:pt x="2381344" y="1194"/>
                  <a:pt x="2396467" y="2786"/>
                  <a:pt x="2411589" y="3980"/>
                </a:cubicBezTo>
                <a:cubicBezTo>
                  <a:pt x="2450986" y="7163"/>
                  <a:pt x="2490781" y="9949"/>
                  <a:pt x="2530179" y="12734"/>
                </a:cubicBezTo>
                <a:cubicBezTo>
                  <a:pt x="2530179" y="25071"/>
                  <a:pt x="2530179" y="35020"/>
                  <a:pt x="2530179" y="45367"/>
                </a:cubicBezTo>
                <a:cubicBezTo>
                  <a:pt x="2534954" y="46958"/>
                  <a:pt x="2540127" y="48550"/>
                  <a:pt x="2545301" y="50142"/>
                </a:cubicBezTo>
                <a:cubicBezTo>
                  <a:pt x="2542913" y="73223"/>
                  <a:pt x="2540923" y="95508"/>
                  <a:pt x="2538535" y="118590"/>
                </a:cubicBezTo>
                <a:cubicBezTo>
                  <a:pt x="2549678" y="120977"/>
                  <a:pt x="2559627" y="122967"/>
                  <a:pt x="2571168" y="125355"/>
                </a:cubicBezTo>
                <a:cubicBezTo>
                  <a:pt x="2541719" y="363330"/>
                  <a:pt x="2512669" y="599714"/>
                  <a:pt x="2483618" y="837689"/>
                </a:cubicBezTo>
                <a:cubicBezTo>
                  <a:pt x="2512669" y="841668"/>
                  <a:pt x="2539331" y="845648"/>
                  <a:pt x="2567188" y="849627"/>
                </a:cubicBezTo>
                <a:cubicBezTo>
                  <a:pt x="2589075" y="723875"/>
                  <a:pt x="2610565" y="600907"/>
                  <a:pt x="2632054" y="476746"/>
                </a:cubicBezTo>
                <a:cubicBezTo>
                  <a:pt x="2643993" y="478338"/>
                  <a:pt x="2653544" y="479532"/>
                  <a:pt x="2664686" y="480726"/>
                </a:cubicBezTo>
                <a:cubicBezTo>
                  <a:pt x="2668268" y="465206"/>
                  <a:pt x="2671452" y="449686"/>
                  <a:pt x="2675033" y="432972"/>
                </a:cubicBezTo>
                <a:cubicBezTo>
                  <a:pt x="2686176" y="434564"/>
                  <a:pt x="2696522" y="436155"/>
                  <a:pt x="2706869" y="437747"/>
                </a:cubicBezTo>
                <a:cubicBezTo>
                  <a:pt x="2709655" y="430186"/>
                  <a:pt x="2712042" y="423421"/>
                  <a:pt x="2715624" y="414666"/>
                </a:cubicBezTo>
                <a:cubicBezTo>
                  <a:pt x="2778899" y="430982"/>
                  <a:pt x="2841377" y="446900"/>
                  <a:pt x="2904651" y="463216"/>
                </a:cubicBezTo>
                <a:cubicBezTo>
                  <a:pt x="2902661" y="473563"/>
                  <a:pt x="2901070" y="479930"/>
                  <a:pt x="2899478" y="487491"/>
                </a:cubicBezTo>
                <a:cubicBezTo>
                  <a:pt x="2925743" y="495848"/>
                  <a:pt x="2951212" y="504205"/>
                  <a:pt x="2976680" y="512562"/>
                </a:cubicBezTo>
                <a:cubicBezTo>
                  <a:pt x="2980660" y="505001"/>
                  <a:pt x="2983844" y="499032"/>
                  <a:pt x="2988221" y="490675"/>
                </a:cubicBezTo>
                <a:cubicBezTo>
                  <a:pt x="3049506" y="515348"/>
                  <a:pt x="3109199" y="539225"/>
                  <a:pt x="3170085" y="563500"/>
                </a:cubicBezTo>
                <a:cubicBezTo>
                  <a:pt x="3166504" y="572653"/>
                  <a:pt x="3164116" y="578622"/>
                  <a:pt x="3161330" y="585387"/>
                </a:cubicBezTo>
                <a:cubicBezTo>
                  <a:pt x="3166902" y="589367"/>
                  <a:pt x="3171677" y="592551"/>
                  <a:pt x="3177248" y="596132"/>
                </a:cubicBezTo>
                <a:cubicBezTo>
                  <a:pt x="3170483" y="610856"/>
                  <a:pt x="3164116" y="625183"/>
                  <a:pt x="3157351" y="640305"/>
                </a:cubicBezTo>
                <a:cubicBezTo>
                  <a:pt x="3168891" y="646274"/>
                  <a:pt x="3179238" y="651845"/>
                  <a:pt x="3190779" y="657815"/>
                </a:cubicBezTo>
                <a:cubicBezTo>
                  <a:pt x="3110392" y="822965"/>
                  <a:pt x="3030404" y="987319"/>
                  <a:pt x="2948028" y="1156051"/>
                </a:cubicBezTo>
                <a:cubicBezTo>
                  <a:pt x="2952803" y="1157642"/>
                  <a:pt x="2958375" y="1159632"/>
                  <a:pt x="2962752" y="1161224"/>
                </a:cubicBezTo>
                <a:cubicBezTo>
                  <a:pt x="2938079" y="1211366"/>
                  <a:pt x="2915396" y="1257130"/>
                  <a:pt x="2892713" y="1303293"/>
                </a:cubicBezTo>
                <a:cubicBezTo>
                  <a:pt x="2895498" y="1304487"/>
                  <a:pt x="2897886" y="1306078"/>
                  <a:pt x="2900672" y="1307272"/>
                </a:cubicBezTo>
                <a:cubicBezTo>
                  <a:pt x="2924151" y="1260712"/>
                  <a:pt x="2948028" y="1214151"/>
                  <a:pt x="2971905" y="1167989"/>
                </a:cubicBezTo>
                <a:cubicBezTo>
                  <a:pt x="2985038" y="1170377"/>
                  <a:pt x="2986231" y="1175550"/>
                  <a:pt x="2980660" y="1185897"/>
                </a:cubicBezTo>
                <a:cubicBezTo>
                  <a:pt x="2957977" y="1227682"/>
                  <a:pt x="2936487" y="1269865"/>
                  <a:pt x="2913406" y="1314037"/>
                </a:cubicBezTo>
                <a:cubicBezTo>
                  <a:pt x="2929324" y="1322394"/>
                  <a:pt x="2943650" y="1329955"/>
                  <a:pt x="2961558" y="1339506"/>
                </a:cubicBezTo>
                <a:cubicBezTo>
                  <a:pt x="2952405" y="1316823"/>
                  <a:pt x="2956385" y="1309660"/>
                  <a:pt x="2977476" y="1300905"/>
                </a:cubicBezTo>
                <a:cubicBezTo>
                  <a:pt x="2979466" y="1299711"/>
                  <a:pt x="2981456" y="1292150"/>
                  <a:pt x="2979864" y="1290558"/>
                </a:cubicBezTo>
                <a:cubicBezTo>
                  <a:pt x="2976680" y="1286579"/>
                  <a:pt x="2971507" y="1284589"/>
                  <a:pt x="2965936" y="1281007"/>
                </a:cubicBezTo>
                <a:cubicBezTo>
                  <a:pt x="2971109" y="1271457"/>
                  <a:pt x="2975885" y="1263100"/>
                  <a:pt x="2979864" y="1256334"/>
                </a:cubicBezTo>
                <a:cubicBezTo>
                  <a:pt x="2989415" y="1257926"/>
                  <a:pt x="2996578" y="1259518"/>
                  <a:pt x="3003741" y="1260712"/>
                </a:cubicBezTo>
                <a:cubicBezTo>
                  <a:pt x="3004537" y="1258722"/>
                  <a:pt x="3004935" y="1256334"/>
                  <a:pt x="3005333" y="1254345"/>
                </a:cubicBezTo>
                <a:cubicBezTo>
                  <a:pt x="2996578" y="1248375"/>
                  <a:pt x="2988221" y="1242804"/>
                  <a:pt x="2979068" y="1236835"/>
                </a:cubicBezTo>
                <a:cubicBezTo>
                  <a:pt x="2984639" y="1227284"/>
                  <a:pt x="2989415" y="1218927"/>
                  <a:pt x="2994190" y="1210172"/>
                </a:cubicBezTo>
                <a:cubicBezTo>
                  <a:pt x="3002149" y="1214549"/>
                  <a:pt x="3007721" y="1218131"/>
                  <a:pt x="3013690" y="1220519"/>
                </a:cubicBezTo>
                <a:cubicBezTo>
                  <a:pt x="3016874" y="1221713"/>
                  <a:pt x="3021251" y="1220519"/>
                  <a:pt x="3025231" y="1220121"/>
                </a:cubicBezTo>
                <a:cubicBezTo>
                  <a:pt x="3023241" y="1216937"/>
                  <a:pt x="3022047" y="1212162"/>
                  <a:pt x="3018863" y="1210172"/>
                </a:cubicBezTo>
                <a:cubicBezTo>
                  <a:pt x="3010108" y="1204203"/>
                  <a:pt x="3000956" y="1199427"/>
                  <a:pt x="2991007" y="1193856"/>
                </a:cubicBezTo>
                <a:cubicBezTo>
                  <a:pt x="2996578" y="1183907"/>
                  <a:pt x="3001354" y="1175152"/>
                  <a:pt x="3006129" y="1166397"/>
                </a:cubicBezTo>
                <a:cubicBezTo>
                  <a:pt x="3017272" y="1172366"/>
                  <a:pt x="3026424" y="1177938"/>
                  <a:pt x="3035975" y="1182315"/>
                </a:cubicBezTo>
                <a:cubicBezTo>
                  <a:pt x="3038761" y="1183509"/>
                  <a:pt x="3043138" y="1181519"/>
                  <a:pt x="3047118" y="1181121"/>
                </a:cubicBezTo>
                <a:cubicBezTo>
                  <a:pt x="3045526" y="1177938"/>
                  <a:pt x="3044332" y="1173958"/>
                  <a:pt x="3041945" y="1172366"/>
                </a:cubicBezTo>
                <a:cubicBezTo>
                  <a:pt x="3029210" y="1164407"/>
                  <a:pt x="3016078" y="1157244"/>
                  <a:pt x="3002547" y="1149683"/>
                </a:cubicBezTo>
                <a:cubicBezTo>
                  <a:pt x="3008119" y="1139734"/>
                  <a:pt x="3012894" y="1131377"/>
                  <a:pt x="3017670" y="1122622"/>
                </a:cubicBezTo>
                <a:cubicBezTo>
                  <a:pt x="3031598" y="1130582"/>
                  <a:pt x="3043138" y="1137347"/>
                  <a:pt x="3055077" y="1142918"/>
                </a:cubicBezTo>
                <a:cubicBezTo>
                  <a:pt x="3059057" y="1144510"/>
                  <a:pt x="3064230" y="1143316"/>
                  <a:pt x="3068607" y="1143316"/>
                </a:cubicBezTo>
                <a:cubicBezTo>
                  <a:pt x="3065822" y="1139337"/>
                  <a:pt x="3063832" y="1134561"/>
                  <a:pt x="3060250" y="1132173"/>
                </a:cubicBezTo>
                <a:cubicBezTo>
                  <a:pt x="3045128" y="1123020"/>
                  <a:pt x="3029608" y="1114663"/>
                  <a:pt x="3013690" y="1105909"/>
                </a:cubicBezTo>
                <a:cubicBezTo>
                  <a:pt x="3019261" y="1095562"/>
                  <a:pt x="3023639" y="1087205"/>
                  <a:pt x="3028414" y="1078450"/>
                </a:cubicBezTo>
                <a:cubicBezTo>
                  <a:pt x="3041149" y="1085215"/>
                  <a:pt x="3051893" y="1090786"/>
                  <a:pt x="3062240" y="1096358"/>
                </a:cubicBezTo>
                <a:cubicBezTo>
                  <a:pt x="3084526" y="1108694"/>
                  <a:pt x="3084526" y="1109092"/>
                  <a:pt x="3091689" y="1099143"/>
                </a:cubicBezTo>
                <a:cubicBezTo>
                  <a:pt x="3069403" y="1086807"/>
                  <a:pt x="3047118" y="1074470"/>
                  <a:pt x="3024435" y="1061736"/>
                </a:cubicBezTo>
                <a:cubicBezTo>
                  <a:pt x="3030006" y="1051389"/>
                  <a:pt x="3033986" y="1043430"/>
                  <a:pt x="3039159" y="1033879"/>
                </a:cubicBezTo>
                <a:cubicBezTo>
                  <a:pt x="3059455" y="1045022"/>
                  <a:pt x="3078158" y="1055767"/>
                  <a:pt x="3097658" y="1065317"/>
                </a:cubicBezTo>
                <a:cubicBezTo>
                  <a:pt x="3101637" y="1067307"/>
                  <a:pt x="3107607" y="1065715"/>
                  <a:pt x="3112382" y="1065715"/>
                </a:cubicBezTo>
                <a:cubicBezTo>
                  <a:pt x="3109596" y="1062134"/>
                  <a:pt x="3107607" y="1056960"/>
                  <a:pt x="3103627" y="1054971"/>
                </a:cubicBezTo>
                <a:cubicBezTo>
                  <a:pt x="3081342" y="1042236"/>
                  <a:pt x="3058659" y="1029900"/>
                  <a:pt x="3035179" y="1017165"/>
                </a:cubicBezTo>
                <a:cubicBezTo>
                  <a:pt x="3039955" y="1007614"/>
                  <a:pt x="3044332" y="998859"/>
                  <a:pt x="3049108" y="989309"/>
                </a:cubicBezTo>
                <a:cubicBezTo>
                  <a:pt x="3069005" y="1000053"/>
                  <a:pt x="3085719" y="1010798"/>
                  <a:pt x="3104025" y="1017961"/>
                </a:cubicBezTo>
                <a:cubicBezTo>
                  <a:pt x="3121137" y="1024726"/>
                  <a:pt x="3139841" y="1027910"/>
                  <a:pt x="3157749" y="1032685"/>
                </a:cubicBezTo>
                <a:cubicBezTo>
                  <a:pt x="3168891" y="1015175"/>
                  <a:pt x="3178840" y="999257"/>
                  <a:pt x="3189187" y="982145"/>
                </a:cubicBezTo>
                <a:cubicBezTo>
                  <a:pt x="3229778" y="1008012"/>
                  <a:pt x="3268777" y="1033083"/>
                  <a:pt x="3308572" y="1058552"/>
                </a:cubicBezTo>
                <a:cubicBezTo>
                  <a:pt x="3360306" y="984533"/>
                  <a:pt x="3411642" y="911708"/>
                  <a:pt x="3463376" y="837689"/>
                </a:cubicBezTo>
                <a:cubicBezTo>
                  <a:pt x="3476110" y="846444"/>
                  <a:pt x="3486855" y="853607"/>
                  <a:pt x="3498793" y="861566"/>
                </a:cubicBezTo>
                <a:cubicBezTo>
                  <a:pt x="3508344" y="849627"/>
                  <a:pt x="3517099" y="838485"/>
                  <a:pt x="3526650" y="825750"/>
                </a:cubicBezTo>
                <a:cubicBezTo>
                  <a:pt x="3538191" y="833709"/>
                  <a:pt x="3548537" y="841270"/>
                  <a:pt x="3559680" y="849230"/>
                </a:cubicBezTo>
                <a:cubicBezTo>
                  <a:pt x="3566047" y="842066"/>
                  <a:pt x="3571619" y="836097"/>
                  <a:pt x="3579578" y="827740"/>
                </a:cubicBezTo>
                <a:cubicBezTo>
                  <a:pt x="3639270" y="878678"/>
                  <a:pt x="3698167" y="928820"/>
                  <a:pt x="3757462" y="979758"/>
                </a:cubicBezTo>
                <a:cubicBezTo>
                  <a:pt x="3750299" y="988911"/>
                  <a:pt x="3745126" y="995278"/>
                  <a:pt x="3737565" y="1004431"/>
                </a:cubicBezTo>
                <a:cubicBezTo>
                  <a:pt x="3746717" y="1010798"/>
                  <a:pt x="3755472" y="1017165"/>
                  <a:pt x="3764625" y="1023930"/>
                </a:cubicBezTo>
                <a:cubicBezTo>
                  <a:pt x="3752289" y="1037461"/>
                  <a:pt x="3742340" y="1048604"/>
                  <a:pt x="3729208" y="1062930"/>
                </a:cubicBezTo>
                <a:cubicBezTo>
                  <a:pt x="3740748" y="1071685"/>
                  <a:pt x="3751095" y="1078848"/>
                  <a:pt x="3762238" y="1087205"/>
                </a:cubicBezTo>
                <a:cubicBezTo>
                  <a:pt x="3673096" y="1174356"/>
                  <a:pt x="3586741" y="1258722"/>
                  <a:pt x="3500385" y="1343486"/>
                </a:cubicBezTo>
                <a:cubicBezTo>
                  <a:pt x="3510732" y="1354629"/>
                  <a:pt x="3519885" y="1364975"/>
                  <a:pt x="3530232" y="1376118"/>
                </a:cubicBezTo>
                <a:cubicBezTo>
                  <a:pt x="3460988" y="1440586"/>
                  <a:pt x="3392540" y="1504258"/>
                  <a:pt x="3322899" y="1569125"/>
                </a:cubicBezTo>
                <a:cubicBezTo>
                  <a:pt x="3341205" y="1581063"/>
                  <a:pt x="3357919" y="1592604"/>
                  <a:pt x="3377816" y="1606134"/>
                </a:cubicBezTo>
                <a:cubicBezTo>
                  <a:pt x="3379806" y="1604144"/>
                  <a:pt x="3382990" y="1600563"/>
                  <a:pt x="3386969" y="1596583"/>
                </a:cubicBezTo>
                <a:cubicBezTo>
                  <a:pt x="3377020" y="1584645"/>
                  <a:pt x="3368663" y="1574696"/>
                  <a:pt x="3359510" y="1563951"/>
                </a:cubicBezTo>
                <a:cubicBezTo>
                  <a:pt x="3365480" y="1558778"/>
                  <a:pt x="3370255" y="1554400"/>
                  <a:pt x="3375826" y="1549625"/>
                </a:cubicBezTo>
                <a:cubicBezTo>
                  <a:pt x="3385377" y="1560370"/>
                  <a:pt x="3394132" y="1569921"/>
                  <a:pt x="3404081" y="1580665"/>
                </a:cubicBezTo>
                <a:cubicBezTo>
                  <a:pt x="3408458" y="1576288"/>
                  <a:pt x="3412438" y="1572706"/>
                  <a:pt x="3416815" y="1568727"/>
                </a:cubicBezTo>
                <a:cubicBezTo>
                  <a:pt x="3407264" y="1557186"/>
                  <a:pt x="3398908" y="1547237"/>
                  <a:pt x="3389755" y="1536493"/>
                </a:cubicBezTo>
                <a:cubicBezTo>
                  <a:pt x="3395724" y="1530921"/>
                  <a:pt x="3400499" y="1526942"/>
                  <a:pt x="3406071" y="1522166"/>
                </a:cubicBezTo>
                <a:cubicBezTo>
                  <a:pt x="3416019" y="1532911"/>
                  <a:pt x="3424774" y="1542860"/>
                  <a:pt x="3434723" y="1553605"/>
                </a:cubicBezTo>
                <a:cubicBezTo>
                  <a:pt x="3439101" y="1550023"/>
                  <a:pt x="3443080" y="1546441"/>
                  <a:pt x="3447856" y="1542462"/>
                </a:cubicBezTo>
                <a:cubicBezTo>
                  <a:pt x="3437907" y="1530921"/>
                  <a:pt x="3429152" y="1520574"/>
                  <a:pt x="3419601" y="1509034"/>
                </a:cubicBezTo>
                <a:cubicBezTo>
                  <a:pt x="3425570" y="1503861"/>
                  <a:pt x="3430346" y="1499881"/>
                  <a:pt x="3436315" y="1494708"/>
                </a:cubicBezTo>
                <a:cubicBezTo>
                  <a:pt x="3446264" y="1505850"/>
                  <a:pt x="3455417" y="1515799"/>
                  <a:pt x="3465763" y="1527340"/>
                </a:cubicBezTo>
                <a:cubicBezTo>
                  <a:pt x="3470141" y="1523360"/>
                  <a:pt x="3474518" y="1519779"/>
                  <a:pt x="3478896" y="1515799"/>
                </a:cubicBezTo>
                <a:cubicBezTo>
                  <a:pt x="3468947" y="1503861"/>
                  <a:pt x="3459794" y="1493514"/>
                  <a:pt x="3449845" y="1481575"/>
                </a:cubicBezTo>
                <a:cubicBezTo>
                  <a:pt x="3455815" y="1476402"/>
                  <a:pt x="3460988" y="1472024"/>
                  <a:pt x="3466559" y="1467249"/>
                </a:cubicBezTo>
                <a:cubicBezTo>
                  <a:pt x="3477702" y="1479187"/>
                  <a:pt x="3487253" y="1489932"/>
                  <a:pt x="3498793" y="1502667"/>
                </a:cubicBezTo>
                <a:cubicBezTo>
                  <a:pt x="3516303" y="1475606"/>
                  <a:pt x="3483273" y="1470433"/>
                  <a:pt x="3482079" y="1452127"/>
                </a:cubicBezTo>
                <a:cubicBezTo>
                  <a:pt x="3486059" y="1448545"/>
                  <a:pt x="3490834" y="1444168"/>
                  <a:pt x="3496406" y="1439790"/>
                </a:cubicBezTo>
                <a:cubicBezTo>
                  <a:pt x="3507548" y="1451729"/>
                  <a:pt x="3517497" y="1462474"/>
                  <a:pt x="3529834" y="1475606"/>
                </a:cubicBezTo>
                <a:cubicBezTo>
                  <a:pt x="3547344" y="1448147"/>
                  <a:pt x="3513916" y="1443372"/>
                  <a:pt x="3512722" y="1424270"/>
                </a:cubicBezTo>
                <a:cubicBezTo>
                  <a:pt x="3516303" y="1421086"/>
                  <a:pt x="3521477" y="1416709"/>
                  <a:pt x="3527048" y="1411934"/>
                </a:cubicBezTo>
                <a:cubicBezTo>
                  <a:pt x="3538589" y="1424270"/>
                  <a:pt x="3548537" y="1435413"/>
                  <a:pt x="3560874" y="1448943"/>
                </a:cubicBezTo>
                <a:cubicBezTo>
                  <a:pt x="3566047" y="1443770"/>
                  <a:pt x="3569629" y="1440586"/>
                  <a:pt x="3573210" y="1436607"/>
                </a:cubicBezTo>
                <a:cubicBezTo>
                  <a:pt x="3561670" y="1422678"/>
                  <a:pt x="3551721" y="1411138"/>
                  <a:pt x="3541374" y="1398801"/>
                </a:cubicBezTo>
                <a:cubicBezTo>
                  <a:pt x="3546946" y="1394026"/>
                  <a:pt x="3551721" y="1389648"/>
                  <a:pt x="3557292" y="1384475"/>
                </a:cubicBezTo>
                <a:cubicBezTo>
                  <a:pt x="3568435" y="1396811"/>
                  <a:pt x="3579180" y="1408352"/>
                  <a:pt x="3590322" y="1420689"/>
                </a:cubicBezTo>
                <a:cubicBezTo>
                  <a:pt x="3594700" y="1416311"/>
                  <a:pt x="3598679" y="1413127"/>
                  <a:pt x="3603057" y="1409148"/>
                </a:cubicBezTo>
                <a:cubicBezTo>
                  <a:pt x="3592312" y="1396413"/>
                  <a:pt x="3581965" y="1384077"/>
                  <a:pt x="3571221" y="1371342"/>
                </a:cubicBezTo>
                <a:cubicBezTo>
                  <a:pt x="3577986" y="1365373"/>
                  <a:pt x="3583557" y="1360598"/>
                  <a:pt x="3590322" y="1354231"/>
                </a:cubicBezTo>
                <a:cubicBezTo>
                  <a:pt x="3604251" y="1369751"/>
                  <a:pt x="3616985" y="1383679"/>
                  <a:pt x="3630118" y="1398801"/>
                </a:cubicBezTo>
                <a:cubicBezTo>
                  <a:pt x="3644046" y="1387658"/>
                  <a:pt x="3656780" y="1377312"/>
                  <a:pt x="3671903" y="1364975"/>
                </a:cubicBezTo>
                <a:cubicBezTo>
                  <a:pt x="3710902" y="1416311"/>
                  <a:pt x="3749105" y="1466851"/>
                  <a:pt x="3787707" y="1517789"/>
                </a:cubicBezTo>
                <a:cubicBezTo>
                  <a:pt x="3771390" y="1529329"/>
                  <a:pt x="3757860" y="1538880"/>
                  <a:pt x="3743932" y="1548829"/>
                </a:cubicBezTo>
                <a:cubicBezTo>
                  <a:pt x="3756268" y="1567931"/>
                  <a:pt x="3767411" y="1585441"/>
                  <a:pt x="3779350" y="1604144"/>
                </a:cubicBezTo>
                <a:cubicBezTo>
                  <a:pt x="3713687" y="1645531"/>
                  <a:pt x="3649219" y="1685724"/>
                  <a:pt x="3585547" y="1725918"/>
                </a:cubicBezTo>
                <a:cubicBezTo>
                  <a:pt x="3611016" y="1771682"/>
                  <a:pt x="3635291" y="1814263"/>
                  <a:pt x="3659964" y="1858436"/>
                </a:cubicBezTo>
                <a:cubicBezTo>
                  <a:pt x="3675086" y="1834956"/>
                  <a:pt x="3683841" y="1830579"/>
                  <a:pt x="3698565" y="1834161"/>
                </a:cubicBezTo>
                <a:cubicBezTo>
                  <a:pt x="3710902" y="1824610"/>
                  <a:pt x="3720453" y="1817049"/>
                  <a:pt x="3732789" y="1807498"/>
                </a:cubicBezTo>
                <a:cubicBezTo>
                  <a:pt x="3754676" y="1856048"/>
                  <a:pt x="3774574" y="1900221"/>
                  <a:pt x="3794870" y="1944791"/>
                </a:cubicBezTo>
                <a:cubicBezTo>
                  <a:pt x="3811982" y="1938424"/>
                  <a:pt x="3827900" y="1932455"/>
                  <a:pt x="3844216" y="1926088"/>
                </a:cubicBezTo>
                <a:cubicBezTo>
                  <a:pt x="3850583" y="1941210"/>
                  <a:pt x="3856154" y="1954342"/>
                  <a:pt x="3861726" y="1968270"/>
                </a:cubicBezTo>
                <a:cubicBezTo>
                  <a:pt x="3875654" y="1963495"/>
                  <a:pt x="3887990" y="1959118"/>
                  <a:pt x="3902317" y="1954342"/>
                </a:cubicBezTo>
                <a:cubicBezTo>
                  <a:pt x="3917041" y="2002096"/>
                  <a:pt x="3931367" y="2047861"/>
                  <a:pt x="3946091" y="2094421"/>
                </a:cubicBezTo>
                <a:cubicBezTo>
                  <a:pt x="3930571" y="2098799"/>
                  <a:pt x="3918235" y="2102778"/>
                  <a:pt x="3905102" y="2106360"/>
                </a:cubicBezTo>
                <a:cubicBezTo>
                  <a:pt x="3909082" y="2123472"/>
                  <a:pt x="3912663" y="2138992"/>
                  <a:pt x="3916643" y="2155706"/>
                </a:cubicBezTo>
                <a:cubicBezTo>
                  <a:pt x="3870083" y="2166849"/>
                  <a:pt x="3824716" y="2177593"/>
                  <a:pt x="3782135" y="2187940"/>
                </a:cubicBezTo>
                <a:cubicBezTo>
                  <a:pt x="3795268" y="2281857"/>
                  <a:pt x="3808400" y="2373385"/>
                  <a:pt x="3821533" y="2467700"/>
                </a:cubicBezTo>
                <a:cubicBezTo>
                  <a:pt x="3764227" y="2470884"/>
                  <a:pt x="3712096" y="2473669"/>
                  <a:pt x="3659964" y="2476455"/>
                </a:cubicBezTo>
                <a:cubicBezTo>
                  <a:pt x="3659964" y="2530576"/>
                  <a:pt x="3659964" y="2581912"/>
                  <a:pt x="3659964" y="2634442"/>
                </a:cubicBezTo>
                <a:cubicBezTo>
                  <a:pt x="3673494" y="2635238"/>
                  <a:pt x="3686229" y="2636432"/>
                  <a:pt x="3698565" y="2637228"/>
                </a:cubicBezTo>
                <a:cubicBezTo>
                  <a:pt x="3732789" y="2639615"/>
                  <a:pt x="3767411" y="2641605"/>
                  <a:pt x="3801635" y="2643595"/>
                </a:cubicBezTo>
                <a:cubicBezTo>
                  <a:pt x="3812778" y="2643993"/>
                  <a:pt x="3819941" y="2647177"/>
                  <a:pt x="3811584" y="2659911"/>
                </a:cubicBezTo>
                <a:cubicBezTo>
                  <a:pt x="3760248" y="2656727"/>
                  <a:pt x="3709708" y="2653146"/>
                  <a:pt x="3656780" y="2649564"/>
                </a:cubicBezTo>
                <a:cubicBezTo>
                  <a:pt x="3655984" y="2665084"/>
                  <a:pt x="3655188" y="2678615"/>
                  <a:pt x="3653995" y="2694533"/>
                </a:cubicBezTo>
                <a:cubicBezTo>
                  <a:pt x="3706524" y="2705675"/>
                  <a:pt x="3756666" y="2716022"/>
                  <a:pt x="3808002" y="2726767"/>
                </a:cubicBezTo>
                <a:cubicBezTo>
                  <a:pt x="3801635" y="2745073"/>
                  <a:pt x="3813971" y="2752634"/>
                  <a:pt x="3828696" y="2761389"/>
                </a:cubicBezTo>
                <a:cubicBezTo>
                  <a:pt x="3874062" y="2788450"/>
                  <a:pt x="3913857" y="2822275"/>
                  <a:pt x="3946887" y="2863662"/>
                </a:cubicBezTo>
                <a:cubicBezTo>
                  <a:pt x="4063089" y="3008915"/>
                  <a:pt x="4086966" y="3174463"/>
                  <a:pt x="4050753" y="3351949"/>
                </a:cubicBezTo>
                <a:cubicBezTo>
                  <a:pt x="4032049" y="3443478"/>
                  <a:pt x="3993846" y="3527048"/>
                  <a:pt x="3941316" y="3603853"/>
                </a:cubicBezTo>
                <a:cubicBezTo>
                  <a:pt x="3934949" y="3612608"/>
                  <a:pt x="3929377" y="3620965"/>
                  <a:pt x="3947683" y="3623751"/>
                </a:cubicBezTo>
                <a:cubicBezTo>
                  <a:pt x="3973152" y="3580772"/>
                  <a:pt x="3998621" y="3537793"/>
                  <a:pt x="4024886" y="3494018"/>
                </a:cubicBezTo>
                <a:cubicBezTo>
                  <a:pt x="4047967" y="3506753"/>
                  <a:pt x="4069854" y="3518691"/>
                  <a:pt x="4094130" y="3531824"/>
                </a:cubicBezTo>
                <a:cubicBezTo>
                  <a:pt x="4065477" y="3579976"/>
                  <a:pt x="4037620" y="3626934"/>
                  <a:pt x="4009366" y="3674688"/>
                </a:cubicBezTo>
                <a:cubicBezTo>
                  <a:pt x="4015733" y="3679066"/>
                  <a:pt x="4021304" y="3682647"/>
                  <a:pt x="4028069" y="3687025"/>
                </a:cubicBezTo>
                <a:cubicBezTo>
                  <a:pt x="4055926" y="3640465"/>
                  <a:pt x="4082987" y="3595496"/>
                  <a:pt x="4110446" y="3549732"/>
                </a:cubicBezTo>
                <a:cubicBezTo>
                  <a:pt x="4133129" y="3562068"/>
                  <a:pt x="4154618" y="3574007"/>
                  <a:pt x="4177700" y="3586741"/>
                </a:cubicBezTo>
                <a:cubicBezTo>
                  <a:pt x="4148251" y="3636485"/>
                  <a:pt x="4119599" y="3684637"/>
                  <a:pt x="4089752" y="3734381"/>
                </a:cubicBezTo>
                <a:cubicBezTo>
                  <a:pt x="4095722" y="3738361"/>
                  <a:pt x="4101691" y="3742738"/>
                  <a:pt x="4109650" y="3748309"/>
                </a:cubicBezTo>
                <a:cubicBezTo>
                  <a:pt x="4138700" y="3699760"/>
                  <a:pt x="4166955" y="3653199"/>
                  <a:pt x="4195608" y="3605445"/>
                </a:cubicBezTo>
                <a:cubicBezTo>
                  <a:pt x="4217097" y="3617383"/>
                  <a:pt x="4238188" y="3628924"/>
                  <a:pt x="4261270" y="3641658"/>
                </a:cubicBezTo>
                <a:cubicBezTo>
                  <a:pt x="4230229" y="3693392"/>
                  <a:pt x="4199985" y="3743534"/>
                  <a:pt x="4169343" y="3794472"/>
                </a:cubicBezTo>
                <a:cubicBezTo>
                  <a:pt x="4176505" y="3799645"/>
                  <a:pt x="4182475" y="3804421"/>
                  <a:pt x="4190434" y="3810390"/>
                </a:cubicBezTo>
                <a:cubicBezTo>
                  <a:pt x="4221077" y="3760248"/>
                  <a:pt x="4250525" y="3711698"/>
                  <a:pt x="4280769" y="3661954"/>
                </a:cubicBezTo>
                <a:cubicBezTo>
                  <a:pt x="4301860" y="3673893"/>
                  <a:pt x="4322554" y="3685035"/>
                  <a:pt x="4344442" y="3697372"/>
                </a:cubicBezTo>
                <a:cubicBezTo>
                  <a:pt x="4311411" y="3751095"/>
                  <a:pt x="4279973" y="3803227"/>
                  <a:pt x="4247739" y="3856155"/>
                </a:cubicBezTo>
                <a:cubicBezTo>
                  <a:pt x="4254902" y="3862124"/>
                  <a:pt x="4262065" y="3867695"/>
                  <a:pt x="4270422" y="3874460"/>
                </a:cubicBezTo>
                <a:cubicBezTo>
                  <a:pt x="4275198" y="3868491"/>
                  <a:pt x="4278780" y="3863318"/>
                  <a:pt x="4283157" y="3858542"/>
                </a:cubicBezTo>
                <a:cubicBezTo>
                  <a:pt x="4314197" y="3822727"/>
                  <a:pt x="4344043" y="3786513"/>
                  <a:pt x="4376278" y="3752289"/>
                </a:cubicBezTo>
                <a:cubicBezTo>
                  <a:pt x="4387818" y="3739953"/>
                  <a:pt x="4403338" y="3731198"/>
                  <a:pt x="4418461" y="3723239"/>
                </a:cubicBezTo>
                <a:cubicBezTo>
                  <a:pt x="4431991" y="3716075"/>
                  <a:pt x="4442736" y="3722443"/>
                  <a:pt x="4443531" y="3737963"/>
                </a:cubicBezTo>
                <a:cubicBezTo>
                  <a:pt x="4444327" y="3752289"/>
                  <a:pt x="4444725" y="3767809"/>
                  <a:pt x="4439950" y="3780942"/>
                </a:cubicBezTo>
                <a:cubicBezTo>
                  <a:pt x="4422838" y="3829094"/>
                  <a:pt x="4404532" y="3876450"/>
                  <a:pt x="4384635" y="3923408"/>
                </a:cubicBezTo>
                <a:cubicBezTo>
                  <a:pt x="4372696" y="3951265"/>
                  <a:pt x="4371104" y="3955643"/>
                  <a:pt x="4394186" y="3976336"/>
                </a:cubicBezTo>
                <a:cubicBezTo>
                  <a:pt x="4438358" y="4015335"/>
                  <a:pt x="4483326" y="4053539"/>
                  <a:pt x="4527897" y="4092140"/>
                </a:cubicBezTo>
                <a:cubicBezTo>
                  <a:pt x="4532275" y="4096120"/>
                  <a:pt x="4537448" y="4098905"/>
                  <a:pt x="4546203" y="4104079"/>
                </a:cubicBezTo>
                <a:cubicBezTo>
                  <a:pt x="4546203" y="4106864"/>
                  <a:pt x="4546203" y="4109252"/>
                  <a:pt x="4546203" y="4112038"/>
                </a:cubicBezTo>
                <a:cubicBezTo>
                  <a:pt x="4541826" y="4115221"/>
                  <a:pt x="4537448" y="4118803"/>
                  <a:pt x="4531479" y="4123181"/>
                </a:cubicBezTo>
                <a:cubicBezTo>
                  <a:pt x="4465021" y="4086966"/>
                  <a:pt x="4398165" y="4050753"/>
                  <a:pt x="4330513" y="4014142"/>
                </a:cubicBezTo>
                <a:cubicBezTo>
                  <a:pt x="4325738" y="4019713"/>
                  <a:pt x="4321360" y="4024488"/>
                  <a:pt x="4317381" y="4029662"/>
                </a:cubicBezTo>
                <a:cubicBezTo>
                  <a:pt x="4281963" y="4072242"/>
                  <a:pt x="4244954" y="4112833"/>
                  <a:pt x="4198393" y="4143078"/>
                </a:cubicBezTo>
                <a:cubicBezTo>
                  <a:pt x="4180883" y="4154220"/>
                  <a:pt x="4160190" y="4172128"/>
                  <a:pt x="4140690" y="4156608"/>
                </a:cubicBezTo>
                <a:cubicBezTo>
                  <a:pt x="4121986" y="4141486"/>
                  <a:pt x="4133925" y="4117211"/>
                  <a:pt x="4142282" y="4099303"/>
                </a:cubicBezTo>
                <a:cubicBezTo>
                  <a:pt x="4160190" y="4060304"/>
                  <a:pt x="4181281" y="4022498"/>
                  <a:pt x="4201577" y="3984693"/>
                </a:cubicBezTo>
                <a:cubicBezTo>
                  <a:pt x="4207546" y="3973152"/>
                  <a:pt x="4215107" y="3962408"/>
                  <a:pt x="4222668" y="3950867"/>
                </a:cubicBezTo>
                <a:cubicBezTo>
                  <a:pt x="4213117" y="3945296"/>
                  <a:pt x="4205556" y="3940520"/>
                  <a:pt x="4197597" y="3935745"/>
                </a:cubicBezTo>
                <a:cubicBezTo>
                  <a:pt x="4159792" y="3983897"/>
                  <a:pt x="4122384" y="4031253"/>
                  <a:pt x="4084579" y="4079406"/>
                </a:cubicBezTo>
                <a:cubicBezTo>
                  <a:pt x="4064283" y="4062294"/>
                  <a:pt x="4046375" y="4047172"/>
                  <a:pt x="4028865" y="4032447"/>
                </a:cubicBezTo>
                <a:cubicBezTo>
                  <a:pt x="4064681" y="3986683"/>
                  <a:pt x="4098905" y="3942908"/>
                  <a:pt x="4134323" y="3897940"/>
                </a:cubicBezTo>
                <a:cubicBezTo>
                  <a:pt x="4125568" y="3892368"/>
                  <a:pt x="4119200" y="3888389"/>
                  <a:pt x="4112037" y="3884011"/>
                </a:cubicBezTo>
                <a:cubicBezTo>
                  <a:pt x="4075426" y="3930174"/>
                  <a:pt x="4039610" y="3975142"/>
                  <a:pt x="4002999" y="4021703"/>
                </a:cubicBezTo>
                <a:cubicBezTo>
                  <a:pt x="3983101" y="4004591"/>
                  <a:pt x="3964795" y="3989070"/>
                  <a:pt x="3946091" y="3973152"/>
                </a:cubicBezTo>
                <a:cubicBezTo>
                  <a:pt x="3980713" y="3929776"/>
                  <a:pt x="4013743" y="3887593"/>
                  <a:pt x="4047967" y="3844216"/>
                </a:cubicBezTo>
                <a:cubicBezTo>
                  <a:pt x="4039610" y="3839043"/>
                  <a:pt x="4033243" y="3835063"/>
                  <a:pt x="4027274" y="3831482"/>
                </a:cubicBezTo>
                <a:cubicBezTo>
                  <a:pt x="3991458" y="3876450"/>
                  <a:pt x="3956836" y="3919429"/>
                  <a:pt x="3921816" y="3963204"/>
                </a:cubicBezTo>
                <a:cubicBezTo>
                  <a:pt x="3900327" y="3944898"/>
                  <a:pt x="3882021" y="3928980"/>
                  <a:pt x="3863715" y="3913062"/>
                </a:cubicBezTo>
                <a:cubicBezTo>
                  <a:pt x="3897143" y="3870481"/>
                  <a:pt x="3929377" y="3830288"/>
                  <a:pt x="3962010" y="3788901"/>
                </a:cubicBezTo>
                <a:cubicBezTo>
                  <a:pt x="3954051" y="3784125"/>
                  <a:pt x="3948877" y="3780544"/>
                  <a:pt x="3943306" y="3776962"/>
                </a:cubicBezTo>
                <a:cubicBezTo>
                  <a:pt x="3909082" y="3819543"/>
                  <a:pt x="3875654" y="3861328"/>
                  <a:pt x="3841430" y="3903909"/>
                </a:cubicBezTo>
                <a:cubicBezTo>
                  <a:pt x="3819941" y="3885205"/>
                  <a:pt x="3800839" y="3868491"/>
                  <a:pt x="3781737" y="3852175"/>
                </a:cubicBezTo>
                <a:cubicBezTo>
                  <a:pt x="3813971" y="3811584"/>
                  <a:pt x="3845012" y="3772983"/>
                  <a:pt x="3876450" y="3733585"/>
                </a:cubicBezTo>
                <a:cubicBezTo>
                  <a:pt x="3868491" y="3728810"/>
                  <a:pt x="3863715" y="3726024"/>
                  <a:pt x="3858940" y="3723239"/>
                </a:cubicBezTo>
                <a:cubicBezTo>
                  <a:pt x="3825910" y="3763830"/>
                  <a:pt x="3793676" y="3803227"/>
                  <a:pt x="3761044" y="3843818"/>
                </a:cubicBezTo>
                <a:cubicBezTo>
                  <a:pt x="3750299" y="3834267"/>
                  <a:pt x="3741544" y="3826308"/>
                  <a:pt x="3731993" y="3819145"/>
                </a:cubicBezTo>
                <a:cubicBezTo>
                  <a:pt x="3728412" y="3816359"/>
                  <a:pt x="3721646" y="3813574"/>
                  <a:pt x="3718463" y="3815166"/>
                </a:cubicBezTo>
                <a:cubicBezTo>
                  <a:pt x="3694984" y="3826308"/>
                  <a:pt x="3671903" y="3838247"/>
                  <a:pt x="3647229" y="3850981"/>
                </a:cubicBezTo>
                <a:cubicBezTo>
                  <a:pt x="3687423" y="3889185"/>
                  <a:pt x="3726024" y="3925796"/>
                  <a:pt x="3770197" y="3967979"/>
                </a:cubicBezTo>
                <a:cubicBezTo>
                  <a:pt x="3750299" y="3982703"/>
                  <a:pt x="3732789" y="3996234"/>
                  <a:pt x="3714086" y="4010560"/>
                </a:cubicBezTo>
                <a:cubicBezTo>
                  <a:pt x="3723636" y="4019315"/>
                  <a:pt x="3728014" y="4023692"/>
                  <a:pt x="3734381" y="4029662"/>
                </a:cubicBezTo>
                <a:cubicBezTo>
                  <a:pt x="3750697" y="4012948"/>
                  <a:pt x="3766615" y="3997029"/>
                  <a:pt x="3783329" y="3980316"/>
                </a:cubicBezTo>
                <a:cubicBezTo>
                  <a:pt x="3789696" y="3987479"/>
                  <a:pt x="3795666" y="3993846"/>
                  <a:pt x="3802431" y="4001009"/>
                </a:cubicBezTo>
                <a:cubicBezTo>
                  <a:pt x="3794472" y="4009764"/>
                  <a:pt x="3786513" y="4018519"/>
                  <a:pt x="3774574" y="4031651"/>
                </a:cubicBezTo>
                <a:cubicBezTo>
                  <a:pt x="3785717" y="4038417"/>
                  <a:pt x="3795666" y="4044784"/>
                  <a:pt x="3806410" y="4051549"/>
                </a:cubicBezTo>
                <a:cubicBezTo>
                  <a:pt x="3793278" y="4065079"/>
                  <a:pt x="3784523" y="4074630"/>
                  <a:pt x="3770197" y="4089355"/>
                </a:cubicBezTo>
                <a:cubicBezTo>
                  <a:pt x="3793278" y="4109252"/>
                  <a:pt x="3815961" y="4128354"/>
                  <a:pt x="3840236" y="4149445"/>
                </a:cubicBezTo>
                <a:cubicBezTo>
                  <a:pt x="3826706" y="4161384"/>
                  <a:pt x="3815961" y="4170139"/>
                  <a:pt x="3804819" y="4180087"/>
                </a:cubicBezTo>
                <a:cubicBezTo>
                  <a:pt x="3831879" y="4208740"/>
                  <a:pt x="3857348" y="4236199"/>
                  <a:pt x="3884011" y="4264851"/>
                </a:cubicBezTo>
                <a:cubicBezTo>
                  <a:pt x="3860930" y="4285943"/>
                  <a:pt x="3839042" y="4305840"/>
                  <a:pt x="3816359" y="4326136"/>
                </a:cubicBezTo>
                <a:cubicBezTo>
                  <a:pt x="3790492" y="4296290"/>
                  <a:pt x="3765819" y="4268035"/>
                  <a:pt x="3741146" y="4239382"/>
                </a:cubicBezTo>
                <a:cubicBezTo>
                  <a:pt x="3728412" y="4249331"/>
                  <a:pt x="3717667" y="4258086"/>
                  <a:pt x="3706127" y="4267637"/>
                </a:cubicBezTo>
                <a:cubicBezTo>
                  <a:pt x="3686229" y="4244158"/>
                  <a:pt x="3667127" y="4221872"/>
                  <a:pt x="3648025" y="4199189"/>
                </a:cubicBezTo>
                <a:cubicBezTo>
                  <a:pt x="3637679" y="4206751"/>
                  <a:pt x="3628924" y="4213516"/>
                  <a:pt x="3619373" y="4220679"/>
                </a:cubicBezTo>
                <a:cubicBezTo>
                  <a:pt x="3610618" y="4211128"/>
                  <a:pt x="3603057" y="4202373"/>
                  <a:pt x="3595098" y="4193220"/>
                </a:cubicBezTo>
                <a:cubicBezTo>
                  <a:pt x="3584751" y="4200781"/>
                  <a:pt x="3575996" y="4207148"/>
                  <a:pt x="3566445" y="4214311"/>
                </a:cubicBezTo>
                <a:cubicBezTo>
                  <a:pt x="3494018" y="4121589"/>
                  <a:pt x="3423183" y="4030060"/>
                  <a:pt x="3351551" y="3937735"/>
                </a:cubicBezTo>
                <a:cubicBezTo>
                  <a:pt x="3332450" y="3952061"/>
                  <a:pt x="3315338" y="3965193"/>
                  <a:pt x="3297828" y="3978326"/>
                </a:cubicBezTo>
                <a:cubicBezTo>
                  <a:pt x="3304195" y="3987877"/>
                  <a:pt x="3309368" y="3995836"/>
                  <a:pt x="3314940" y="4004591"/>
                </a:cubicBezTo>
                <a:cubicBezTo>
                  <a:pt x="3302205" y="4014142"/>
                  <a:pt x="3290665" y="4022896"/>
                  <a:pt x="3278726" y="4031651"/>
                </a:cubicBezTo>
                <a:cubicBezTo>
                  <a:pt x="3288675" y="4046773"/>
                  <a:pt x="3297430" y="4060702"/>
                  <a:pt x="3307379" y="4075824"/>
                </a:cubicBezTo>
                <a:cubicBezTo>
                  <a:pt x="3264798" y="4102089"/>
                  <a:pt x="3224207" y="4127558"/>
                  <a:pt x="3182422" y="4153425"/>
                </a:cubicBezTo>
                <a:cubicBezTo>
                  <a:pt x="3172871" y="4136710"/>
                  <a:pt x="3164514" y="4122384"/>
                  <a:pt x="3155759" y="4107660"/>
                </a:cubicBezTo>
                <a:cubicBezTo>
                  <a:pt x="3140637" y="4115619"/>
                  <a:pt x="3126708" y="4122782"/>
                  <a:pt x="3111188" y="4131140"/>
                </a:cubicBezTo>
                <a:cubicBezTo>
                  <a:pt x="3088505" y="4088558"/>
                  <a:pt x="3066220" y="4046773"/>
                  <a:pt x="3043537" y="4004193"/>
                </a:cubicBezTo>
                <a:cubicBezTo>
                  <a:pt x="3023241" y="4014539"/>
                  <a:pt x="3005333" y="4024090"/>
                  <a:pt x="2986629" y="4033641"/>
                </a:cubicBezTo>
                <a:cubicBezTo>
                  <a:pt x="3056669" y="4180087"/>
                  <a:pt x="3126311" y="4324942"/>
                  <a:pt x="3196350" y="4470990"/>
                </a:cubicBezTo>
                <a:cubicBezTo>
                  <a:pt x="3184014" y="4476960"/>
                  <a:pt x="3173269" y="4482133"/>
                  <a:pt x="3162524" y="4486908"/>
                </a:cubicBezTo>
                <a:cubicBezTo>
                  <a:pt x="3159738" y="4488102"/>
                  <a:pt x="3155361" y="4487307"/>
                  <a:pt x="3151779" y="4487307"/>
                </a:cubicBezTo>
                <a:cubicBezTo>
                  <a:pt x="3145014" y="4486908"/>
                  <a:pt x="3137453" y="4484123"/>
                  <a:pt x="3131882" y="4486113"/>
                </a:cubicBezTo>
                <a:cubicBezTo>
                  <a:pt x="3049108" y="4515959"/>
                  <a:pt x="2966732" y="4546601"/>
                  <a:pt x="2883958" y="4577244"/>
                </a:cubicBezTo>
                <a:cubicBezTo>
                  <a:pt x="2879182" y="4579233"/>
                  <a:pt x="2870427" y="4580825"/>
                  <a:pt x="2870029" y="4583213"/>
                </a:cubicBezTo>
                <a:cubicBezTo>
                  <a:pt x="2867244" y="4609876"/>
                  <a:pt x="2844561" y="4596743"/>
                  <a:pt x="2831428" y="4607488"/>
                </a:cubicBezTo>
                <a:cubicBezTo>
                  <a:pt x="2799990" y="4490888"/>
                  <a:pt x="2769745" y="4378666"/>
                  <a:pt x="2739103" y="4264851"/>
                </a:cubicBezTo>
                <a:cubicBezTo>
                  <a:pt x="2730746" y="4267239"/>
                  <a:pt x="2723981" y="4269229"/>
                  <a:pt x="2715624" y="4271616"/>
                </a:cubicBezTo>
                <a:cubicBezTo>
                  <a:pt x="2719604" y="4288729"/>
                  <a:pt x="2723185" y="4304647"/>
                  <a:pt x="2727563" y="4323748"/>
                </a:cubicBezTo>
                <a:cubicBezTo>
                  <a:pt x="2664288" y="4336085"/>
                  <a:pt x="2602606" y="4348421"/>
                  <a:pt x="2539729" y="4360758"/>
                </a:cubicBezTo>
                <a:cubicBezTo>
                  <a:pt x="2536148" y="4340462"/>
                  <a:pt x="2533362" y="4325340"/>
                  <a:pt x="2530576" y="4308228"/>
                </a:cubicBezTo>
                <a:cubicBezTo>
                  <a:pt x="2508291" y="4310616"/>
                  <a:pt x="2487598" y="4312606"/>
                  <a:pt x="2465710" y="4314993"/>
                </a:cubicBezTo>
                <a:cubicBezTo>
                  <a:pt x="2464118" y="4305044"/>
                  <a:pt x="2462925" y="4297483"/>
                  <a:pt x="2462129" y="4289524"/>
                </a:cubicBezTo>
                <a:cubicBezTo>
                  <a:pt x="2452578" y="4199189"/>
                  <a:pt x="2443027" y="4108854"/>
                  <a:pt x="2433476" y="4018519"/>
                </a:cubicBezTo>
                <a:cubicBezTo>
                  <a:pt x="2431486" y="4002203"/>
                  <a:pt x="2431088" y="4001805"/>
                  <a:pt x="2413181" y="4009366"/>
                </a:cubicBezTo>
                <a:cubicBezTo>
                  <a:pt x="2443027" y="4331309"/>
                  <a:pt x="2473271" y="4653650"/>
                  <a:pt x="2503118" y="4975594"/>
                </a:cubicBezTo>
                <a:cubicBezTo>
                  <a:pt x="2491179" y="4977981"/>
                  <a:pt x="2483220" y="4979175"/>
                  <a:pt x="2474465" y="4980767"/>
                </a:cubicBezTo>
                <a:cubicBezTo>
                  <a:pt x="2476057" y="5004644"/>
                  <a:pt x="2477649" y="5026929"/>
                  <a:pt x="2479241" y="5049612"/>
                </a:cubicBezTo>
                <a:cubicBezTo>
                  <a:pt x="2468098" y="5051204"/>
                  <a:pt x="2459343" y="5052796"/>
                  <a:pt x="2449792" y="5054388"/>
                </a:cubicBezTo>
                <a:cubicBezTo>
                  <a:pt x="2449792" y="5065531"/>
                  <a:pt x="2449792" y="5075082"/>
                  <a:pt x="2449792" y="5085428"/>
                </a:cubicBezTo>
                <a:cubicBezTo>
                  <a:pt x="2422732" y="5087816"/>
                  <a:pt x="2396467" y="5090204"/>
                  <a:pt x="2370202" y="5092591"/>
                </a:cubicBezTo>
                <a:cubicBezTo>
                  <a:pt x="2334386" y="5092591"/>
                  <a:pt x="2298571" y="5092591"/>
                  <a:pt x="2262755" y="5092591"/>
                </a:cubicBezTo>
                <a:cubicBezTo>
                  <a:pt x="2262755" y="5082245"/>
                  <a:pt x="2262755" y="5071500"/>
                  <a:pt x="2262755" y="5059561"/>
                </a:cubicBezTo>
                <a:cubicBezTo>
                  <a:pt x="2242459" y="5059561"/>
                  <a:pt x="2223357" y="5059561"/>
                  <a:pt x="2203062" y="5059561"/>
                </a:cubicBezTo>
                <a:cubicBezTo>
                  <a:pt x="2203062" y="5071500"/>
                  <a:pt x="2203062" y="5082245"/>
                  <a:pt x="2203062" y="5092591"/>
                </a:cubicBezTo>
                <a:cubicBezTo>
                  <a:pt x="2195103" y="5092591"/>
                  <a:pt x="2187144" y="5092591"/>
                  <a:pt x="2179185" y="5092591"/>
                </a:cubicBezTo>
                <a:cubicBezTo>
                  <a:pt x="2169236" y="5091795"/>
                  <a:pt x="2159685" y="5090204"/>
                  <a:pt x="2149736" y="5089408"/>
                </a:cubicBezTo>
                <a:cubicBezTo>
                  <a:pt x="2105166" y="5085826"/>
                  <a:pt x="2060197" y="5083041"/>
                  <a:pt x="2016422" y="5079857"/>
                </a:cubicBezTo>
                <a:cubicBezTo>
                  <a:pt x="2011647" y="5065133"/>
                  <a:pt x="2027167" y="5044837"/>
                  <a:pt x="2000504" y="5042847"/>
                </a:cubicBezTo>
                <a:cubicBezTo>
                  <a:pt x="2002892" y="5019368"/>
                  <a:pt x="2004882" y="4997481"/>
                  <a:pt x="2007270" y="4974399"/>
                </a:cubicBezTo>
                <a:cubicBezTo>
                  <a:pt x="1995729" y="4972012"/>
                  <a:pt x="1985780" y="4970022"/>
                  <a:pt x="1974637" y="4967634"/>
                </a:cubicBezTo>
                <a:cubicBezTo>
                  <a:pt x="2004086" y="4729659"/>
                  <a:pt x="2033136" y="4492878"/>
                  <a:pt x="2062187" y="4255300"/>
                </a:cubicBezTo>
                <a:cubicBezTo>
                  <a:pt x="2032341" y="4250923"/>
                  <a:pt x="2006076" y="4247341"/>
                  <a:pt x="1978219" y="4243362"/>
                </a:cubicBezTo>
                <a:cubicBezTo>
                  <a:pt x="1956332" y="4368717"/>
                  <a:pt x="1934842" y="4491684"/>
                  <a:pt x="1913353" y="4615845"/>
                </a:cubicBezTo>
                <a:cubicBezTo>
                  <a:pt x="1901414" y="4614253"/>
                  <a:pt x="1891864" y="4613059"/>
                  <a:pt x="1880721" y="4611467"/>
                </a:cubicBezTo>
                <a:cubicBezTo>
                  <a:pt x="1877139" y="4627783"/>
                  <a:pt x="1873956" y="4643304"/>
                  <a:pt x="1870374" y="4659620"/>
                </a:cubicBezTo>
                <a:cubicBezTo>
                  <a:pt x="1858834" y="4658028"/>
                  <a:pt x="1848885" y="4656834"/>
                  <a:pt x="1838538" y="4655242"/>
                </a:cubicBezTo>
                <a:cubicBezTo>
                  <a:pt x="1835752" y="4662803"/>
                  <a:pt x="1832967" y="4669171"/>
                  <a:pt x="1829783" y="4677925"/>
                </a:cubicBezTo>
                <a:cubicBezTo>
                  <a:pt x="1766111" y="4661609"/>
                  <a:pt x="1703632" y="4645293"/>
                  <a:pt x="1640756" y="4629375"/>
                </a:cubicBezTo>
                <a:cubicBezTo>
                  <a:pt x="1643144" y="4619427"/>
                  <a:pt x="1644337" y="4613059"/>
                  <a:pt x="1645929" y="4605498"/>
                </a:cubicBezTo>
                <a:cubicBezTo>
                  <a:pt x="1619664" y="4596743"/>
                  <a:pt x="1594196" y="4588386"/>
                  <a:pt x="1568329" y="4580029"/>
                </a:cubicBezTo>
                <a:cubicBezTo>
                  <a:pt x="1565145" y="4587988"/>
                  <a:pt x="1562359" y="4593957"/>
                  <a:pt x="1558380" y="4602713"/>
                </a:cubicBezTo>
                <a:cubicBezTo>
                  <a:pt x="1497493" y="4578437"/>
                  <a:pt x="1437005" y="4554162"/>
                  <a:pt x="1375720" y="4529887"/>
                </a:cubicBezTo>
                <a:cubicBezTo>
                  <a:pt x="1379699" y="4520336"/>
                  <a:pt x="1381689" y="4514367"/>
                  <a:pt x="1384475" y="4508000"/>
                </a:cubicBezTo>
                <a:cubicBezTo>
                  <a:pt x="1378506" y="4504020"/>
                  <a:pt x="1373730" y="4500837"/>
                  <a:pt x="1368557" y="4497255"/>
                </a:cubicBezTo>
                <a:cubicBezTo>
                  <a:pt x="1375322" y="4482133"/>
                  <a:pt x="1381689" y="4468205"/>
                  <a:pt x="1388454" y="4453082"/>
                </a:cubicBezTo>
                <a:cubicBezTo>
                  <a:pt x="1376516" y="4447113"/>
                  <a:pt x="1366169" y="4441542"/>
                  <a:pt x="1354628" y="4435573"/>
                </a:cubicBezTo>
                <a:cubicBezTo>
                  <a:pt x="1435015" y="4270423"/>
                  <a:pt x="1515401" y="4106068"/>
                  <a:pt x="1595389" y="3941714"/>
                </a:cubicBezTo>
                <a:cubicBezTo>
                  <a:pt x="1591012" y="3936939"/>
                  <a:pt x="1587430" y="3932959"/>
                  <a:pt x="1583849" y="3929378"/>
                </a:cubicBezTo>
                <a:cubicBezTo>
                  <a:pt x="1606930" y="3882021"/>
                  <a:pt x="1630011" y="3836257"/>
                  <a:pt x="1652694" y="3790493"/>
                </a:cubicBezTo>
                <a:cubicBezTo>
                  <a:pt x="1649909" y="3789299"/>
                  <a:pt x="1647123" y="3787707"/>
                  <a:pt x="1644337" y="3786513"/>
                </a:cubicBezTo>
                <a:cubicBezTo>
                  <a:pt x="1620460" y="3832675"/>
                  <a:pt x="1596583" y="3879236"/>
                  <a:pt x="1573104" y="3925398"/>
                </a:cubicBezTo>
                <a:cubicBezTo>
                  <a:pt x="1558778" y="3923010"/>
                  <a:pt x="1559176" y="3917041"/>
                  <a:pt x="1564349" y="3907092"/>
                </a:cubicBezTo>
                <a:cubicBezTo>
                  <a:pt x="1586634" y="3865307"/>
                  <a:pt x="1608522" y="3823125"/>
                  <a:pt x="1631205" y="3779350"/>
                </a:cubicBezTo>
                <a:cubicBezTo>
                  <a:pt x="1615287" y="3770993"/>
                  <a:pt x="1600563" y="3763034"/>
                  <a:pt x="1582655" y="3753483"/>
                </a:cubicBezTo>
                <a:cubicBezTo>
                  <a:pt x="1592206" y="3776564"/>
                  <a:pt x="1587828" y="3784125"/>
                  <a:pt x="1567135" y="3792482"/>
                </a:cubicBezTo>
                <a:cubicBezTo>
                  <a:pt x="1565145" y="3793676"/>
                  <a:pt x="1563155" y="3801237"/>
                  <a:pt x="1564349" y="3802829"/>
                </a:cubicBezTo>
                <a:cubicBezTo>
                  <a:pt x="1567533" y="3806808"/>
                  <a:pt x="1572706" y="3808798"/>
                  <a:pt x="1578277" y="3812380"/>
                </a:cubicBezTo>
                <a:cubicBezTo>
                  <a:pt x="1573104" y="3821533"/>
                  <a:pt x="1568329" y="3829890"/>
                  <a:pt x="1564349" y="3837053"/>
                </a:cubicBezTo>
                <a:cubicBezTo>
                  <a:pt x="1554798" y="3835063"/>
                  <a:pt x="1547635" y="3833869"/>
                  <a:pt x="1540472" y="3832277"/>
                </a:cubicBezTo>
                <a:cubicBezTo>
                  <a:pt x="1540074" y="3834267"/>
                  <a:pt x="1539278" y="3836655"/>
                  <a:pt x="1538880" y="3838645"/>
                </a:cubicBezTo>
                <a:cubicBezTo>
                  <a:pt x="1547635" y="3844216"/>
                  <a:pt x="1555992" y="3850185"/>
                  <a:pt x="1565145" y="3856155"/>
                </a:cubicBezTo>
                <a:cubicBezTo>
                  <a:pt x="1559972" y="3865307"/>
                  <a:pt x="1555196" y="3873664"/>
                  <a:pt x="1550421" y="3882419"/>
                </a:cubicBezTo>
                <a:cubicBezTo>
                  <a:pt x="1542064" y="3878042"/>
                  <a:pt x="1536095" y="3874062"/>
                  <a:pt x="1529329" y="3871277"/>
                </a:cubicBezTo>
                <a:cubicBezTo>
                  <a:pt x="1526544" y="3870083"/>
                  <a:pt x="1522564" y="3872073"/>
                  <a:pt x="1519380" y="3872471"/>
                </a:cubicBezTo>
                <a:cubicBezTo>
                  <a:pt x="1520972" y="3875654"/>
                  <a:pt x="1521370" y="3880032"/>
                  <a:pt x="1523758" y="3881623"/>
                </a:cubicBezTo>
                <a:cubicBezTo>
                  <a:pt x="1533309" y="3887593"/>
                  <a:pt x="1543258" y="3892766"/>
                  <a:pt x="1553604" y="3898736"/>
                </a:cubicBezTo>
                <a:cubicBezTo>
                  <a:pt x="1548033" y="3909082"/>
                  <a:pt x="1543258" y="3917439"/>
                  <a:pt x="1538482" y="3926592"/>
                </a:cubicBezTo>
                <a:cubicBezTo>
                  <a:pt x="1528533" y="3921021"/>
                  <a:pt x="1520574" y="3916245"/>
                  <a:pt x="1512217" y="3912664"/>
                </a:cubicBezTo>
                <a:cubicBezTo>
                  <a:pt x="1507840" y="3911072"/>
                  <a:pt x="1502667" y="3911868"/>
                  <a:pt x="1497493" y="3911868"/>
                </a:cubicBezTo>
                <a:cubicBezTo>
                  <a:pt x="1500279" y="3915449"/>
                  <a:pt x="1502269" y="3920225"/>
                  <a:pt x="1505850" y="3922613"/>
                </a:cubicBezTo>
                <a:cubicBezTo>
                  <a:pt x="1517391" y="3929776"/>
                  <a:pt x="1529329" y="3936143"/>
                  <a:pt x="1541666" y="3943306"/>
                </a:cubicBezTo>
                <a:cubicBezTo>
                  <a:pt x="1536095" y="3953653"/>
                  <a:pt x="1531319" y="3962010"/>
                  <a:pt x="1526544" y="3970765"/>
                </a:cubicBezTo>
                <a:cubicBezTo>
                  <a:pt x="1512217" y="3962806"/>
                  <a:pt x="1499881" y="3955643"/>
                  <a:pt x="1487544" y="3949673"/>
                </a:cubicBezTo>
                <a:cubicBezTo>
                  <a:pt x="1484361" y="3948081"/>
                  <a:pt x="1479585" y="3950071"/>
                  <a:pt x="1475606" y="3950071"/>
                </a:cubicBezTo>
                <a:cubicBezTo>
                  <a:pt x="1477596" y="3953255"/>
                  <a:pt x="1478789" y="3958030"/>
                  <a:pt x="1481973" y="3960020"/>
                </a:cubicBezTo>
                <a:cubicBezTo>
                  <a:pt x="1497493" y="3969173"/>
                  <a:pt x="1513809" y="3977928"/>
                  <a:pt x="1530125" y="3987081"/>
                </a:cubicBezTo>
                <a:cubicBezTo>
                  <a:pt x="1524952" y="3997428"/>
                  <a:pt x="1520176" y="4005784"/>
                  <a:pt x="1515799" y="4014142"/>
                </a:cubicBezTo>
                <a:cubicBezTo>
                  <a:pt x="1457300" y="3987081"/>
                  <a:pt x="1457300" y="3987081"/>
                  <a:pt x="1451729" y="3994244"/>
                </a:cubicBezTo>
                <a:cubicBezTo>
                  <a:pt x="1474412" y="4006580"/>
                  <a:pt x="1496697" y="4018917"/>
                  <a:pt x="1519380" y="4031651"/>
                </a:cubicBezTo>
                <a:cubicBezTo>
                  <a:pt x="1513809" y="4041600"/>
                  <a:pt x="1509830" y="4049957"/>
                  <a:pt x="1504656" y="4059508"/>
                </a:cubicBezTo>
                <a:cubicBezTo>
                  <a:pt x="1484361" y="4048763"/>
                  <a:pt x="1465657" y="4038019"/>
                  <a:pt x="1446157" y="4028468"/>
                </a:cubicBezTo>
                <a:cubicBezTo>
                  <a:pt x="1442178" y="4026478"/>
                  <a:pt x="1436607" y="4027672"/>
                  <a:pt x="1431433" y="4027672"/>
                </a:cubicBezTo>
                <a:cubicBezTo>
                  <a:pt x="1434219" y="4031253"/>
                  <a:pt x="1436607" y="4036427"/>
                  <a:pt x="1440188" y="4038417"/>
                </a:cubicBezTo>
                <a:cubicBezTo>
                  <a:pt x="1462473" y="4051151"/>
                  <a:pt x="1485157" y="4063487"/>
                  <a:pt x="1509034" y="4076222"/>
                </a:cubicBezTo>
                <a:cubicBezTo>
                  <a:pt x="1504258" y="4085773"/>
                  <a:pt x="1499881" y="4094528"/>
                  <a:pt x="1495503" y="4103283"/>
                </a:cubicBezTo>
                <a:cubicBezTo>
                  <a:pt x="1457698" y="4089355"/>
                  <a:pt x="1428648" y="4058314"/>
                  <a:pt x="1384475" y="4064681"/>
                </a:cubicBezTo>
                <a:cubicBezTo>
                  <a:pt x="1375720" y="4078212"/>
                  <a:pt x="1366169" y="4094528"/>
                  <a:pt x="1355424" y="4111640"/>
                </a:cubicBezTo>
                <a:cubicBezTo>
                  <a:pt x="1314435" y="4085375"/>
                  <a:pt x="1275436" y="4060304"/>
                  <a:pt x="1235641" y="4034835"/>
                </a:cubicBezTo>
                <a:cubicBezTo>
                  <a:pt x="1183907" y="4108456"/>
                  <a:pt x="1132571" y="4181679"/>
                  <a:pt x="1080838" y="4255698"/>
                </a:cubicBezTo>
                <a:cubicBezTo>
                  <a:pt x="1068103" y="4247341"/>
                  <a:pt x="1057358" y="4239780"/>
                  <a:pt x="1045420" y="4231821"/>
                </a:cubicBezTo>
                <a:cubicBezTo>
                  <a:pt x="1036267" y="4243760"/>
                  <a:pt x="1027512" y="4255300"/>
                  <a:pt x="1017563" y="4268035"/>
                </a:cubicBezTo>
                <a:cubicBezTo>
                  <a:pt x="1006420" y="4260076"/>
                  <a:pt x="995676" y="4252515"/>
                  <a:pt x="984533" y="4244556"/>
                </a:cubicBezTo>
                <a:cubicBezTo>
                  <a:pt x="978166" y="4251321"/>
                  <a:pt x="972595" y="4257688"/>
                  <a:pt x="964636" y="4266045"/>
                </a:cubicBezTo>
                <a:cubicBezTo>
                  <a:pt x="904943" y="4215505"/>
                  <a:pt x="846046" y="4165363"/>
                  <a:pt x="786353" y="4114425"/>
                </a:cubicBezTo>
                <a:cubicBezTo>
                  <a:pt x="793516" y="4105273"/>
                  <a:pt x="798690" y="4098905"/>
                  <a:pt x="804261" y="4092140"/>
                </a:cubicBezTo>
                <a:cubicBezTo>
                  <a:pt x="796302" y="4083783"/>
                  <a:pt x="788741" y="4075824"/>
                  <a:pt x="781180" y="4067467"/>
                </a:cubicBezTo>
                <a:cubicBezTo>
                  <a:pt x="792322" y="4055927"/>
                  <a:pt x="802271" y="4045580"/>
                  <a:pt x="812220" y="4034835"/>
                </a:cubicBezTo>
                <a:cubicBezTo>
                  <a:pt x="801873" y="4024090"/>
                  <a:pt x="793516" y="4014937"/>
                  <a:pt x="783965" y="4004988"/>
                </a:cubicBezTo>
                <a:cubicBezTo>
                  <a:pt x="870719" y="3919827"/>
                  <a:pt x="957074" y="3835461"/>
                  <a:pt x="1043430" y="3750697"/>
                </a:cubicBezTo>
                <a:cubicBezTo>
                  <a:pt x="1033083" y="3739555"/>
                  <a:pt x="1023930" y="3729208"/>
                  <a:pt x="1013584" y="3718065"/>
                </a:cubicBezTo>
                <a:cubicBezTo>
                  <a:pt x="1083225" y="3653199"/>
                  <a:pt x="1152071" y="3589527"/>
                  <a:pt x="1220917" y="3525059"/>
                </a:cubicBezTo>
                <a:cubicBezTo>
                  <a:pt x="1202213" y="3512324"/>
                  <a:pt x="1185897" y="3501181"/>
                  <a:pt x="1167989" y="3489243"/>
                </a:cubicBezTo>
                <a:cubicBezTo>
                  <a:pt x="1165999" y="3490835"/>
                  <a:pt x="1162418" y="3494416"/>
                  <a:pt x="1158040" y="3498396"/>
                </a:cubicBezTo>
                <a:cubicBezTo>
                  <a:pt x="1166795" y="3509140"/>
                  <a:pt x="1175152" y="3519089"/>
                  <a:pt x="1184305" y="3529834"/>
                </a:cubicBezTo>
                <a:cubicBezTo>
                  <a:pt x="1178336" y="3535007"/>
                  <a:pt x="1173560" y="3538987"/>
                  <a:pt x="1167989" y="3543762"/>
                </a:cubicBezTo>
                <a:cubicBezTo>
                  <a:pt x="1158438" y="3533415"/>
                  <a:pt x="1149683" y="3523865"/>
                  <a:pt x="1139734" y="3513120"/>
                </a:cubicBezTo>
                <a:cubicBezTo>
                  <a:pt x="1135357" y="3517497"/>
                  <a:pt x="1131377" y="3521079"/>
                  <a:pt x="1127000" y="3525059"/>
                </a:cubicBezTo>
                <a:cubicBezTo>
                  <a:pt x="1136551" y="3536599"/>
                  <a:pt x="1144908" y="3546548"/>
                  <a:pt x="1154061" y="3557293"/>
                </a:cubicBezTo>
                <a:cubicBezTo>
                  <a:pt x="1147693" y="3562466"/>
                  <a:pt x="1142918" y="3566446"/>
                  <a:pt x="1137745" y="3571221"/>
                </a:cubicBezTo>
                <a:cubicBezTo>
                  <a:pt x="1127000" y="3560078"/>
                  <a:pt x="1117847" y="3550528"/>
                  <a:pt x="1107898" y="3539783"/>
                </a:cubicBezTo>
                <a:cubicBezTo>
                  <a:pt x="1103123" y="3544558"/>
                  <a:pt x="1099541" y="3547742"/>
                  <a:pt x="1095562" y="3551721"/>
                </a:cubicBezTo>
                <a:cubicBezTo>
                  <a:pt x="1105113" y="3562864"/>
                  <a:pt x="1113868" y="3573609"/>
                  <a:pt x="1123418" y="3584751"/>
                </a:cubicBezTo>
                <a:cubicBezTo>
                  <a:pt x="1117449" y="3589527"/>
                  <a:pt x="1112674" y="3593904"/>
                  <a:pt x="1107102" y="3598680"/>
                </a:cubicBezTo>
                <a:cubicBezTo>
                  <a:pt x="1096756" y="3587537"/>
                  <a:pt x="1086807" y="3577190"/>
                  <a:pt x="1075266" y="3564854"/>
                </a:cubicBezTo>
                <a:cubicBezTo>
                  <a:pt x="1070491" y="3569629"/>
                  <a:pt x="1066909" y="3573211"/>
                  <a:pt x="1062930" y="3576792"/>
                </a:cubicBezTo>
                <a:cubicBezTo>
                  <a:pt x="1074072" y="3589925"/>
                  <a:pt x="1083225" y="3600272"/>
                  <a:pt x="1093174" y="3612210"/>
                </a:cubicBezTo>
                <a:cubicBezTo>
                  <a:pt x="1087603" y="3617383"/>
                  <a:pt x="1082429" y="3621761"/>
                  <a:pt x="1076858" y="3626536"/>
                </a:cubicBezTo>
                <a:cubicBezTo>
                  <a:pt x="1066113" y="3614598"/>
                  <a:pt x="1056164" y="3603853"/>
                  <a:pt x="1044624" y="3591118"/>
                </a:cubicBezTo>
                <a:cubicBezTo>
                  <a:pt x="1027114" y="3618179"/>
                  <a:pt x="1059746" y="3623751"/>
                  <a:pt x="1061338" y="3641658"/>
                </a:cubicBezTo>
                <a:cubicBezTo>
                  <a:pt x="1056960" y="3645240"/>
                  <a:pt x="1052185" y="3649220"/>
                  <a:pt x="1046614" y="3653995"/>
                </a:cubicBezTo>
                <a:cubicBezTo>
                  <a:pt x="1035471" y="3642454"/>
                  <a:pt x="1025522" y="3631312"/>
                  <a:pt x="1014379" y="3619373"/>
                </a:cubicBezTo>
                <a:cubicBezTo>
                  <a:pt x="1009206" y="3623751"/>
                  <a:pt x="1005625" y="3626536"/>
                  <a:pt x="1001247" y="3630118"/>
                </a:cubicBezTo>
                <a:cubicBezTo>
                  <a:pt x="1013186" y="3644444"/>
                  <a:pt x="1022737" y="3655985"/>
                  <a:pt x="1032685" y="3667923"/>
                </a:cubicBezTo>
                <a:cubicBezTo>
                  <a:pt x="1026318" y="3673097"/>
                  <a:pt x="1021543" y="3677076"/>
                  <a:pt x="1016767" y="3681056"/>
                </a:cubicBezTo>
                <a:cubicBezTo>
                  <a:pt x="982145" y="3648026"/>
                  <a:pt x="982145" y="3648026"/>
                  <a:pt x="972197" y="3659566"/>
                </a:cubicBezTo>
                <a:cubicBezTo>
                  <a:pt x="981747" y="3671107"/>
                  <a:pt x="991696" y="3682647"/>
                  <a:pt x="1002043" y="3694984"/>
                </a:cubicBezTo>
                <a:cubicBezTo>
                  <a:pt x="996472" y="3700157"/>
                  <a:pt x="991696" y="3704535"/>
                  <a:pt x="986125" y="3709708"/>
                </a:cubicBezTo>
                <a:cubicBezTo>
                  <a:pt x="974584" y="3697372"/>
                  <a:pt x="963840" y="3685831"/>
                  <a:pt x="952697" y="3673495"/>
                </a:cubicBezTo>
                <a:cubicBezTo>
                  <a:pt x="947922" y="3677872"/>
                  <a:pt x="944340" y="3681056"/>
                  <a:pt x="939565" y="3685035"/>
                </a:cubicBezTo>
                <a:cubicBezTo>
                  <a:pt x="950309" y="3697770"/>
                  <a:pt x="960258" y="3709708"/>
                  <a:pt x="971401" y="3722841"/>
                </a:cubicBezTo>
                <a:cubicBezTo>
                  <a:pt x="965033" y="3728810"/>
                  <a:pt x="959064" y="3733585"/>
                  <a:pt x="952299" y="3739953"/>
                </a:cubicBezTo>
                <a:cubicBezTo>
                  <a:pt x="938769" y="3724432"/>
                  <a:pt x="926034" y="3710106"/>
                  <a:pt x="912504" y="3694984"/>
                </a:cubicBezTo>
                <a:cubicBezTo>
                  <a:pt x="898973" y="3706127"/>
                  <a:pt x="886239" y="3716473"/>
                  <a:pt x="871117" y="3729208"/>
                </a:cubicBezTo>
                <a:cubicBezTo>
                  <a:pt x="831720" y="3677474"/>
                  <a:pt x="793516" y="3626934"/>
                  <a:pt x="754915" y="3575996"/>
                </a:cubicBezTo>
                <a:cubicBezTo>
                  <a:pt x="771231" y="3564456"/>
                  <a:pt x="784363" y="3554905"/>
                  <a:pt x="798690" y="3544956"/>
                </a:cubicBezTo>
                <a:cubicBezTo>
                  <a:pt x="786751" y="3525854"/>
                  <a:pt x="775210" y="3508344"/>
                  <a:pt x="763272" y="3489243"/>
                </a:cubicBezTo>
                <a:cubicBezTo>
                  <a:pt x="828934" y="3447856"/>
                  <a:pt x="893402" y="3407663"/>
                  <a:pt x="957472" y="3367470"/>
                </a:cubicBezTo>
                <a:cubicBezTo>
                  <a:pt x="932003" y="3322501"/>
                  <a:pt x="907728" y="3279522"/>
                  <a:pt x="882259" y="3233758"/>
                </a:cubicBezTo>
                <a:cubicBezTo>
                  <a:pt x="872709" y="3254053"/>
                  <a:pt x="861566" y="3265992"/>
                  <a:pt x="844852" y="3259227"/>
                </a:cubicBezTo>
                <a:cubicBezTo>
                  <a:pt x="832913" y="3268777"/>
                  <a:pt x="822965" y="3276339"/>
                  <a:pt x="810628" y="3286287"/>
                </a:cubicBezTo>
                <a:cubicBezTo>
                  <a:pt x="788741" y="3238135"/>
                  <a:pt x="768445" y="3193565"/>
                  <a:pt x="748150" y="3148596"/>
                </a:cubicBezTo>
                <a:cubicBezTo>
                  <a:pt x="731038" y="3155361"/>
                  <a:pt x="715518" y="3161330"/>
                  <a:pt x="698804" y="3167698"/>
                </a:cubicBezTo>
                <a:cubicBezTo>
                  <a:pt x="692834" y="3152973"/>
                  <a:pt x="687263" y="3139841"/>
                  <a:pt x="681294" y="3125515"/>
                </a:cubicBezTo>
                <a:cubicBezTo>
                  <a:pt x="667763" y="3129892"/>
                  <a:pt x="655427" y="3133872"/>
                  <a:pt x="640703" y="3139045"/>
                </a:cubicBezTo>
                <a:cubicBezTo>
                  <a:pt x="625978" y="3091689"/>
                  <a:pt x="611652" y="3045924"/>
                  <a:pt x="596928" y="2999364"/>
                </a:cubicBezTo>
                <a:cubicBezTo>
                  <a:pt x="612050" y="2994986"/>
                  <a:pt x="624387" y="2991007"/>
                  <a:pt x="637917" y="2987027"/>
                </a:cubicBezTo>
                <a:cubicBezTo>
                  <a:pt x="634335" y="2970313"/>
                  <a:pt x="630754" y="2955191"/>
                  <a:pt x="626774" y="2938079"/>
                </a:cubicBezTo>
                <a:cubicBezTo>
                  <a:pt x="673335" y="2926937"/>
                  <a:pt x="718701" y="2915794"/>
                  <a:pt x="765262" y="2904651"/>
                </a:cubicBezTo>
                <a:cubicBezTo>
                  <a:pt x="744966" y="2811929"/>
                  <a:pt x="729844" y="2720400"/>
                  <a:pt x="726262" y="2625289"/>
                </a:cubicBezTo>
                <a:cubicBezTo>
                  <a:pt x="780384" y="2622504"/>
                  <a:pt x="831720" y="2619718"/>
                  <a:pt x="883851" y="2616932"/>
                </a:cubicBezTo>
                <a:cubicBezTo>
                  <a:pt x="883851" y="2563607"/>
                  <a:pt x="883851" y="2512271"/>
                  <a:pt x="883851" y="2459343"/>
                </a:cubicBezTo>
                <a:cubicBezTo>
                  <a:pt x="872311" y="2458547"/>
                  <a:pt x="861168" y="2457353"/>
                  <a:pt x="850025" y="2456558"/>
                </a:cubicBezTo>
                <a:cubicBezTo>
                  <a:pt x="814608" y="2454170"/>
                  <a:pt x="778792" y="2452180"/>
                  <a:pt x="742976" y="2450190"/>
                </a:cubicBezTo>
                <a:cubicBezTo>
                  <a:pt x="732232" y="2449792"/>
                  <a:pt x="723875" y="2447405"/>
                  <a:pt x="731834" y="2433476"/>
                </a:cubicBezTo>
                <a:cubicBezTo>
                  <a:pt x="783169" y="2437058"/>
                  <a:pt x="834505" y="2440639"/>
                  <a:pt x="887035" y="2444221"/>
                </a:cubicBezTo>
                <a:cubicBezTo>
                  <a:pt x="888229" y="2428303"/>
                  <a:pt x="889025" y="2415170"/>
                  <a:pt x="889821" y="2399252"/>
                </a:cubicBezTo>
                <a:cubicBezTo>
                  <a:pt x="838087" y="2388110"/>
                  <a:pt x="787149" y="2377763"/>
                  <a:pt x="734619" y="2366620"/>
                </a:cubicBezTo>
                <a:cubicBezTo>
                  <a:pt x="743772" y="2349111"/>
                  <a:pt x="730640" y="2342743"/>
                  <a:pt x="718303" y="2333590"/>
                </a:cubicBezTo>
                <a:cubicBezTo>
                  <a:pt x="685273" y="2309315"/>
                  <a:pt x="650253" y="2286234"/>
                  <a:pt x="622397" y="2256786"/>
                </a:cubicBezTo>
                <a:cubicBezTo>
                  <a:pt x="495848" y="2123870"/>
                  <a:pt x="460828" y="1962699"/>
                  <a:pt x="485103" y="1785610"/>
                </a:cubicBezTo>
                <a:cubicBezTo>
                  <a:pt x="499828" y="1678163"/>
                  <a:pt x="541215" y="1580267"/>
                  <a:pt x="602101" y="1490728"/>
                </a:cubicBezTo>
                <a:cubicBezTo>
                  <a:pt x="607673" y="1482769"/>
                  <a:pt x="616030" y="1474412"/>
                  <a:pt x="596530" y="1469637"/>
                </a:cubicBezTo>
                <a:cubicBezTo>
                  <a:pt x="571061" y="1512218"/>
                  <a:pt x="545194" y="1555594"/>
                  <a:pt x="518929" y="1599767"/>
                </a:cubicBezTo>
                <a:cubicBezTo>
                  <a:pt x="495848" y="1587430"/>
                  <a:pt x="473563" y="1575492"/>
                  <a:pt x="449288" y="1562359"/>
                </a:cubicBezTo>
                <a:cubicBezTo>
                  <a:pt x="478338" y="1513809"/>
                  <a:pt x="505797" y="1467249"/>
                  <a:pt x="534052" y="1419893"/>
                </a:cubicBezTo>
                <a:cubicBezTo>
                  <a:pt x="528082" y="1415515"/>
                  <a:pt x="522909" y="1411934"/>
                  <a:pt x="515746" y="1406760"/>
                </a:cubicBezTo>
                <a:cubicBezTo>
                  <a:pt x="487889" y="1452923"/>
                  <a:pt x="460828" y="1498289"/>
                  <a:pt x="432972" y="1544452"/>
                </a:cubicBezTo>
                <a:cubicBezTo>
                  <a:pt x="410288" y="1532115"/>
                  <a:pt x="388401" y="1520177"/>
                  <a:pt x="365320" y="1507442"/>
                </a:cubicBezTo>
                <a:cubicBezTo>
                  <a:pt x="395564" y="1457300"/>
                  <a:pt x="424217" y="1408750"/>
                  <a:pt x="453665" y="1359802"/>
                </a:cubicBezTo>
                <a:cubicBezTo>
                  <a:pt x="447298" y="1355424"/>
                  <a:pt x="441727" y="1351047"/>
                  <a:pt x="433768" y="1345476"/>
                </a:cubicBezTo>
                <a:cubicBezTo>
                  <a:pt x="404717" y="1393628"/>
                  <a:pt x="376463" y="1440586"/>
                  <a:pt x="347412" y="1488340"/>
                </a:cubicBezTo>
                <a:cubicBezTo>
                  <a:pt x="325525" y="1476402"/>
                  <a:pt x="304035" y="1464463"/>
                  <a:pt x="281750" y="1452127"/>
                </a:cubicBezTo>
                <a:cubicBezTo>
                  <a:pt x="313188" y="1399995"/>
                  <a:pt x="343035" y="1350251"/>
                  <a:pt x="373677" y="1299313"/>
                </a:cubicBezTo>
                <a:cubicBezTo>
                  <a:pt x="366912" y="1294538"/>
                  <a:pt x="360544" y="1289364"/>
                  <a:pt x="352585" y="1283395"/>
                </a:cubicBezTo>
                <a:cubicBezTo>
                  <a:pt x="321545" y="1334333"/>
                  <a:pt x="292097" y="1382883"/>
                  <a:pt x="262250" y="1431831"/>
                </a:cubicBezTo>
                <a:cubicBezTo>
                  <a:pt x="240761" y="1419893"/>
                  <a:pt x="220863" y="1408750"/>
                  <a:pt x="198578" y="1396413"/>
                </a:cubicBezTo>
                <a:cubicBezTo>
                  <a:pt x="231210" y="1342690"/>
                  <a:pt x="263046" y="1290558"/>
                  <a:pt x="294882" y="1237631"/>
                </a:cubicBezTo>
                <a:cubicBezTo>
                  <a:pt x="286923" y="1231263"/>
                  <a:pt x="279760" y="1225692"/>
                  <a:pt x="272597" y="1220121"/>
                </a:cubicBezTo>
                <a:cubicBezTo>
                  <a:pt x="246332" y="1251161"/>
                  <a:pt x="222853" y="1282201"/>
                  <a:pt x="196190" y="1310854"/>
                </a:cubicBezTo>
                <a:cubicBezTo>
                  <a:pt x="177089" y="1331149"/>
                  <a:pt x="155201" y="1350251"/>
                  <a:pt x="132120" y="1366567"/>
                </a:cubicBezTo>
                <a:cubicBezTo>
                  <a:pt x="111029" y="1381291"/>
                  <a:pt x="97100" y="1371740"/>
                  <a:pt x="97100" y="1345476"/>
                </a:cubicBezTo>
                <a:cubicBezTo>
                  <a:pt x="97100" y="1340700"/>
                  <a:pt x="97896" y="1335925"/>
                  <a:pt x="98692" y="1331547"/>
                </a:cubicBezTo>
                <a:cubicBezTo>
                  <a:pt x="108243" y="1273048"/>
                  <a:pt x="132120" y="1220121"/>
                  <a:pt x="158385" y="1167989"/>
                </a:cubicBezTo>
                <a:cubicBezTo>
                  <a:pt x="170721" y="1142918"/>
                  <a:pt x="170721" y="1137347"/>
                  <a:pt x="149630" y="1118245"/>
                </a:cubicBezTo>
                <a:cubicBezTo>
                  <a:pt x="121375" y="1092776"/>
                  <a:pt x="92325" y="1068899"/>
                  <a:pt x="63672" y="1044226"/>
                </a:cubicBezTo>
                <a:cubicBezTo>
                  <a:pt x="42581" y="1026318"/>
                  <a:pt x="21091" y="1008808"/>
                  <a:pt x="0" y="990900"/>
                </a:cubicBezTo>
                <a:cubicBezTo>
                  <a:pt x="0" y="988115"/>
                  <a:pt x="0" y="985727"/>
                  <a:pt x="0" y="982941"/>
                </a:cubicBezTo>
                <a:cubicBezTo>
                  <a:pt x="4377" y="979360"/>
                  <a:pt x="8755" y="975778"/>
                  <a:pt x="14724" y="971401"/>
                </a:cubicBezTo>
                <a:cubicBezTo>
                  <a:pt x="80784" y="1007216"/>
                  <a:pt x="147640" y="1043828"/>
                  <a:pt x="215292" y="1080440"/>
                </a:cubicBezTo>
                <a:cubicBezTo>
                  <a:pt x="220067" y="1074868"/>
                  <a:pt x="223649" y="1069297"/>
                  <a:pt x="228424" y="1064919"/>
                </a:cubicBezTo>
                <a:cubicBezTo>
                  <a:pt x="266628" y="1027512"/>
                  <a:pt x="304433" y="989707"/>
                  <a:pt x="344228" y="953891"/>
                </a:cubicBezTo>
                <a:cubicBezTo>
                  <a:pt x="355371" y="943544"/>
                  <a:pt x="371687" y="938371"/>
                  <a:pt x="386809" y="933993"/>
                </a:cubicBezTo>
                <a:cubicBezTo>
                  <a:pt x="403125" y="929616"/>
                  <a:pt x="413074" y="937973"/>
                  <a:pt x="411880" y="955085"/>
                </a:cubicBezTo>
                <a:cubicBezTo>
                  <a:pt x="410686" y="968615"/>
                  <a:pt x="408697" y="983339"/>
                  <a:pt x="402727" y="995278"/>
                </a:cubicBezTo>
                <a:cubicBezTo>
                  <a:pt x="380840" y="1039053"/>
                  <a:pt x="356963" y="1082031"/>
                  <a:pt x="333882" y="1125010"/>
                </a:cubicBezTo>
                <a:cubicBezTo>
                  <a:pt x="330300" y="1130979"/>
                  <a:pt x="326719" y="1136949"/>
                  <a:pt x="322739" y="1143714"/>
                </a:cubicBezTo>
                <a:cubicBezTo>
                  <a:pt x="332290" y="1149285"/>
                  <a:pt x="340249" y="1154061"/>
                  <a:pt x="347810" y="1158438"/>
                </a:cubicBezTo>
                <a:cubicBezTo>
                  <a:pt x="386013" y="1109888"/>
                  <a:pt x="423023" y="1062930"/>
                  <a:pt x="460828" y="1014777"/>
                </a:cubicBezTo>
                <a:cubicBezTo>
                  <a:pt x="480726" y="1031889"/>
                  <a:pt x="498634" y="1046614"/>
                  <a:pt x="516144" y="1061736"/>
                </a:cubicBezTo>
                <a:cubicBezTo>
                  <a:pt x="480726" y="1107102"/>
                  <a:pt x="446104" y="1151275"/>
                  <a:pt x="410686" y="1196642"/>
                </a:cubicBezTo>
                <a:cubicBezTo>
                  <a:pt x="420237" y="1202213"/>
                  <a:pt x="426604" y="1206192"/>
                  <a:pt x="433370" y="1210172"/>
                </a:cubicBezTo>
                <a:cubicBezTo>
                  <a:pt x="469981" y="1164010"/>
                  <a:pt x="505797" y="1118643"/>
                  <a:pt x="542408" y="1072481"/>
                </a:cubicBezTo>
                <a:cubicBezTo>
                  <a:pt x="562704" y="1089990"/>
                  <a:pt x="581010" y="1105511"/>
                  <a:pt x="599316" y="1121031"/>
                </a:cubicBezTo>
                <a:cubicBezTo>
                  <a:pt x="565092" y="1164805"/>
                  <a:pt x="531664" y="1206590"/>
                  <a:pt x="497838" y="1249967"/>
                </a:cubicBezTo>
                <a:cubicBezTo>
                  <a:pt x="505797" y="1255141"/>
                  <a:pt x="511766" y="1259120"/>
                  <a:pt x="518133" y="1263100"/>
                </a:cubicBezTo>
                <a:cubicBezTo>
                  <a:pt x="553551" y="1218927"/>
                  <a:pt x="588173" y="1175550"/>
                  <a:pt x="623591" y="1130979"/>
                </a:cubicBezTo>
                <a:cubicBezTo>
                  <a:pt x="644284" y="1148887"/>
                  <a:pt x="662988" y="1165203"/>
                  <a:pt x="681692" y="1181121"/>
                </a:cubicBezTo>
                <a:cubicBezTo>
                  <a:pt x="647866" y="1223702"/>
                  <a:pt x="616030" y="1263895"/>
                  <a:pt x="583398" y="1305283"/>
                </a:cubicBezTo>
                <a:cubicBezTo>
                  <a:pt x="591755" y="1310456"/>
                  <a:pt x="597326" y="1313639"/>
                  <a:pt x="602499" y="1316823"/>
                </a:cubicBezTo>
                <a:cubicBezTo>
                  <a:pt x="636723" y="1274242"/>
                  <a:pt x="670151" y="1232457"/>
                  <a:pt x="704375" y="1190274"/>
                </a:cubicBezTo>
                <a:cubicBezTo>
                  <a:pt x="725864" y="1208978"/>
                  <a:pt x="744966" y="1225294"/>
                  <a:pt x="764068" y="1242008"/>
                </a:cubicBezTo>
                <a:cubicBezTo>
                  <a:pt x="732232" y="1281803"/>
                  <a:pt x="701589" y="1320405"/>
                  <a:pt x="669355" y="1360598"/>
                </a:cubicBezTo>
                <a:cubicBezTo>
                  <a:pt x="676916" y="1364975"/>
                  <a:pt x="682090" y="1367761"/>
                  <a:pt x="686865" y="1370547"/>
                </a:cubicBezTo>
                <a:cubicBezTo>
                  <a:pt x="719895" y="1329955"/>
                  <a:pt x="751731" y="1290558"/>
                  <a:pt x="784363" y="1250365"/>
                </a:cubicBezTo>
                <a:cubicBezTo>
                  <a:pt x="795904" y="1260314"/>
                  <a:pt x="804659" y="1268671"/>
                  <a:pt x="814210" y="1275436"/>
                </a:cubicBezTo>
                <a:cubicBezTo>
                  <a:pt x="817791" y="1278222"/>
                  <a:pt x="825352" y="1279416"/>
                  <a:pt x="829332" y="1277426"/>
                </a:cubicBezTo>
                <a:cubicBezTo>
                  <a:pt x="852015" y="1267079"/>
                  <a:pt x="874300" y="1255141"/>
                  <a:pt x="898178" y="1243202"/>
                </a:cubicBezTo>
                <a:cubicBezTo>
                  <a:pt x="858382" y="1205397"/>
                  <a:pt x="819383" y="1167989"/>
                  <a:pt x="777598" y="1127796"/>
                </a:cubicBezTo>
                <a:cubicBezTo>
                  <a:pt x="795904" y="1111878"/>
                  <a:pt x="812220" y="1097552"/>
                  <a:pt x="829730" y="1082031"/>
                </a:cubicBezTo>
                <a:cubicBezTo>
                  <a:pt x="821771" y="1074868"/>
                  <a:pt x="816995" y="1070093"/>
                  <a:pt x="809434" y="1062930"/>
                </a:cubicBezTo>
                <a:cubicBezTo>
                  <a:pt x="792720" y="1080042"/>
                  <a:pt x="777200" y="1096358"/>
                  <a:pt x="762078" y="1111878"/>
                </a:cubicBezTo>
                <a:cubicBezTo>
                  <a:pt x="754915" y="1105909"/>
                  <a:pt x="747752" y="1100337"/>
                  <a:pt x="740589" y="1094368"/>
                </a:cubicBezTo>
                <a:cubicBezTo>
                  <a:pt x="750935" y="1083623"/>
                  <a:pt x="758894" y="1074868"/>
                  <a:pt x="768843" y="1064124"/>
                </a:cubicBezTo>
                <a:cubicBezTo>
                  <a:pt x="758098" y="1055767"/>
                  <a:pt x="749343" y="1049001"/>
                  <a:pt x="734619" y="1037859"/>
                </a:cubicBezTo>
                <a:cubicBezTo>
                  <a:pt x="750139" y="1027910"/>
                  <a:pt x="761680" y="1020349"/>
                  <a:pt x="778394" y="1009604"/>
                </a:cubicBezTo>
                <a:cubicBezTo>
                  <a:pt x="750537" y="985329"/>
                  <a:pt x="728650" y="966227"/>
                  <a:pt x="703181" y="943544"/>
                </a:cubicBezTo>
                <a:cubicBezTo>
                  <a:pt x="717507" y="932401"/>
                  <a:pt x="728650" y="923249"/>
                  <a:pt x="740589" y="914096"/>
                </a:cubicBezTo>
                <a:cubicBezTo>
                  <a:pt x="712732" y="884647"/>
                  <a:pt x="687263" y="857189"/>
                  <a:pt x="660998" y="828934"/>
                </a:cubicBezTo>
                <a:cubicBezTo>
                  <a:pt x="684477" y="807445"/>
                  <a:pt x="705967" y="787945"/>
                  <a:pt x="728650" y="767649"/>
                </a:cubicBezTo>
                <a:cubicBezTo>
                  <a:pt x="754119" y="797098"/>
                  <a:pt x="778792" y="825750"/>
                  <a:pt x="804261" y="854801"/>
                </a:cubicBezTo>
                <a:cubicBezTo>
                  <a:pt x="816597" y="844852"/>
                  <a:pt x="827740" y="835699"/>
                  <a:pt x="839281" y="826148"/>
                </a:cubicBezTo>
                <a:cubicBezTo>
                  <a:pt x="859178" y="849627"/>
                  <a:pt x="877882" y="871913"/>
                  <a:pt x="896984" y="894994"/>
                </a:cubicBezTo>
                <a:cubicBezTo>
                  <a:pt x="907330" y="887433"/>
                  <a:pt x="916483" y="880270"/>
                  <a:pt x="926034" y="873107"/>
                </a:cubicBezTo>
                <a:cubicBezTo>
                  <a:pt x="934789" y="883453"/>
                  <a:pt x="941952" y="891810"/>
                  <a:pt x="949911" y="900963"/>
                </a:cubicBezTo>
                <a:cubicBezTo>
                  <a:pt x="959860" y="893800"/>
                  <a:pt x="968615" y="887035"/>
                  <a:pt x="978962" y="879872"/>
                </a:cubicBezTo>
                <a:cubicBezTo>
                  <a:pt x="1050593" y="972197"/>
                  <a:pt x="1121429" y="1063726"/>
                  <a:pt x="1193458" y="1156051"/>
                </a:cubicBezTo>
                <a:cubicBezTo>
                  <a:pt x="1212162" y="1142122"/>
                  <a:pt x="1229274" y="1128990"/>
                  <a:pt x="1247181" y="1115857"/>
                </a:cubicBezTo>
                <a:cubicBezTo>
                  <a:pt x="1241212" y="1106704"/>
                  <a:pt x="1236039" y="1098348"/>
                  <a:pt x="1230070" y="1089195"/>
                </a:cubicBezTo>
                <a:cubicBezTo>
                  <a:pt x="1242406" y="1080042"/>
                  <a:pt x="1253947" y="1071685"/>
                  <a:pt x="1266283" y="1062532"/>
                </a:cubicBezTo>
                <a:cubicBezTo>
                  <a:pt x="1256732" y="1047410"/>
                  <a:pt x="1247977" y="1033879"/>
                  <a:pt x="1237631" y="1017961"/>
                </a:cubicBezTo>
                <a:cubicBezTo>
                  <a:pt x="1279814" y="992094"/>
                  <a:pt x="1320405" y="966625"/>
                  <a:pt x="1362587" y="940758"/>
                </a:cubicBezTo>
                <a:cubicBezTo>
                  <a:pt x="1372138" y="957074"/>
                  <a:pt x="1380495" y="971003"/>
                  <a:pt x="1389250" y="986125"/>
                </a:cubicBezTo>
                <a:cubicBezTo>
                  <a:pt x="1403974" y="978166"/>
                  <a:pt x="1418301" y="970605"/>
                  <a:pt x="1433821" y="962646"/>
                </a:cubicBezTo>
                <a:cubicBezTo>
                  <a:pt x="1456902" y="1005227"/>
                  <a:pt x="1478789" y="1046614"/>
                  <a:pt x="1501473" y="1089195"/>
                </a:cubicBezTo>
                <a:cubicBezTo>
                  <a:pt x="1520972" y="1078848"/>
                  <a:pt x="1539278" y="1069695"/>
                  <a:pt x="1558380" y="1059746"/>
                </a:cubicBezTo>
                <a:cubicBezTo>
                  <a:pt x="1488340" y="913698"/>
                  <a:pt x="1419097" y="768843"/>
                  <a:pt x="1348659" y="622397"/>
                </a:cubicBezTo>
                <a:cubicBezTo>
                  <a:pt x="1361394" y="616428"/>
                  <a:pt x="1372536" y="610856"/>
                  <a:pt x="1384077" y="605683"/>
                </a:cubicBezTo>
                <a:cubicBezTo>
                  <a:pt x="1386465" y="604887"/>
                  <a:pt x="1392036" y="604489"/>
                  <a:pt x="1392832" y="605683"/>
                </a:cubicBezTo>
                <a:cubicBezTo>
                  <a:pt x="1399597" y="617621"/>
                  <a:pt x="1407556" y="609662"/>
                  <a:pt x="1414719" y="606877"/>
                </a:cubicBezTo>
                <a:cubicBezTo>
                  <a:pt x="1496697" y="576632"/>
                  <a:pt x="1578675" y="546388"/>
                  <a:pt x="1660653" y="516144"/>
                </a:cubicBezTo>
                <a:cubicBezTo>
                  <a:pt x="1665827" y="514154"/>
                  <a:pt x="1674980" y="512960"/>
                  <a:pt x="1674980" y="510572"/>
                </a:cubicBezTo>
                <a:cubicBezTo>
                  <a:pt x="1677367" y="483512"/>
                  <a:pt x="1700051" y="495450"/>
                  <a:pt x="1713979" y="485899"/>
                </a:cubicBezTo>
                <a:cubicBezTo>
                  <a:pt x="1745417" y="601703"/>
                  <a:pt x="1776059" y="714722"/>
                  <a:pt x="1806702" y="828536"/>
                </a:cubicBezTo>
                <a:cubicBezTo>
                  <a:pt x="1816253" y="825352"/>
                  <a:pt x="1822620" y="823363"/>
                  <a:pt x="1829783" y="820975"/>
                </a:cubicBezTo>
                <a:cubicBezTo>
                  <a:pt x="1825803" y="803465"/>
                  <a:pt x="1822222" y="787547"/>
                  <a:pt x="1818242" y="769241"/>
                </a:cubicBezTo>
                <a:cubicBezTo>
                  <a:pt x="1881915" y="756905"/>
                  <a:pt x="1943199" y="744568"/>
                  <a:pt x="2005678" y="732232"/>
                </a:cubicBezTo>
                <a:cubicBezTo>
                  <a:pt x="2009259" y="752129"/>
                  <a:pt x="2012045" y="767649"/>
                  <a:pt x="2014831" y="784761"/>
                </a:cubicBezTo>
                <a:cubicBezTo>
                  <a:pt x="2036718" y="782374"/>
                  <a:pt x="2057411" y="779986"/>
                  <a:pt x="2080095" y="777598"/>
                </a:cubicBezTo>
                <a:cubicBezTo>
                  <a:pt x="2091237" y="881862"/>
                  <a:pt x="2102380" y="984533"/>
                  <a:pt x="2113125" y="1086807"/>
                </a:cubicBezTo>
                <a:cubicBezTo>
                  <a:pt x="2130635" y="1091582"/>
                  <a:pt x="2131829" y="1082827"/>
                  <a:pt x="2130635" y="1070093"/>
                </a:cubicBezTo>
                <a:cubicBezTo>
                  <a:pt x="2119492" y="951901"/>
                  <a:pt x="2108747" y="833709"/>
                  <a:pt x="2097605" y="715518"/>
                </a:cubicBezTo>
                <a:cubicBezTo>
                  <a:pt x="2079697" y="522909"/>
                  <a:pt x="2061789" y="329902"/>
                  <a:pt x="2043881" y="137293"/>
                </a:cubicBezTo>
                <a:cubicBezTo>
                  <a:pt x="2043483" y="130528"/>
                  <a:pt x="2043881" y="123365"/>
                  <a:pt x="2043881" y="116600"/>
                </a:cubicBezTo>
                <a:cubicBezTo>
                  <a:pt x="2053830" y="115008"/>
                  <a:pt x="2062187" y="113416"/>
                  <a:pt x="2070942" y="111824"/>
                </a:cubicBezTo>
                <a:cubicBezTo>
                  <a:pt x="2069350" y="87947"/>
                  <a:pt x="2067758" y="66060"/>
                  <a:pt x="2066166" y="42979"/>
                </a:cubicBezTo>
                <a:cubicBezTo>
                  <a:pt x="2077309" y="41387"/>
                  <a:pt x="2086064" y="39795"/>
                  <a:pt x="2095615" y="38203"/>
                </a:cubicBezTo>
                <a:cubicBezTo>
                  <a:pt x="2095615" y="27459"/>
                  <a:pt x="2095615" y="17510"/>
                  <a:pt x="2095615" y="7163"/>
                </a:cubicBezTo>
                <a:cubicBezTo>
                  <a:pt x="2122676" y="4775"/>
                  <a:pt x="2148940" y="2388"/>
                  <a:pt x="2175205" y="0"/>
                </a:cubicBezTo>
                <a:close/>
              </a:path>
            </a:pathLst>
          </a:custGeom>
          <a:solidFill>
            <a:schemeClr val="accent1"/>
          </a:solidFill>
          <a:ln w="39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4CFEB52-2320-4F1C-B307-962BF0438AAB}"/>
              </a:ext>
            </a:extLst>
          </p:cNvPr>
          <p:cNvGrpSpPr/>
          <p:nvPr/>
        </p:nvGrpSpPr>
        <p:grpSpPr>
          <a:xfrm>
            <a:off x="1975496" y="1997837"/>
            <a:ext cx="2697460" cy="2696074"/>
            <a:chOff x="4574848" y="1897856"/>
            <a:chExt cx="3028217" cy="3026664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0116E20-8F11-4309-8D12-7F4741BC1EAF}"/>
                </a:ext>
              </a:extLst>
            </p:cNvPr>
            <p:cNvSpPr/>
            <p:nvPr/>
          </p:nvSpPr>
          <p:spPr>
            <a:xfrm>
              <a:off x="4575624" y="1897856"/>
              <a:ext cx="3026664" cy="3026664"/>
            </a:xfrm>
            <a:custGeom>
              <a:avLst/>
              <a:gdLst>
                <a:gd name="connsiteX0" fmla="*/ 3057049 w 3057525"/>
                <a:gd name="connsiteY0" fmla="*/ 1532096 h 3057525"/>
                <a:gd name="connsiteX1" fmla="*/ 1532096 w 3057525"/>
                <a:gd name="connsiteY1" fmla="*/ 3057049 h 3057525"/>
                <a:gd name="connsiteX2" fmla="*/ 7144 w 3057525"/>
                <a:gd name="connsiteY2" fmla="*/ 1532096 h 3057525"/>
                <a:gd name="connsiteX3" fmla="*/ 1532096 w 3057525"/>
                <a:gd name="connsiteY3" fmla="*/ 7144 h 3057525"/>
                <a:gd name="connsiteX4" fmla="*/ 3057049 w 3057525"/>
                <a:gd name="connsiteY4" fmla="*/ 1532096 h 305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7525" h="3057525">
                  <a:moveTo>
                    <a:pt x="3057049" y="1532096"/>
                  </a:moveTo>
                  <a:cubicBezTo>
                    <a:pt x="3057049" y="2374304"/>
                    <a:pt x="2374304" y="3057049"/>
                    <a:pt x="1532096" y="3057049"/>
                  </a:cubicBezTo>
                  <a:cubicBezTo>
                    <a:pt x="689888" y="3057049"/>
                    <a:pt x="7144" y="2374304"/>
                    <a:pt x="7144" y="1532096"/>
                  </a:cubicBezTo>
                  <a:cubicBezTo>
                    <a:pt x="7144" y="689888"/>
                    <a:pt x="689888" y="7144"/>
                    <a:pt x="1532096" y="7144"/>
                  </a:cubicBezTo>
                  <a:cubicBezTo>
                    <a:pt x="2374304" y="7144"/>
                    <a:pt x="3057049" y="689888"/>
                    <a:pt x="3057049" y="153209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9F5F6BD-971A-43CF-AC53-18F0950ADA83}"/>
                </a:ext>
              </a:extLst>
            </p:cNvPr>
            <p:cNvSpPr/>
            <p:nvPr/>
          </p:nvSpPr>
          <p:spPr>
            <a:xfrm>
              <a:off x="4574848" y="1907000"/>
              <a:ext cx="3028217" cy="2962327"/>
            </a:xfrm>
            <a:custGeom>
              <a:avLst/>
              <a:gdLst>
                <a:gd name="connsiteX0" fmla="*/ 2863236 w 3028217"/>
                <a:gd name="connsiteY0" fmla="*/ 2049564 h 2962327"/>
                <a:gd name="connsiteX1" fmla="*/ 2844662 w 3028217"/>
                <a:gd name="connsiteY1" fmla="*/ 2065518 h 2962327"/>
                <a:gd name="connsiteX2" fmla="*/ 2847519 w 3028217"/>
                <a:gd name="connsiteY2" fmla="*/ 2116953 h 2962327"/>
                <a:gd name="connsiteX3" fmla="*/ 2887525 w 3028217"/>
                <a:gd name="connsiteY3" fmla="*/ 2084568 h 2962327"/>
                <a:gd name="connsiteX4" fmla="*/ 2890382 w 3028217"/>
                <a:gd name="connsiteY4" fmla="*/ 2078853 h 2962327"/>
                <a:gd name="connsiteX5" fmla="*/ 2890382 w 3028217"/>
                <a:gd name="connsiteY5" fmla="*/ 2057898 h 2962327"/>
                <a:gd name="connsiteX6" fmla="*/ 2863236 w 3028217"/>
                <a:gd name="connsiteY6" fmla="*/ 2049564 h 2962327"/>
                <a:gd name="connsiteX7" fmla="*/ 2453184 w 3028217"/>
                <a:gd name="connsiteY7" fmla="*/ 1703568 h 2962327"/>
                <a:gd name="connsiteX8" fmla="*/ 2444611 w 3028217"/>
                <a:gd name="connsiteY8" fmla="*/ 1714046 h 2962327"/>
                <a:gd name="connsiteX9" fmla="*/ 2467471 w 3028217"/>
                <a:gd name="connsiteY9" fmla="*/ 1740716 h 2962327"/>
                <a:gd name="connsiteX10" fmla="*/ 2482711 w 3028217"/>
                <a:gd name="connsiteY10" fmla="*/ 1728333 h 2962327"/>
                <a:gd name="connsiteX11" fmla="*/ 2453184 w 3028217"/>
                <a:gd name="connsiteY11" fmla="*/ 1703568 h 2962327"/>
                <a:gd name="connsiteX12" fmla="*/ 802501 w 3028217"/>
                <a:gd name="connsiteY12" fmla="*/ 1583553 h 2962327"/>
                <a:gd name="connsiteX13" fmla="*/ 812026 w 3028217"/>
                <a:gd name="connsiteY13" fmla="*/ 1589268 h 2962327"/>
                <a:gd name="connsiteX14" fmla="*/ 802501 w 3028217"/>
                <a:gd name="connsiteY14" fmla="*/ 1599745 h 2962327"/>
                <a:gd name="connsiteX15" fmla="*/ 792024 w 3028217"/>
                <a:gd name="connsiteY15" fmla="*/ 1594030 h 2962327"/>
                <a:gd name="connsiteX16" fmla="*/ 802501 w 3028217"/>
                <a:gd name="connsiteY16" fmla="*/ 1583553 h 2962327"/>
                <a:gd name="connsiteX17" fmla="*/ 573901 w 3028217"/>
                <a:gd name="connsiteY17" fmla="*/ 1577838 h 2962327"/>
                <a:gd name="connsiteX18" fmla="*/ 592951 w 3028217"/>
                <a:gd name="connsiteY18" fmla="*/ 1589268 h 2962327"/>
                <a:gd name="connsiteX19" fmla="*/ 584379 w 3028217"/>
                <a:gd name="connsiteY19" fmla="*/ 1596888 h 2962327"/>
                <a:gd name="connsiteX20" fmla="*/ 565329 w 3028217"/>
                <a:gd name="connsiteY20" fmla="*/ 1587363 h 2962327"/>
                <a:gd name="connsiteX21" fmla="*/ 573901 w 3028217"/>
                <a:gd name="connsiteY21" fmla="*/ 1577838 h 2962327"/>
                <a:gd name="connsiteX22" fmla="*/ 698678 w 3028217"/>
                <a:gd name="connsiteY22" fmla="*/ 1550216 h 2962327"/>
                <a:gd name="connsiteX23" fmla="*/ 763448 w 3028217"/>
                <a:gd name="connsiteY23" fmla="*/ 1592126 h 2962327"/>
                <a:gd name="connsiteX24" fmla="*/ 678676 w 3028217"/>
                <a:gd name="connsiteY24" fmla="*/ 1592126 h 2962327"/>
                <a:gd name="connsiteX25" fmla="*/ 698678 w 3028217"/>
                <a:gd name="connsiteY25" fmla="*/ 1550216 h 2962327"/>
                <a:gd name="connsiteX26" fmla="*/ 492939 w 3028217"/>
                <a:gd name="connsiteY26" fmla="*/ 1460681 h 2962327"/>
                <a:gd name="connsiteX27" fmla="*/ 562471 w 3028217"/>
                <a:gd name="connsiteY27" fmla="*/ 1479731 h 2962327"/>
                <a:gd name="connsiteX28" fmla="*/ 646291 w 3028217"/>
                <a:gd name="connsiteY28" fmla="*/ 1537833 h 2962327"/>
                <a:gd name="connsiteX29" fmla="*/ 577711 w 3028217"/>
                <a:gd name="connsiteY29" fmla="*/ 1525451 h 2962327"/>
                <a:gd name="connsiteX30" fmla="*/ 527229 w 3028217"/>
                <a:gd name="connsiteY30" fmla="*/ 1487351 h 2962327"/>
                <a:gd name="connsiteX31" fmla="*/ 525032 w 3028217"/>
                <a:gd name="connsiteY31" fmla="*/ 1486533 h 2962327"/>
                <a:gd name="connsiteX32" fmla="*/ 527229 w 3028217"/>
                <a:gd name="connsiteY32" fmla="*/ 1488303 h 2962327"/>
                <a:gd name="connsiteX33" fmla="*/ 451029 w 3028217"/>
                <a:gd name="connsiteY33" fmla="*/ 1494971 h 2962327"/>
                <a:gd name="connsiteX34" fmla="*/ 492939 w 3028217"/>
                <a:gd name="connsiteY34" fmla="*/ 1460681 h 2962327"/>
                <a:gd name="connsiteX35" fmla="*/ 592475 w 3028217"/>
                <a:gd name="connsiteY35" fmla="*/ 1413889 h 2962327"/>
                <a:gd name="connsiteX36" fmla="*/ 596761 w 3028217"/>
                <a:gd name="connsiteY36" fmla="*/ 1414961 h 2962327"/>
                <a:gd name="connsiteX37" fmla="*/ 595809 w 3028217"/>
                <a:gd name="connsiteY37" fmla="*/ 1447346 h 2962327"/>
                <a:gd name="connsiteX38" fmla="*/ 588189 w 3028217"/>
                <a:gd name="connsiteY38" fmla="*/ 1414961 h 2962327"/>
                <a:gd name="connsiteX39" fmla="*/ 592475 w 3028217"/>
                <a:gd name="connsiteY39" fmla="*/ 1413889 h 2962327"/>
                <a:gd name="connsiteX40" fmla="*/ 2633206 w 3028217"/>
                <a:gd name="connsiteY40" fmla="*/ 1174931 h 2962327"/>
                <a:gd name="connsiteX41" fmla="*/ 2673211 w 3028217"/>
                <a:gd name="connsiteY41" fmla="*/ 1180646 h 2962327"/>
                <a:gd name="connsiteX42" fmla="*/ 2633206 w 3028217"/>
                <a:gd name="connsiteY42" fmla="*/ 1174931 h 2962327"/>
                <a:gd name="connsiteX43" fmla="*/ 2477948 w 3028217"/>
                <a:gd name="connsiteY43" fmla="*/ 1095873 h 2962327"/>
                <a:gd name="connsiteX44" fmla="*/ 2484616 w 3028217"/>
                <a:gd name="connsiteY44" fmla="*/ 1110160 h 2962327"/>
                <a:gd name="connsiteX45" fmla="*/ 2464613 w 3028217"/>
                <a:gd name="connsiteY45" fmla="*/ 1135878 h 2962327"/>
                <a:gd name="connsiteX46" fmla="*/ 2444611 w 3028217"/>
                <a:gd name="connsiteY46" fmla="*/ 1144450 h 2962327"/>
                <a:gd name="connsiteX47" fmla="*/ 2415083 w 3028217"/>
                <a:gd name="connsiteY47" fmla="*/ 1119685 h 2962327"/>
                <a:gd name="connsiteX48" fmla="*/ 2446516 w 3028217"/>
                <a:gd name="connsiteY48" fmla="*/ 1114923 h 2962327"/>
                <a:gd name="connsiteX49" fmla="*/ 2477948 w 3028217"/>
                <a:gd name="connsiteY49" fmla="*/ 1095873 h 2962327"/>
                <a:gd name="connsiteX50" fmla="*/ 2344599 w 3028217"/>
                <a:gd name="connsiteY50" fmla="*/ 1039676 h 2962327"/>
                <a:gd name="connsiteX51" fmla="*/ 2355076 w 3028217"/>
                <a:gd name="connsiteY51" fmla="*/ 1066346 h 2962327"/>
                <a:gd name="connsiteX52" fmla="*/ 2341741 w 3028217"/>
                <a:gd name="connsiteY52" fmla="*/ 1092063 h 2962327"/>
                <a:gd name="connsiteX53" fmla="*/ 2328406 w 3028217"/>
                <a:gd name="connsiteY53" fmla="*/ 1065393 h 2962327"/>
                <a:gd name="connsiteX54" fmla="*/ 2344599 w 3028217"/>
                <a:gd name="connsiteY54" fmla="*/ 1039676 h 2962327"/>
                <a:gd name="connsiteX55" fmla="*/ 699631 w 3028217"/>
                <a:gd name="connsiteY55" fmla="*/ 966334 h 2962327"/>
                <a:gd name="connsiteX56" fmla="*/ 616764 w 3028217"/>
                <a:gd name="connsiteY56" fmla="*/ 992051 h 2962327"/>
                <a:gd name="connsiteX57" fmla="*/ 699631 w 3028217"/>
                <a:gd name="connsiteY57" fmla="*/ 966334 h 2962327"/>
                <a:gd name="connsiteX58" fmla="*/ 2786559 w 3028217"/>
                <a:gd name="connsiteY58" fmla="*/ 938711 h 2962327"/>
                <a:gd name="connsiteX59" fmla="*/ 2814181 w 3028217"/>
                <a:gd name="connsiteY59" fmla="*/ 938711 h 2962327"/>
                <a:gd name="connsiteX60" fmla="*/ 2814181 w 3028217"/>
                <a:gd name="connsiteY60" fmla="*/ 945378 h 2962327"/>
                <a:gd name="connsiteX61" fmla="*/ 2786559 w 3028217"/>
                <a:gd name="connsiteY61" fmla="*/ 938711 h 2962327"/>
                <a:gd name="connsiteX62" fmla="*/ 737731 w 3028217"/>
                <a:gd name="connsiteY62" fmla="*/ 935019 h 2962327"/>
                <a:gd name="connsiteX63" fmla="*/ 702489 w 3028217"/>
                <a:gd name="connsiteY63" fmla="*/ 951093 h 2962327"/>
                <a:gd name="connsiteX64" fmla="*/ 770116 w 3028217"/>
                <a:gd name="connsiteY64" fmla="*/ 936805 h 2962327"/>
                <a:gd name="connsiteX65" fmla="*/ 737731 w 3028217"/>
                <a:gd name="connsiteY65" fmla="*/ 935019 h 2962327"/>
                <a:gd name="connsiteX66" fmla="*/ 619383 w 3028217"/>
                <a:gd name="connsiteY66" fmla="*/ 880251 h 2962327"/>
                <a:gd name="connsiteX67" fmla="*/ 608191 w 3028217"/>
                <a:gd name="connsiteY67" fmla="*/ 882513 h 2962327"/>
                <a:gd name="connsiteX68" fmla="*/ 541516 w 3028217"/>
                <a:gd name="connsiteY68" fmla="*/ 968238 h 2962327"/>
                <a:gd name="connsiteX69" fmla="*/ 558661 w 3028217"/>
                <a:gd name="connsiteY69" fmla="*/ 975858 h 2962327"/>
                <a:gd name="connsiteX70" fmla="*/ 578664 w 3028217"/>
                <a:gd name="connsiteY70" fmla="*/ 949188 h 2962327"/>
                <a:gd name="connsiteX71" fmla="*/ 623431 w 3028217"/>
                <a:gd name="connsiteY71" fmla="*/ 890133 h 2962327"/>
                <a:gd name="connsiteX72" fmla="*/ 619383 w 3028217"/>
                <a:gd name="connsiteY72" fmla="*/ 880251 h 2962327"/>
                <a:gd name="connsiteX73" fmla="*/ 659626 w 3028217"/>
                <a:gd name="connsiteY73" fmla="*/ 872036 h 2962327"/>
                <a:gd name="connsiteX74" fmla="*/ 647244 w 3028217"/>
                <a:gd name="connsiteY74" fmla="*/ 879656 h 2962327"/>
                <a:gd name="connsiteX75" fmla="*/ 657721 w 3028217"/>
                <a:gd name="connsiteY75" fmla="*/ 950141 h 2962327"/>
                <a:gd name="connsiteX76" fmla="*/ 683439 w 3028217"/>
                <a:gd name="connsiteY76" fmla="*/ 913946 h 2962327"/>
                <a:gd name="connsiteX77" fmla="*/ 711061 w 3028217"/>
                <a:gd name="connsiteY77" fmla="*/ 910136 h 2962327"/>
                <a:gd name="connsiteX78" fmla="*/ 709156 w 3028217"/>
                <a:gd name="connsiteY78" fmla="*/ 891086 h 2962327"/>
                <a:gd name="connsiteX79" fmla="*/ 659626 w 3028217"/>
                <a:gd name="connsiteY79" fmla="*/ 872036 h 2962327"/>
                <a:gd name="connsiteX80" fmla="*/ 620410 w 3028217"/>
                <a:gd name="connsiteY80" fmla="*/ 803828 h 2962327"/>
                <a:gd name="connsiteX81" fmla="*/ 603429 w 3028217"/>
                <a:gd name="connsiteY81" fmla="*/ 807266 h 2962327"/>
                <a:gd name="connsiteX82" fmla="*/ 532944 w 3028217"/>
                <a:gd name="connsiteY82" fmla="*/ 841556 h 2962327"/>
                <a:gd name="connsiteX83" fmla="*/ 541516 w 3028217"/>
                <a:gd name="connsiteY83" fmla="*/ 855843 h 2962327"/>
                <a:gd name="connsiteX84" fmla="*/ 602476 w 3028217"/>
                <a:gd name="connsiteY84" fmla="*/ 859653 h 2962327"/>
                <a:gd name="connsiteX85" fmla="*/ 652959 w 3028217"/>
                <a:gd name="connsiteY85" fmla="*/ 835841 h 2962327"/>
                <a:gd name="connsiteX86" fmla="*/ 620410 w 3028217"/>
                <a:gd name="connsiteY86" fmla="*/ 803828 h 2962327"/>
                <a:gd name="connsiteX87" fmla="*/ 2051228 w 3028217"/>
                <a:gd name="connsiteY87" fmla="*/ 690108 h 2962327"/>
                <a:gd name="connsiteX88" fmla="*/ 2074088 w 3028217"/>
                <a:gd name="connsiteY88" fmla="*/ 722493 h 2962327"/>
                <a:gd name="connsiteX89" fmla="*/ 2021701 w 3028217"/>
                <a:gd name="connsiteY89" fmla="*/ 782500 h 2962327"/>
                <a:gd name="connsiteX90" fmla="*/ 2000746 w 3028217"/>
                <a:gd name="connsiteY90" fmla="*/ 772023 h 2962327"/>
                <a:gd name="connsiteX91" fmla="*/ 2036941 w 3028217"/>
                <a:gd name="connsiteY91" fmla="*/ 698680 h 2962327"/>
                <a:gd name="connsiteX92" fmla="*/ 2051228 w 3028217"/>
                <a:gd name="connsiteY92" fmla="*/ 690108 h 2962327"/>
                <a:gd name="connsiteX93" fmla="*/ 2111236 w 3028217"/>
                <a:gd name="connsiteY93" fmla="*/ 608669 h 2962327"/>
                <a:gd name="connsiteX94" fmla="*/ 2113141 w 3028217"/>
                <a:gd name="connsiteY94" fmla="*/ 623433 h 2962327"/>
                <a:gd name="connsiteX95" fmla="*/ 2111236 w 3028217"/>
                <a:gd name="connsiteY95" fmla="*/ 626290 h 2962327"/>
                <a:gd name="connsiteX96" fmla="*/ 2159814 w 3028217"/>
                <a:gd name="connsiteY96" fmla="*/ 711063 h 2962327"/>
                <a:gd name="connsiteX97" fmla="*/ 2199819 w 3028217"/>
                <a:gd name="connsiteY97" fmla="*/ 758688 h 2962327"/>
                <a:gd name="connsiteX98" fmla="*/ 2176959 w 3028217"/>
                <a:gd name="connsiteY98" fmla="*/ 800598 h 2962327"/>
                <a:gd name="connsiteX99" fmla="*/ 2092186 w 3028217"/>
                <a:gd name="connsiteY99" fmla="*/ 814885 h 2962327"/>
                <a:gd name="connsiteX100" fmla="*/ 2092186 w 3028217"/>
                <a:gd name="connsiteY100" fmla="*/ 777738 h 2962327"/>
                <a:gd name="connsiteX101" fmla="*/ 2111236 w 3028217"/>
                <a:gd name="connsiteY101" fmla="*/ 740590 h 2962327"/>
                <a:gd name="connsiteX102" fmla="*/ 2110284 w 3028217"/>
                <a:gd name="connsiteY102" fmla="*/ 710110 h 2962327"/>
                <a:gd name="connsiteX103" fmla="*/ 2076946 w 3028217"/>
                <a:gd name="connsiteY103" fmla="*/ 669153 h 2962327"/>
                <a:gd name="connsiteX104" fmla="*/ 2097901 w 3028217"/>
                <a:gd name="connsiteY104" fmla="*/ 611050 h 2962327"/>
                <a:gd name="connsiteX105" fmla="*/ 2111236 w 3028217"/>
                <a:gd name="connsiteY105" fmla="*/ 608669 h 2962327"/>
                <a:gd name="connsiteX106" fmla="*/ 927279 w 3028217"/>
                <a:gd name="connsiteY106" fmla="*/ 479605 h 2962327"/>
                <a:gd name="connsiteX107" fmla="*/ 933946 w 3028217"/>
                <a:gd name="connsiteY107" fmla="*/ 486273 h 2962327"/>
                <a:gd name="connsiteX108" fmla="*/ 929184 w 3028217"/>
                <a:gd name="connsiteY108" fmla="*/ 493893 h 2962327"/>
                <a:gd name="connsiteX109" fmla="*/ 919659 w 3028217"/>
                <a:gd name="connsiteY109" fmla="*/ 488178 h 2962327"/>
                <a:gd name="connsiteX110" fmla="*/ 927279 w 3028217"/>
                <a:gd name="connsiteY110" fmla="*/ 479605 h 2962327"/>
                <a:gd name="connsiteX111" fmla="*/ 1938089 w 3028217"/>
                <a:gd name="connsiteY111" fmla="*/ 417931 h 2962327"/>
                <a:gd name="connsiteX112" fmla="*/ 1959789 w 3028217"/>
                <a:gd name="connsiteY112" fmla="*/ 441505 h 2962327"/>
                <a:gd name="connsiteX113" fmla="*/ 1940739 w 3028217"/>
                <a:gd name="connsiteY113" fmla="*/ 466270 h 2962327"/>
                <a:gd name="connsiteX114" fmla="*/ 1842631 w 3028217"/>
                <a:gd name="connsiteY114" fmla="*/ 480558 h 2962327"/>
                <a:gd name="connsiteX115" fmla="*/ 1832154 w 3028217"/>
                <a:gd name="connsiteY115" fmla="*/ 458650 h 2962327"/>
                <a:gd name="connsiteX116" fmla="*/ 1833106 w 3028217"/>
                <a:gd name="connsiteY116" fmla="*/ 431980 h 2962327"/>
                <a:gd name="connsiteX117" fmla="*/ 1845489 w 3028217"/>
                <a:gd name="connsiteY117" fmla="*/ 423408 h 2962327"/>
                <a:gd name="connsiteX118" fmla="*/ 1857871 w 3028217"/>
                <a:gd name="connsiteY118" fmla="*/ 432933 h 2962327"/>
                <a:gd name="connsiteX119" fmla="*/ 1926451 w 3028217"/>
                <a:gd name="connsiteY119" fmla="*/ 418645 h 2962327"/>
                <a:gd name="connsiteX120" fmla="*/ 1938089 w 3028217"/>
                <a:gd name="connsiteY120" fmla="*/ 417931 h 2962327"/>
                <a:gd name="connsiteX121" fmla="*/ 904419 w 3028217"/>
                <a:gd name="connsiteY121" fmla="*/ 389118 h 2962327"/>
                <a:gd name="connsiteX122" fmla="*/ 938709 w 3028217"/>
                <a:gd name="connsiteY122" fmla="*/ 433886 h 2962327"/>
                <a:gd name="connsiteX123" fmla="*/ 942519 w 3028217"/>
                <a:gd name="connsiteY123" fmla="*/ 446268 h 2962327"/>
                <a:gd name="connsiteX124" fmla="*/ 931089 w 3028217"/>
                <a:gd name="connsiteY124" fmla="*/ 449125 h 2962327"/>
                <a:gd name="connsiteX125" fmla="*/ 878701 w 3028217"/>
                <a:gd name="connsiteY125" fmla="*/ 449125 h 2962327"/>
                <a:gd name="connsiteX126" fmla="*/ 856794 w 3028217"/>
                <a:gd name="connsiteY126" fmla="*/ 443411 h 2962327"/>
                <a:gd name="connsiteX127" fmla="*/ 867271 w 3028217"/>
                <a:gd name="connsiteY127" fmla="*/ 412930 h 2962327"/>
                <a:gd name="connsiteX128" fmla="*/ 904419 w 3028217"/>
                <a:gd name="connsiteY128" fmla="*/ 389118 h 2962327"/>
                <a:gd name="connsiteX129" fmla="*/ 1062534 w 3028217"/>
                <a:gd name="connsiteY129" fmla="*/ 340541 h 2962327"/>
                <a:gd name="connsiteX130" fmla="*/ 1083489 w 3028217"/>
                <a:gd name="connsiteY130" fmla="*/ 353876 h 2962327"/>
                <a:gd name="connsiteX131" fmla="*/ 1053961 w 3028217"/>
                <a:gd name="connsiteY131" fmla="*/ 360543 h 2962327"/>
                <a:gd name="connsiteX132" fmla="*/ 1062534 w 3028217"/>
                <a:gd name="connsiteY132" fmla="*/ 340541 h 2962327"/>
                <a:gd name="connsiteX133" fmla="*/ 2471113 w 3028217"/>
                <a:gd name="connsiteY133" fmla="*/ 336025 h 2962327"/>
                <a:gd name="connsiteX134" fmla="*/ 2521763 w 3028217"/>
                <a:gd name="connsiteY134" fmla="*/ 370068 h 2962327"/>
                <a:gd name="connsiteX135" fmla="*/ 2848471 w 3028217"/>
                <a:gd name="connsiteY135" fmla="*/ 785358 h 2962327"/>
                <a:gd name="connsiteX136" fmla="*/ 2920861 w 3028217"/>
                <a:gd name="connsiteY136" fmla="*/ 940616 h 2962327"/>
                <a:gd name="connsiteX137" fmla="*/ 2926576 w 3028217"/>
                <a:gd name="connsiteY137" fmla="*/ 977763 h 2962327"/>
                <a:gd name="connsiteX138" fmla="*/ 2847518 w 3028217"/>
                <a:gd name="connsiteY138" fmla="*/ 938711 h 2962327"/>
                <a:gd name="connsiteX139" fmla="*/ 2864663 w 3028217"/>
                <a:gd name="connsiteY139" fmla="*/ 890133 h 2962327"/>
                <a:gd name="connsiteX140" fmla="*/ 2810371 w 3028217"/>
                <a:gd name="connsiteY140" fmla="*/ 908231 h 2962327"/>
                <a:gd name="connsiteX141" fmla="*/ 2757031 w 3028217"/>
                <a:gd name="connsiteY141" fmla="*/ 904421 h 2962327"/>
                <a:gd name="connsiteX142" fmla="*/ 2728456 w 3028217"/>
                <a:gd name="connsiteY142" fmla="*/ 916803 h 2962327"/>
                <a:gd name="connsiteX143" fmla="*/ 2707501 w 3028217"/>
                <a:gd name="connsiteY143" fmla="*/ 971096 h 2962327"/>
                <a:gd name="connsiteX144" fmla="*/ 2706548 w 3028217"/>
                <a:gd name="connsiteY144" fmla="*/ 1011101 h 2962327"/>
                <a:gd name="connsiteX145" fmla="*/ 2712263 w 3028217"/>
                <a:gd name="connsiteY145" fmla="*/ 1044438 h 2962327"/>
                <a:gd name="connsiteX146" fmla="*/ 2750438 w 3028217"/>
                <a:gd name="connsiteY146" fmla="*/ 1026892 h 2962327"/>
                <a:gd name="connsiteX147" fmla="*/ 2757317 w 3028217"/>
                <a:gd name="connsiteY147" fmla="*/ 1029909 h 2962327"/>
                <a:gd name="connsiteX148" fmla="*/ 2760842 w 3028217"/>
                <a:gd name="connsiteY148" fmla="*/ 1028246 h 2962327"/>
                <a:gd name="connsiteX149" fmla="*/ 2785607 w 3028217"/>
                <a:gd name="connsiteY149" fmla="*/ 1010148 h 2962327"/>
                <a:gd name="connsiteX150" fmla="*/ 2804538 w 3028217"/>
                <a:gd name="connsiteY150" fmla="*/ 1006457 h 2962327"/>
                <a:gd name="connsiteX151" fmla="*/ 2822755 w 3028217"/>
                <a:gd name="connsiteY151" fmla="*/ 1009196 h 2962327"/>
                <a:gd name="connsiteX152" fmla="*/ 2938959 w 3028217"/>
                <a:gd name="connsiteY152" fmla="*/ 1031103 h 2962327"/>
                <a:gd name="connsiteX153" fmla="*/ 2959915 w 3028217"/>
                <a:gd name="connsiteY153" fmla="*/ 1058726 h 2962327"/>
                <a:gd name="connsiteX154" fmla="*/ 3021827 w 3028217"/>
                <a:gd name="connsiteY154" fmla="*/ 1368288 h 2962327"/>
                <a:gd name="connsiteX155" fmla="*/ 3027542 w 3028217"/>
                <a:gd name="connsiteY155" fmla="*/ 1562598 h 2962327"/>
                <a:gd name="connsiteX156" fmla="*/ 3020874 w 3028217"/>
                <a:gd name="connsiteY156" fmla="*/ 1594983 h 2962327"/>
                <a:gd name="connsiteX157" fmla="*/ 2958009 w 3028217"/>
                <a:gd name="connsiteY157" fmla="*/ 1512116 h 2962327"/>
                <a:gd name="connsiteX158" fmla="*/ 2918005 w 3028217"/>
                <a:gd name="connsiteY158" fmla="*/ 1446393 h 2962327"/>
                <a:gd name="connsiteX159" fmla="*/ 2860855 w 3028217"/>
                <a:gd name="connsiteY159" fmla="*/ 1371146 h 2962327"/>
                <a:gd name="connsiteX160" fmla="*/ 2831327 w 3028217"/>
                <a:gd name="connsiteY160" fmla="*/ 1343523 h 2962327"/>
                <a:gd name="connsiteX161" fmla="*/ 2856092 w 3028217"/>
                <a:gd name="connsiteY161" fmla="*/ 1380671 h 2962327"/>
                <a:gd name="connsiteX162" fmla="*/ 2930387 w 3028217"/>
                <a:gd name="connsiteY162" fmla="*/ 1514021 h 2962327"/>
                <a:gd name="connsiteX163" fmla="*/ 2939912 w 3028217"/>
                <a:gd name="connsiteY163" fmla="*/ 1546406 h 2962327"/>
                <a:gd name="connsiteX164" fmla="*/ 2962772 w 3028217"/>
                <a:gd name="connsiteY164" fmla="*/ 1597841 h 2962327"/>
                <a:gd name="connsiteX165" fmla="*/ 2999919 w 3028217"/>
                <a:gd name="connsiteY165" fmla="*/ 1683566 h 2962327"/>
                <a:gd name="connsiteX166" fmla="*/ 3012302 w 3028217"/>
                <a:gd name="connsiteY166" fmla="*/ 1740716 h 2962327"/>
                <a:gd name="connsiteX167" fmla="*/ 2886572 w 3028217"/>
                <a:gd name="connsiteY167" fmla="*/ 2158864 h 2962327"/>
                <a:gd name="connsiteX168" fmla="*/ 2841805 w 3028217"/>
                <a:gd name="connsiteY168" fmla="*/ 2246493 h 2962327"/>
                <a:gd name="connsiteX169" fmla="*/ 2821802 w 3028217"/>
                <a:gd name="connsiteY169" fmla="*/ 2266496 h 2962327"/>
                <a:gd name="connsiteX170" fmla="*/ 2808467 w 3028217"/>
                <a:gd name="connsiteY170" fmla="*/ 2240778 h 2962327"/>
                <a:gd name="connsiteX171" fmla="*/ 2785607 w 3028217"/>
                <a:gd name="connsiteY171" fmla="*/ 2172198 h 2962327"/>
                <a:gd name="connsiteX172" fmla="*/ 2805609 w 3028217"/>
                <a:gd name="connsiteY172" fmla="*/ 2234111 h 2962327"/>
                <a:gd name="connsiteX173" fmla="*/ 2821802 w 3028217"/>
                <a:gd name="connsiteY173" fmla="*/ 2273164 h 2962327"/>
                <a:gd name="connsiteX174" fmla="*/ 2708455 w 3028217"/>
                <a:gd name="connsiteY174" fmla="*/ 2451281 h 2962327"/>
                <a:gd name="connsiteX175" fmla="*/ 2551292 w 3028217"/>
                <a:gd name="connsiteY175" fmla="*/ 2622731 h 2962327"/>
                <a:gd name="connsiteX176" fmla="*/ 2476997 w 3028217"/>
                <a:gd name="connsiteY176" fmla="*/ 2687501 h 2962327"/>
                <a:gd name="connsiteX177" fmla="*/ 2463662 w 3028217"/>
                <a:gd name="connsiteY177" fmla="*/ 2655116 h 2962327"/>
                <a:gd name="connsiteX178" fmla="*/ 2425562 w 3028217"/>
                <a:gd name="connsiteY178" fmla="*/ 2533196 h 2962327"/>
                <a:gd name="connsiteX179" fmla="*/ 2439849 w 3028217"/>
                <a:gd name="connsiteY179" fmla="*/ 2375081 h 2962327"/>
                <a:gd name="connsiteX180" fmla="*/ 2449374 w 3028217"/>
                <a:gd name="connsiteY180" fmla="*/ 2301739 h 2962327"/>
                <a:gd name="connsiteX181" fmla="*/ 2430324 w 3028217"/>
                <a:gd name="connsiteY181" fmla="*/ 2210298 h 2962327"/>
                <a:gd name="connsiteX182" fmla="*/ 2396987 w 3028217"/>
                <a:gd name="connsiteY182" fmla="*/ 2144576 h 2962327"/>
                <a:gd name="connsiteX183" fmla="*/ 2370317 w 3028217"/>
                <a:gd name="connsiteY183" fmla="*/ 2012178 h 2962327"/>
                <a:gd name="connsiteX184" fmla="*/ 2374127 w 3028217"/>
                <a:gd name="connsiteY184" fmla="*/ 1992176 h 2962327"/>
                <a:gd name="connsiteX185" fmla="*/ 2319834 w 3028217"/>
                <a:gd name="connsiteY185" fmla="*/ 1944551 h 2962327"/>
                <a:gd name="connsiteX186" fmla="*/ 2282687 w 3028217"/>
                <a:gd name="connsiteY186" fmla="*/ 1931216 h 2962327"/>
                <a:gd name="connsiteX187" fmla="*/ 2200772 w 3028217"/>
                <a:gd name="connsiteY187" fmla="*/ 1905498 h 2962327"/>
                <a:gd name="connsiteX188" fmla="*/ 2157909 w 3028217"/>
                <a:gd name="connsiteY188" fmla="*/ 1926453 h 2962327"/>
                <a:gd name="connsiteX189" fmla="*/ 2106474 w 3028217"/>
                <a:gd name="connsiteY189" fmla="*/ 1931216 h 2962327"/>
                <a:gd name="connsiteX190" fmla="*/ 2040752 w 3028217"/>
                <a:gd name="connsiteY190" fmla="*/ 1937883 h 2962327"/>
                <a:gd name="connsiteX191" fmla="*/ 1974077 w 3028217"/>
                <a:gd name="connsiteY191" fmla="*/ 1924548 h 2962327"/>
                <a:gd name="connsiteX192" fmla="*/ 1919784 w 3028217"/>
                <a:gd name="connsiteY192" fmla="*/ 1877876 h 2962327"/>
                <a:gd name="connsiteX193" fmla="*/ 1896924 w 3028217"/>
                <a:gd name="connsiteY193" fmla="*/ 1849301 h 2962327"/>
                <a:gd name="connsiteX194" fmla="*/ 1839774 w 3028217"/>
                <a:gd name="connsiteY194" fmla="*/ 1762623 h 2962327"/>
                <a:gd name="connsiteX195" fmla="*/ 1822629 w 3028217"/>
                <a:gd name="connsiteY195" fmla="*/ 1676898 h 2962327"/>
                <a:gd name="connsiteX196" fmla="*/ 1829297 w 3028217"/>
                <a:gd name="connsiteY196" fmla="*/ 1537833 h 2962327"/>
                <a:gd name="connsiteX197" fmla="*/ 1828344 w 3028217"/>
                <a:gd name="connsiteY197" fmla="*/ 1514973 h 2962327"/>
                <a:gd name="connsiteX198" fmla="*/ 1909307 w 3028217"/>
                <a:gd name="connsiteY198" fmla="*/ 1373051 h 2962327"/>
                <a:gd name="connsiteX199" fmla="*/ 1929309 w 3028217"/>
                <a:gd name="connsiteY199" fmla="*/ 1361621 h 2962327"/>
                <a:gd name="connsiteX200" fmla="*/ 1977887 w 3028217"/>
                <a:gd name="connsiteY200" fmla="*/ 1293041 h 2962327"/>
                <a:gd name="connsiteX201" fmla="*/ 2019797 w 3028217"/>
                <a:gd name="connsiteY201" fmla="*/ 1227318 h 2962327"/>
                <a:gd name="connsiteX202" fmla="*/ 2051229 w 3028217"/>
                <a:gd name="connsiteY202" fmla="*/ 1178741 h 2962327"/>
                <a:gd name="connsiteX203" fmla="*/ 2083614 w 3028217"/>
                <a:gd name="connsiteY203" fmla="*/ 1172073 h 2962327"/>
                <a:gd name="connsiteX204" fmla="*/ 2161719 w 3028217"/>
                <a:gd name="connsiteY204" fmla="*/ 1162548 h 2962327"/>
                <a:gd name="connsiteX205" fmla="*/ 2266494 w 3028217"/>
                <a:gd name="connsiteY205" fmla="*/ 1136831 h 2962327"/>
                <a:gd name="connsiteX206" fmla="*/ 2331264 w 3028217"/>
                <a:gd name="connsiteY206" fmla="*/ 1133021 h 2962327"/>
                <a:gd name="connsiteX207" fmla="*/ 2387462 w 3028217"/>
                <a:gd name="connsiteY207" fmla="*/ 1197791 h 2962327"/>
                <a:gd name="connsiteX208" fmla="*/ 2400797 w 3028217"/>
                <a:gd name="connsiteY208" fmla="*/ 1229223 h 2962327"/>
                <a:gd name="connsiteX209" fmla="*/ 2517002 w 3028217"/>
                <a:gd name="connsiteY209" fmla="*/ 1283516 h 2962327"/>
                <a:gd name="connsiteX210" fmla="*/ 2556055 w 3028217"/>
                <a:gd name="connsiteY210" fmla="*/ 1266371 h 2962327"/>
                <a:gd name="connsiteX211" fmla="*/ 2617967 w 3028217"/>
                <a:gd name="connsiteY211" fmla="*/ 1241606 h 2962327"/>
                <a:gd name="connsiteX212" fmla="*/ 2701787 w 3028217"/>
                <a:gd name="connsiteY212" fmla="*/ 1271133 h 2962327"/>
                <a:gd name="connsiteX213" fmla="*/ 2823707 w 3028217"/>
                <a:gd name="connsiteY213" fmla="*/ 1270181 h 2962327"/>
                <a:gd name="connsiteX214" fmla="*/ 2842757 w 3028217"/>
                <a:gd name="connsiteY214" fmla="*/ 1253988 h 2962327"/>
                <a:gd name="connsiteX215" fmla="*/ 2857997 w 3028217"/>
                <a:gd name="connsiteY215" fmla="*/ 1191123 h 2962327"/>
                <a:gd name="connsiteX216" fmla="*/ 2824659 w 3028217"/>
                <a:gd name="connsiteY216" fmla="*/ 1163501 h 2962327"/>
                <a:gd name="connsiteX217" fmla="*/ 2781797 w 3028217"/>
                <a:gd name="connsiteY217" fmla="*/ 1153023 h 2962327"/>
                <a:gd name="connsiteX218" fmla="*/ 2778142 w 3028217"/>
                <a:gd name="connsiteY218" fmla="*/ 1149005 h 2962327"/>
                <a:gd name="connsiteX219" fmla="*/ 2758579 w 3028217"/>
                <a:gd name="connsiteY219" fmla="*/ 1157637 h 2962327"/>
                <a:gd name="connsiteX220" fmla="*/ 2684641 w 3028217"/>
                <a:gd name="connsiteY220" fmla="*/ 1122543 h 2962327"/>
                <a:gd name="connsiteX221" fmla="*/ 2664638 w 3028217"/>
                <a:gd name="connsiteY221" fmla="*/ 1083491 h 2962327"/>
                <a:gd name="connsiteX222" fmla="*/ 2646541 w 3028217"/>
                <a:gd name="connsiteY222" fmla="*/ 1054916 h 2962327"/>
                <a:gd name="connsiteX223" fmla="*/ 2610346 w 3028217"/>
                <a:gd name="connsiteY223" fmla="*/ 1080633 h 2962327"/>
                <a:gd name="connsiteX224" fmla="*/ 2609202 w 3028217"/>
                <a:gd name="connsiteY224" fmla="*/ 1082346 h 2962327"/>
                <a:gd name="connsiteX225" fmla="*/ 2613204 w 3028217"/>
                <a:gd name="connsiteY225" fmla="*/ 1086348 h 2962327"/>
                <a:gd name="connsiteX226" fmla="*/ 2632254 w 3028217"/>
                <a:gd name="connsiteY226" fmla="*/ 1108255 h 2962327"/>
                <a:gd name="connsiteX227" fmla="*/ 2609394 w 3028217"/>
                <a:gd name="connsiteY227" fmla="*/ 1145403 h 2962327"/>
                <a:gd name="connsiteX228" fmla="*/ 2584629 w 3028217"/>
                <a:gd name="connsiteY228" fmla="*/ 1132068 h 2962327"/>
                <a:gd name="connsiteX229" fmla="*/ 2566055 w 3028217"/>
                <a:gd name="connsiteY229" fmla="*/ 1095397 h 2962327"/>
                <a:gd name="connsiteX230" fmla="*/ 2558490 w 3028217"/>
                <a:gd name="connsiteY230" fmla="*/ 1083461 h 2962327"/>
                <a:gd name="connsiteX231" fmla="*/ 2545576 w 3028217"/>
                <a:gd name="connsiteY231" fmla="*/ 1071108 h 2962327"/>
                <a:gd name="connsiteX232" fmla="*/ 2536051 w 3028217"/>
                <a:gd name="connsiteY232" fmla="*/ 1061583 h 2962327"/>
                <a:gd name="connsiteX233" fmla="*/ 2429371 w 3028217"/>
                <a:gd name="connsiteY233" fmla="*/ 952046 h 2962327"/>
                <a:gd name="connsiteX234" fmla="*/ 2417941 w 3028217"/>
                <a:gd name="connsiteY234" fmla="*/ 944426 h 2962327"/>
                <a:gd name="connsiteX235" fmla="*/ 2407463 w 3028217"/>
                <a:gd name="connsiteY235" fmla="*/ 947283 h 2962327"/>
                <a:gd name="connsiteX236" fmla="*/ 2469376 w 3028217"/>
                <a:gd name="connsiteY236" fmla="*/ 1014911 h 2962327"/>
                <a:gd name="connsiteX237" fmla="*/ 2509381 w 3028217"/>
                <a:gd name="connsiteY237" fmla="*/ 1044438 h 2962327"/>
                <a:gd name="connsiteX238" fmla="*/ 2504618 w 3028217"/>
                <a:gd name="connsiteY238" fmla="*/ 1057773 h 2962327"/>
                <a:gd name="connsiteX239" fmla="*/ 2488426 w 3028217"/>
                <a:gd name="connsiteY239" fmla="*/ 1077776 h 2962327"/>
                <a:gd name="connsiteX240" fmla="*/ 2476996 w 3028217"/>
                <a:gd name="connsiteY240" fmla="*/ 1084443 h 2962327"/>
                <a:gd name="connsiteX241" fmla="*/ 2356028 w 3028217"/>
                <a:gd name="connsiteY241" fmla="*/ 985383 h 2962327"/>
                <a:gd name="connsiteX242" fmla="*/ 2317928 w 3028217"/>
                <a:gd name="connsiteY242" fmla="*/ 978716 h 2962327"/>
                <a:gd name="connsiteX243" fmla="*/ 2295068 w 3028217"/>
                <a:gd name="connsiteY243" fmla="*/ 993003 h 2962327"/>
                <a:gd name="connsiteX244" fmla="*/ 2196008 w 3028217"/>
                <a:gd name="connsiteY244" fmla="*/ 1057773 h 2962327"/>
                <a:gd name="connsiteX245" fmla="*/ 2181721 w 3028217"/>
                <a:gd name="connsiteY245" fmla="*/ 1087301 h 2962327"/>
                <a:gd name="connsiteX246" fmla="*/ 2105521 w 3028217"/>
                <a:gd name="connsiteY246" fmla="*/ 1157786 h 2962327"/>
                <a:gd name="connsiteX247" fmla="*/ 2053133 w 3028217"/>
                <a:gd name="connsiteY247" fmla="*/ 1155881 h 2962327"/>
                <a:gd name="connsiteX248" fmla="*/ 2036941 w 3028217"/>
                <a:gd name="connsiteY248" fmla="*/ 1136831 h 2962327"/>
                <a:gd name="connsiteX249" fmla="*/ 2008366 w 3028217"/>
                <a:gd name="connsiteY249" fmla="*/ 1131116 h 2962327"/>
                <a:gd name="connsiteX250" fmla="*/ 2001698 w 3028217"/>
                <a:gd name="connsiteY250" fmla="*/ 1074918 h 2962327"/>
                <a:gd name="connsiteX251" fmla="*/ 2008366 w 3028217"/>
                <a:gd name="connsiteY251" fmla="*/ 1001576 h 2962327"/>
                <a:gd name="connsiteX252" fmla="*/ 2035988 w 3028217"/>
                <a:gd name="connsiteY252" fmla="*/ 977763 h 2962327"/>
                <a:gd name="connsiteX253" fmla="*/ 2107426 w 3028217"/>
                <a:gd name="connsiteY253" fmla="*/ 983478 h 2962327"/>
                <a:gd name="connsiteX254" fmla="*/ 2148383 w 3028217"/>
                <a:gd name="connsiteY254" fmla="*/ 975858 h 2962327"/>
                <a:gd name="connsiteX255" fmla="*/ 2150288 w 3028217"/>
                <a:gd name="connsiteY255" fmla="*/ 913946 h 2962327"/>
                <a:gd name="connsiteX256" fmla="*/ 2112188 w 3028217"/>
                <a:gd name="connsiteY256" fmla="*/ 876798 h 2962327"/>
                <a:gd name="connsiteX257" fmla="*/ 2096948 w 3028217"/>
                <a:gd name="connsiteY257" fmla="*/ 862511 h 2962327"/>
                <a:gd name="connsiteX258" fmla="*/ 2118856 w 3028217"/>
                <a:gd name="connsiteY258" fmla="*/ 849176 h 2962327"/>
                <a:gd name="connsiteX259" fmla="*/ 2206486 w 3028217"/>
                <a:gd name="connsiteY259" fmla="*/ 810123 h 2962327"/>
                <a:gd name="connsiteX260" fmla="*/ 2308403 w 3028217"/>
                <a:gd name="connsiteY260" fmla="*/ 731066 h 2962327"/>
                <a:gd name="connsiteX261" fmla="*/ 2321738 w 3028217"/>
                <a:gd name="connsiteY261" fmla="*/ 708206 h 2962327"/>
                <a:gd name="connsiteX262" fmla="*/ 2311261 w 3028217"/>
                <a:gd name="connsiteY262" fmla="*/ 679631 h 2962327"/>
                <a:gd name="connsiteX263" fmla="*/ 2320786 w 3028217"/>
                <a:gd name="connsiteY263" fmla="*/ 643436 h 2962327"/>
                <a:gd name="connsiteX264" fmla="*/ 2338883 w 3028217"/>
                <a:gd name="connsiteY264" fmla="*/ 638673 h 2962327"/>
                <a:gd name="connsiteX265" fmla="*/ 2343646 w 3028217"/>
                <a:gd name="connsiteY265" fmla="*/ 675821 h 2962327"/>
                <a:gd name="connsiteX266" fmla="*/ 2348408 w 3028217"/>
                <a:gd name="connsiteY266" fmla="*/ 699633 h 2962327"/>
                <a:gd name="connsiteX267" fmla="*/ 2376031 w 3028217"/>
                <a:gd name="connsiteY267" fmla="*/ 706301 h 2962327"/>
                <a:gd name="connsiteX268" fmla="*/ 2385556 w 3028217"/>
                <a:gd name="connsiteY268" fmla="*/ 704396 h 2962327"/>
                <a:gd name="connsiteX269" fmla="*/ 2454136 w 3028217"/>
                <a:gd name="connsiteY269" fmla="*/ 698681 h 2962327"/>
                <a:gd name="connsiteX270" fmla="*/ 2476996 w 3028217"/>
                <a:gd name="connsiteY270" fmla="*/ 692013 h 2962327"/>
                <a:gd name="connsiteX271" fmla="*/ 2517953 w 3028217"/>
                <a:gd name="connsiteY271" fmla="*/ 648198 h 2962327"/>
                <a:gd name="connsiteX272" fmla="*/ 2563673 w 3028217"/>
                <a:gd name="connsiteY272" fmla="*/ 626291 h 2962327"/>
                <a:gd name="connsiteX273" fmla="*/ 2554148 w 3028217"/>
                <a:gd name="connsiteY273" fmla="*/ 585333 h 2962327"/>
                <a:gd name="connsiteX274" fmla="*/ 2572928 w 3028217"/>
                <a:gd name="connsiteY274" fmla="*/ 573708 h 2962327"/>
                <a:gd name="connsiteX275" fmla="*/ 2586098 w 3028217"/>
                <a:gd name="connsiteY275" fmla="*/ 571735 h 2962327"/>
                <a:gd name="connsiteX276" fmla="*/ 2586726 w 3028217"/>
                <a:gd name="connsiteY276" fmla="*/ 571671 h 2962327"/>
                <a:gd name="connsiteX277" fmla="*/ 2624633 w 3028217"/>
                <a:gd name="connsiteY277" fmla="*/ 568188 h 2962327"/>
                <a:gd name="connsiteX278" fmla="*/ 2630348 w 3028217"/>
                <a:gd name="connsiteY278" fmla="*/ 563426 h 2962327"/>
                <a:gd name="connsiteX279" fmla="*/ 2633206 w 3028217"/>
                <a:gd name="connsiteY279" fmla="*/ 563426 h 2962327"/>
                <a:gd name="connsiteX280" fmla="*/ 2626538 w 3028217"/>
                <a:gd name="connsiteY280" fmla="*/ 563426 h 2962327"/>
                <a:gd name="connsiteX281" fmla="*/ 2593082 w 3028217"/>
                <a:gd name="connsiteY281" fmla="*/ 570689 h 2962327"/>
                <a:gd name="connsiteX282" fmla="*/ 2586098 w 3028217"/>
                <a:gd name="connsiteY282" fmla="*/ 571735 h 2962327"/>
                <a:gd name="connsiteX283" fmla="*/ 2574151 w 3028217"/>
                <a:gd name="connsiteY283" fmla="*/ 572951 h 2962327"/>
                <a:gd name="connsiteX284" fmla="*/ 2572928 w 3028217"/>
                <a:gd name="connsiteY284" fmla="*/ 573708 h 2962327"/>
                <a:gd name="connsiteX285" fmla="*/ 2558911 w 3028217"/>
                <a:gd name="connsiteY285" fmla="*/ 575808 h 2962327"/>
                <a:gd name="connsiteX286" fmla="*/ 2506523 w 3028217"/>
                <a:gd name="connsiteY286" fmla="*/ 541518 h 2962327"/>
                <a:gd name="connsiteX287" fmla="*/ 2512238 w 3028217"/>
                <a:gd name="connsiteY287" fmla="*/ 480558 h 2962327"/>
                <a:gd name="connsiteX288" fmla="*/ 2533193 w 3028217"/>
                <a:gd name="connsiteY288" fmla="*/ 458651 h 2962327"/>
                <a:gd name="connsiteX289" fmla="*/ 2534146 w 3028217"/>
                <a:gd name="connsiteY289" fmla="*/ 440553 h 2962327"/>
                <a:gd name="connsiteX290" fmla="*/ 2513191 w 3028217"/>
                <a:gd name="connsiteY290" fmla="*/ 445316 h 2962327"/>
                <a:gd name="connsiteX291" fmla="*/ 2464613 w 3028217"/>
                <a:gd name="connsiteY291" fmla="*/ 509133 h 2962327"/>
                <a:gd name="connsiteX292" fmla="*/ 2467471 w 3028217"/>
                <a:gd name="connsiteY292" fmla="*/ 551996 h 2962327"/>
                <a:gd name="connsiteX293" fmla="*/ 2468423 w 3028217"/>
                <a:gd name="connsiteY293" fmla="*/ 597716 h 2962327"/>
                <a:gd name="connsiteX294" fmla="*/ 2453183 w 3028217"/>
                <a:gd name="connsiteY294" fmla="*/ 638673 h 2962327"/>
                <a:gd name="connsiteX295" fmla="*/ 2423656 w 3028217"/>
                <a:gd name="connsiteY295" fmla="*/ 676773 h 2962327"/>
                <a:gd name="connsiteX296" fmla="*/ 2389366 w 3028217"/>
                <a:gd name="connsiteY296" fmla="*/ 683441 h 2962327"/>
                <a:gd name="connsiteX297" fmla="*/ 2383651 w 3028217"/>
                <a:gd name="connsiteY297" fmla="*/ 659628 h 2962327"/>
                <a:gd name="connsiteX298" fmla="*/ 2367458 w 3028217"/>
                <a:gd name="connsiteY298" fmla="*/ 627243 h 2962327"/>
                <a:gd name="connsiteX299" fmla="*/ 2308403 w 3028217"/>
                <a:gd name="connsiteY299" fmla="*/ 612003 h 2962327"/>
                <a:gd name="connsiteX300" fmla="*/ 2270303 w 3028217"/>
                <a:gd name="connsiteY300" fmla="*/ 571046 h 2962327"/>
                <a:gd name="connsiteX301" fmla="*/ 2260778 w 3028217"/>
                <a:gd name="connsiteY301" fmla="*/ 543423 h 2962327"/>
                <a:gd name="connsiteX302" fmla="*/ 2259826 w 3028217"/>
                <a:gd name="connsiteY302" fmla="*/ 522468 h 2962327"/>
                <a:gd name="connsiteX303" fmla="*/ 2390318 w 3028217"/>
                <a:gd name="connsiteY303" fmla="*/ 385308 h 2962327"/>
                <a:gd name="connsiteX304" fmla="*/ 2416988 w 3028217"/>
                <a:gd name="connsiteY304" fmla="*/ 357686 h 2962327"/>
                <a:gd name="connsiteX305" fmla="*/ 2417941 w 3028217"/>
                <a:gd name="connsiteY305" fmla="*/ 351971 h 2962327"/>
                <a:gd name="connsiteX306" fmla="*/ 2424608 w 3028217"/>
                <a:gd name="connsiteY306" fmla="*/ 353876 h 2962327"/>
                <a:gd name="connsiteX307" fmla="*/ 2452245 w 3028217"/>
                <a:gd name="connsiteY307" fmla="*/ 336582 h 2962327"/>
                <a:gd name="connsiteX308" fmla="*/ 2471113 w 3028217"/>
                <a:gd name="connsiteY308" fmla="*/ 336025 h 2962327"/>
                <a:gd name="connsiteX309" fmla="*/ 761544 w 3028217"/>
                <a:gd name="connsiteY309" fmla="*/ 194808 h 2962327"/>
                <a:gd name="connsiteX310" fmla="*/ 773926 w 3028217"/>
                <a:gd name="connsiteY310" fmla="*/ 216716 h 2962327"/>
                <a:gd name="connsiteX311" fmla="*/ 773926 w 3028217"/>
                <a:gd name="connsiteY311" fmla="*/ 278628 h 2962327"/>
                <a:gd name="connsiteX312" fmla="*/ 687249 w 3028217"/>
                <a:gd name="connsiteY312" fmla="*/ 293868 h 2962327"/>
                <a:gd name="connsiteX313" fmla="*/ 671056 w 3028217"/>
                <a:gd name="connsiteY313" fmla="*/ 292916 h 2962327"/>
                <a:gd name="connsiteX314" fmla="*/ 640576 w 3028217"/>
                <a:gd name="connsiteY314" fmla="*/ 298631 h 2962327"/>
                <a:gd name="connsiteX315" fmla="*/ 603429 w 3028217"/>
                <a:gd name="connsiteY315" fmla="*/ 291011 h 2962327"/>
                <a:gd name="connsiteX316" fmla="*/ 715824 w 3028217"/>
                <a:gd name="connsiteY316" fmla="*/ 211953 h 2962327"/>
                <a:gd name="connsiteX317" fmla="*/ 727254 w 3028217"/>
                <a:gd name="connsiteY317" fmla="*/ 215763 h 2962327"/>
                <a:gd name="connsiteX318" fmla="*/ 761544 w 3028217"/>
                <a:gd name="connsiteY318" fmla="*/ 194808 h 2962327"/>
                <a:gd name="connsiteX319" fmla="*/ 873343 w 3028217"/>
                <a:gd name="connsiteY319" fmla="*/ 184331 h 2962327"/>
                <a:gd name="connsiteX320" fmla="*/ 891083 w 3028217"/>
                <a:gd name="connsiteY320" fmla="*/ 191951 h 2962327"/>
                <a:gd name="connsiteX321" fmla="*/ 888226 w 3028217"/>
                <a:gd name="connsiteY321" fmla="*/ 217668 h 2962327"/>
                <a:gd name="connsiteX322" fmla="*/ 879241 w 3028217"/>
                <a:gd name="connsiteY322" fmla="*/ 234820 h 2962327"/>
                <a:gd name="connsiteX323" fmla="*/ 895370 w 3028217"/>
                <a:gd name="connsiteY323" fmla="*/ 235036 h 2962327"/>
                <a:gd name="connsiteX324" fmla="*/ 899656 w 3028217"/>
                <a:gd name="connsiteY324" fmla="*/ 266246 h 2962327"/>
                <a:gd name="connsiteX325" fmla="*/ 892988 w 3028217"/>
                <a:gd name="connsiteY325" fmla="*/ 303393 h 2962327"/>
                <a:gd name="connsiteX326" fmla="*/ 905371 w 3028217"/>
                <a:gd name="connsiteY326" fmla="*/ 303393 h 2962327"/>
                <a:gd name="connsiteX327" fmla="*/ 915848 w 3028217"/>
                <a:gd name="connsiteY327" fmla="*/ 337683 h 2962327"/>
                <a:gd name="connsiteX328" fmla="*/ 946328 w 3028217"/>
                <a:gd name="connsiteY328" fmla="*/ 324348 h 2962327"/>
                <a:gd name="connsiteX329" fmla="*/ 973409 w 3028217"/>
                <a:gd name="connsiteY329" fmla="*/ 303804 h 2962327"/>
                <a:gd name="connsiteX330" fmla="*/ 975260 w 3028217"/>
                <a:gd name="connsiteY330" fmla="*/ 292796 h 2962327"/>
                <a:gd name="connsiteX331" fmla="*/ 965378 w 3028217"/>
                <a:gd name="connsiteY331" fmla="*/ 281485 h 2962327"/>
                <a:gd name="connsiteX332" fmla="*/ 962521 w 3028217"/>
                <a:gd name="connsiteY332" fmla="*/ 233860 h 2962327"/>
                <a:gd name="connsiteX333" fmla="*/ 1013956 w 3028217"/>
                <a:gd name="connsiteY333" fmla="*/ 203380 h 2962327"/>
                <a:gd name="connsiteX334" fmla="*/ 1028243 w 3028217"/>
                <a:gd name="connsiteY334" fmla="*/ 200165 h 2962327"/>
                <a:gd name="connsiteX335" fmla="*/ 1042531 w 3028217"/>
                <a:gd name="connsiteY335" fmla="*/ 206238 h 2962327"/>
                <a:gd name="connsiteX336" fmla="*/ 1016813 w 3028217"/>
                <a:gd name="connsiteY336" fmla="*/ 234813 h 2962327"/>
                <a:gd name="connsiteX337" fmla="*/ 1075868 w 3028217"/>
                <a:gd name="connsiteY337" fmla="*/ 204333 h 2962327"/>
                <a:gd name="connsiteX338" fmla="*/ 1095871 w 3028217"/>
                <a:gd name="connsiteY338" fmla="*/ 204333 h 2962327"/>
                <a:gd name="connsiteX339" fmla="*/ 1099681 w 3028217"/>
                <a:gd name="connsiteY339" fmla="*/ 232908 h 2962327"/>
                <a:gd name="connsiteX340" fmla="*/ 1133971 w 3028217"/>
                <a:gd name="connsiteY340" fmla="*/ 231003 h 2962327"/>
                <a:gd name="connsiteX341" fmla="*/ 1151116 w 3028217"/>
                <a:gd name="connsiteY341" fmla="*/ 238623 h 2962327"/>
                <a:gd name="connsiteX342" fmla="*/ 1205408 w 3028217"/>
                <a:gd name="connsiteY342" fmla="*/ 287200 h 2962327"/>
                <a:gd name="connsiteX343" fmla="*/ 1198741 w 3028217"/>
                <a:gd name="connsiteY343" fmla="*/ 334825 h 2962327"/>
                <a:gd name="connsiteX344" fmla="*/ 1248271 w 3028217"/>
                <a:gd name="connsiteY344" fmla="*/ 377688 h 2962327"/>
                <a:gd name="connsiteX345" fmla="*/ 1246366 w 3028217"/>
                <a:gd name="connsiteY345" fmla="*/ 402453 h 2962327"/>
                <a:gd name="connsiteX346" fmla="*/ 1187311 w 3028217"/>
                <a:gd name="connsiteY346" fmla="*/ 402453 h 2962327"/>
                <a:gd name="connsiteX347" fmla="*/ 1171118 w 3028217"/>
                <a:gd name="connsiteY347" fmla="*/ 396738 h 2962327"/>
                <a:gd name="connsiteX348" fmla="*/ 1171118 w 3028217"/>
                <a:gd name="connsiteY348" fmla="*/ 431028 h 2962327"/>
                <a:gd name="connsiteX349" fmla="*/ 1151116 w 3028217"/>
                <a:gd name="connsiteY349" fmla="*/ 479605 h 2962327"/>
                <a:gd name="connsiteX350" fmla="*/ 1136828 w 3028217"/>
                <a:gd name="connsiteY350" fmla="*/ 476748 h 2962327"/>
                <a:gd name="connsiteX351" fmla="*/ 1136828 w 3028217"/>
                <a:gd name="connsiteY351" fmla="*/ 487225 h 2962327"/>
                <a:gd name="connsiteX352" fmla="*/ 1118731 w 3028217"/>
                <a:gd name="connsiteY352" fmla="*/ 497703 h 2962327"/>
                <a:gd name="connsiteX353" fmla="*/ 1066343 w 3028217"/>
                <a:gd name="connsiteY353" fmla="*/ 455793 h 2962327"/>
                <a:gd name="connsiteX354" fmla="*/ 1016813 w 3028217"/>
                <a:gd name="connsiteY354" fmla="*/ 433885 h 2962327"/>
                <a:gd name="connsiteX355" fmla="*/ 996811 w 3028217"/>
                <a:gd name="connsiteY355" fmla="*/ 428170 h 2962327"/>
                <a:gd name="connsiteX356" fmla="*/ 1013003 w 3028217"/>
                <a:gd name="connsiteY356" fmla="*/ 411978 h 2962327"/>
                <a:gd name="connsiteX357" fmla="*/ 1109206 w 3028217"/>
                <a:gd name="connsiteY357" fmla="*/ 369115 h 2962327"/>
                <a:gd name="connsiteX358" fmla="*/ 1089203 w 3028217"/>
                <a:gd name="connsiteY358" fmla="*/ 307203 h 2962327"/>
                <a:gd name="connsiteX359" fmla="*/ 1077773 w 3028217"/>
                <a:gd name="connsiteY359" fmla="*/ 291010 h 2962327"/>
                <a:gd name="connsiteX360" fmla="*/ 1016813 w 3028217"/>
                <a:gd name="connsiteY360" fmla="*/ 292915 h 2962327"/>
                <a:gd name="connsiteX361" fmla="*/ 1007169 w 3028217"/>
                <a:gd name="connsiteY361" fmla="*/ 296011 h 2962327"/>
                <a:gd name="connsiteX362" fmla="*/ 1007866 w 3028217"/>
                <a:gd name="connsiteY362" fmla="*/ 302667 h 2962327"/>
                <a:gd name="connsiteX363" fmla="*/ 1009193 w 3028217"/>
                <a:gd name="connsiteY363" fmla="*/ 303393 h 2962327"/>
                <a:gd name="connsiteX364" fmla="*/ 962521 w 3028217"/>
                <a:gd name="connsiteY364" fmla="*/ 370068 h 2962327"/>
                <a:gd name="connsiteX365" fmla="*/ 905371 w 3028217"/>
                <a:gd name="connsiteY365" fmla="*/ 371973 h 2962327"/>
                <a:gd name="connsiteX366" fmla="*/ 868223 w 3028217"/>
                <a:gd name="connsiteY366" fmla="*/ 410073 h 2962327"/>
                <a:gd name="connsiteX367" fmla="*/ 836791 w 3028217"/>
                <a:gd name="connsiteY367" fmla="*/ 426266 h 2962327"/>
                <a:gd name="connsiteX368" fmla="*/ 816788 w 3028217"/>
                <a:gd name="connsiteY368" fmla="*/ 424361 h 2962327"/>
                <a:gd name="connsiteX369" fmla="*/ 677723 w 3028217"/>
                <a:gd name="connsiteY369" fmla="*/ 507228 h 2962327"/>
                <a:gd name="connsiteX370" fmla="*/ 668198 w 3028217"/>
                <a:gd name="connsiteY370" fmla="*/ 553901 h 2962327"/>
                <a:gd name="connsiteX371" fmla="*/ 662483 w 3028217"/>
                <a:gd name="connsiteY371" fmla="*/ 586286 h 2962327"/>
                <a:gd name="connsiteX372" fmla="*/ 716776 w 3028217"/>
                <a:gd name="connsiteY372" fmla="*/ 612956 h 2962327"/>
                <a:gd name="connsiteX373" fmla="*/ 771068 w 3028217"/>
                <a:gd name="connsiteY373" fmla="*/ 645341 h 2962327"/>
                <a:gd name="connsiteX374" fmla="*/ 782498 w 3028217"/>
                <a:gd name="connsiteY374" fmla="*/ 667248 h 2962327"/>
                <a:gd name="connsiteX375" fmla="*/ 772973 w 3028217"/>
                <a:gd name="connsiteY375" fmla="*/ 726303 h 2962327"/>
                <a:gd name="connsiteX376" fmla="*/ 805358 w 3028217"/>
                <a:gd name="connsiteY376" fmla="*/ 736781 h 2962327"/>
                <a:gd name="connsiteX377" fmla="*/ 828218 w 3028217"/>
                <a:gd name="connsiteY377" fmla="*/ 689156 h 2962327"/>
                <a:gd name="connsiteX378" fmla="*/ 858698 w 3028217"/>
                <a:gd name="connsiteY378" fmla="*/ 652961 h 2962327"/>
                <a:gd name="connsiteX379" fmla="*/ 901561 w 3028217"/>
                <a:gd name="connsiteY379" fmla="*/ 573903 h 2962327"/>
                <a:gd name="connsiteX380" fmla="*/ 904418 w 3028217"/>
                <a:gd name="connsiteY380" fmla="*/ 561521 h 2962327"/>
                <a:gd name="connsiteX381" fmla="*/ 953948 w 3028217"/>
                <a:gd name="connsiteY381" fmla="*/ 491988 h 2962327"/>
                <a:gd name="connsiteX382" fmla="*/ 968236 w 3028217"/>
                <a:gd name="connsiteY382" fmla="*/ 478653 h 2962327"/>
                <a:gd name="connsiteX383" fmla="*/ 1049198 w 3028217"/>
                <a:gd name="connsiteY383" fmla="*/ 512943 h 2962327"/>
                <a:gd name="connsiteX384" fmla="*/ 1063486 w 3028217"/>
                <a:gd name="connsiteY384" fmla="*/ 539613 h 2962327"/>
                <a:gd name="connsiteX385" fmla="*/ 1067296 w 3028217"/>
                <a:gd name="connsiteY385" fmla="*/ 583428 h 2962327"/>
                <a:gd name="connsiteX386" fmla="*/ 1112063 w 3028217"/>
                <a:gd name="connsiteY386" fmla="*/ 568188 h 2962327"/>
                <a:gd name="connsiteX387" fmla="*/ 1146353 w 3028217"/>
                <a:gd name="connsiteY387" fmla="*/ 580571 h 2962327"/>
                <a:gd name="connsiteX388" fmla="*/ 1151116 w 3028217"/>
                <a:gd name="connsiteY388" fmla="*/ 616766 h 2962327"/>
                <a:gd name="connsiteX389" fmla="*/ 1193026 w 3028217"/>
                <a:gd name="connsiteY389" fmla="*/ 684393 h 2962327"/>
                <a:gd name="connsiteX390" fmla="*/ 1182905 w 3028217"/>
                <a:gd name="connsiteY390" fmla="*/ 697847 h 2962327"/>
                <a:gd name="connsiteX391" fmla="*/ 1179024 w 3028217"/>
                <a:gd name="connsiteY391" fmla="*/ 699159 h 2962327"/>
                <a:gd name="connsiteX392" fmla="*/ 1177845 w 3028217"/>
                <a:gd name="connsiteY392" fmla="*/ 699023 h 2962327"/>
                <a:gd name="connsiteX393" fmla="*/ 1166356 w 3028217"/>
                <a:gd name="connsiteY393" fmla="*/ 703443 h 2962327"/>
                <a:gd name="connsiteX394" fmla="*/ 1179024 w 3028217"/>
                <a:gd name="connsiteY394" fmla="*/ 699159 h 2962327"/>
                <a:gd name="connsiteX395" fmla="*/ 1188263 w 3028217"/>
                <a:gd name="connsiteY395" fmla="*/ 700229 h 2962327"/>
                <a:gd name="connsiteX396" fmla="*/ 1207313 w 3028217"/>
                <a:gd name="connsiteY396" fmla="*/ 712016 h 2962327"/>
                <a:gd name="connsiteX397" fmla="*/ 1205051 w 3028217"/>
                <a:gd name="connsiteY397" fmla="*/ 754402 h 2962327"/>
                <a:gd name="connsiteX398" fmla="*/ 1180854 w 3028217"/>
                <a:gd name="connsiteY398" fmla="*/ 787924 h 2962327"/>
                <a:gd name="connsiteX399" fmla="*/ 1187073 w 3028217"/>
                <a:gd name="connsiteY399" fmla="*/ 807504 h 2962327"/>
                <a:gd name="connsiteX400" fmla="*/ 1206361 w 3028217"/>
                <a:gd name="connsiteY400" fmla="*/ 814886 h 2962327"/>
                <a:gd name="connsiteX401" fmla="*/ 1213981 w 3028217"/>
                <a:gd name="connsiteY401" fmla="*/ 828221 h 2962327"/>
                <a:gd name="connsiteX402" fmla="*/ 1172071 w 3028217"/>
                <a:gd name="connsiteY402" fmla="*/ 862511 h 2962327"/>
                <a:gd name="connsiteX403" fmla="*/ 1115874 w 3028217"/>
                <a:gd name="connsiteY403" fmla="*/ 854891 h 2962327"/>
                <a:gd name="connsiteX404" fmla="*/ 1148259 w 3028217"/>
                <a:gd name="connsiteY404" fmla="*/ 807266 h 2962327"/>
                <a:gd name="connsiteX405" fmla="*/ 1173024 w 3028217"/>
                <a:gd name="connsiteY405" fmla="*/ 780596 h 2962327"/>
                <a:gd name="connsiteX406" fmla="*/ 1173125 w 3028217"/>
                <a:gd name="connsiteY406" fmla="*/ 780684 h 2962327"/>
                <a:gd name="connsiteX407" fmla="*/ 1174333 w 3028217"/>
                <a:gd name="connsiteY407" fmla="*/ 770475 h 2962327"/>
                <a:gd name="connsiteX408" fmla="*/ 1163498 w 3028217"/>
                <a:gd name="connsiteY408" fmla="*/ 767261 h 2962327"/>
                <a:gd name="connsiteX409" fmla="*/ 1124446 w 3028217"/>
                <a:gd name="connsiteY409" fmla="*/ 787263 h 2962327"/>
                <a:gd name="connsiteX410" fmla="*/ 1043483 w 3028217"/>
                <a:gd name="connsiteY410" fmla="*/ 789168 h 2962327"/>
                <a:gd name="connsiteX411" fmla="*/ 993953 w 3028217"/>
                <a:gd name="connsiteY411" fmla="*/ 794883 h 2962327"/>
                <a:gd name="connsiteX412" fmla="*/ 959663 w 3028217"/>
                <a:gd name="connsiteY412" fmla="*/ 814886 h 2962327"/>
                <a:gd name="connsiteX413" fmla="*/ 929183 w 3028217"/>
                <a:gd name="connsiteY413" fmla="*/ 839651 h 2962327"/>
                <a:gd name="connsiteX414" fmla="*/ 925100 w 3028217"/>
                <a:gd name="connsiteY414" fmla="*/ 843462 h 2962327"/>
                <a:gd name="connsiteX415" fmla="*/ 915848 w 3028217"/>
                <a:gd name="connsiteY415" fmla="*/ 851081 h 2962327"/>
                <a:gd name="connsiteX416" fmla="*/ 912991 w 3028217"/>
                <a:gd name="connsiteY416" fmla="*/ 851081 h 2962327"/>
                <a:gd name="connsiteX417" fmla="*/ 914896 w 3028217"/>
                <a:gd name="connsiteY417" fmla="*/ 852986 h 2962327"/>
                <a:gd name="connsiteX418" fmla="*/ 925100 w 3028217"/>
                <a:gd name="connsiteY418" fmla="*/ 843462 h 2962327"/>
                <a:gd name="connsiteX419" fmla="*/ 932041 w 3028217"/>
                <a:gd name="connsiteY419" fmla="*/ 837746 h 2962327"/>
                <a:gd name="connsiteX420" fmla="*/ 972998 w 3028217"/>
                <a:gd name="connsiteY420" fmla="*/ 820601 h 2962327"/>
                <a:gd name="connsiteX421" fmla="*/ 992048 w 3028217"/>
                <a:gd name="connsiteY421" fmla="*/ 814886 h 2962327"/>
                <a:gd name="connsiteX422" fmla="*/ 1023481 w 3028217"/>
                <a:gd name="connsiteY422" fmla="*/ 819648 h 2962327"/>
                <a:gd name="connsiteX423" fmla="*/ 1005383 w 3028217"/>
                <a:gd name="connsiteY423" fmla="*/ 842508 h 2962327"/>
                <a:gd name="connsiteX424" fmla="*/ 1006336 w 3028217"/>
                <a:gd name="connsiteY424" fmla="*/ 854891 h 2962327"/>
                <a:gd name="connsiteX425" fmla="*/ 1005383 w 3028217"/>
                <a:gd name="connsiteY425" fmla="*/ 889181 h 2962327"/>
                <a:gd name="connsiteX426" fmla="*/ 984428 w 3028217"/>
                <a:gd name="connsiteY426" fmla="*/ 910136 h 2962327"/>
                <a:gd name="connsiteX427" fmla="*/ 952043 w 3028217"/>
                <a:gd name="connsiteY427" fmla="*/ 916803 h 2962327"/>
                <a:gd name="connsiteX428" fmla="*/ 899656 w 3028217"/>
                <a:gd name="connsiteY428" fmla="*/ 938711 h 2962327"/>
                <a:gd name="connsiteX429" fmla="*/ 855841 w 3028217"/>
                <a:gd name="connsiteY429" fmla="*/ 985383 h 2962327"/>
                <a:gd name="connsiteX430" fmla="*/ 831076 w 3028217"/>
                <a:gd name="connsiteY430" fmla="*/ 1003481 h 2962327"/>
                <a:gd name="connsiteX431" fmla="*/ 738683 w 3028217"/>
                <a:gd name="connsiteY431" fmla="*/ 1081586 h 2962327"/>
                <a:gd name="connsiteX432" fmla="*/ 711061 w 3028217"/>
                <a:gd name="connsiteY432" fmla="*/ 1115876 h 2962327"/>
                <a:gd name="connsiteX433" fmla="*/ 666293 w 3028217"/>
                <a:gd name="connsiteY433" fmla="*/ 1175883 h 2962327"/>
                <a:gd name="connsiteX434" fmla="*/ 585331 w 3028217"/>
                <a:gd name="connsiteY434" fmla="*/ 1230176 h 2962327"/>
                <a:gd name="connsiteX435" fmla="*/ 559613 w 3028217"/>
                <a:gd name="connsiteY435" fmla="*/ 1297803 h 2962327"/>
                <a:gd name="connsiteX436" fmla="*/ 557708 w 3028217"/>
                <a:gd name="connsiteY436" fmla="*/ 1386386 h 2962327"/>
                <a:gd name="connsiteX437" fmla="*/ 542468 w 3028217"/>
                <a:gd name="connsiteY437" fmla="*/ 1407341 h 2962327"/>
                <a:gd name="connsiteX438" fmla="*/ 528181 w 3028217"/>
                <a:gd name="connsiteY438" fmla="*/ 1387338 h 2962327"/>
                <a:gd name="connsiteX439" fmla="*/ 519608 w 3028217"/>
                <a:gd name="connsiteY439" fmla="*/ 1320663 h 2962327"/>
                <a:gd name="connsiteX440" fmla="*/ 488176 w 3028217"/>
                <a:gd name="connsiteY440" fmla="*/ 1283516 h 2962327"/>
                <a:gd name="connsiteX441" fmla="*/ 429121 w 3028217"/>
                <a:gd name="connsiteY441" fmla="*/ 1267323 h 2962327"/>
                <a:gd name="connsiteX442" fmla="*/ 409118 w 3028217"/>
                <a:gd name="connsiteY442" fmla="*/ 1268276 h 2962327"/>
                <a:gd name="connsiteX443" fmla="*/ 336728 w 3028217"/>
                <a:gd name="connsiteY443" fmla="*/ 1284468 h 2962327"/>
                <a:gd name="connsiteX444" fmla="*/ 215761 w 3028217"/>
                <a:gd name="connsiteY444" fmla="*/ 1373051 h 2962327"/>
                <a:gd name="connsiteX445" fmla="*/ 189091 w 3028217"/>
                <a:gd name="connsiteY445" fmla="*/ 1441631 h 2962327"/>
                <a:gd name="connsiteX446" fmla="*/ 196711 w 3028217"/>
                <a:gd name="connsiteY446" fmla="*/ 1544501 h 2962327"/>
                <a:gd name="connsiteX447" fmla="*/ 244336 w 3028217"/>
                <a:gd name="connsiteY447" fmla="*/ 1573076 h 2962327"/>
                <a:gd name="connsiteX448" fmla="*/ 320536 w 3028217"/>
                <a:gd name="connsiteY448" fmla="*/ 1514973 h 2962327"/>
                <a:gd name="connsiteX449" fmla="*/ 387211 w 3028217"/>
                <a:gd name="connsiteY449" fmla="*/ 1494971 h 2962327"/>
                <a:gd name="connsiteX450" fmla="*/ 389116 w 3028217"/>
                <a:gd name="connsiteY450" fmla="*/ 1515926 h 2962327"/>
                <a:gd name="connsiteX451" fmla="*/ 340538 w 3028217"/>
                <a:gd name="connsiteY451" fmla="*/ 1624511 h 2962327"/>
                <a:gd name="connsiteX452" fmla="*/ 354826 w 3028217"/>
                <a:gd name="connsiteY452" fmla="*/ 1644513 h 2962327"/>
                <a:gd name="connsiteX453" fmla="*/ 410071 w 3028217"/>
                <a:gd name="connsiteY453" fmla="*/ 1645466 h 2962327"/>
                <a:gd name="connsiteX454" fmla="*/ 439598 w 3028217"/>
                <a:gd name="connsiteY454" fmla="*/ 1687376 h 2962327"/>
                <a:gd name="connsiteX455" fmla="*/ 426263 w 3028217"/>
                <a:gd name="connsiteY455" fmla="*/ 1743573 h 2962327"/>
                <a:gd name="connsiteX456" fmla="*/ 450076 w 3028217"/>
                <a:gd name="connsiteY456" fmla="*/ 1813106 h 2962327"/>
                <a:gd name="connsiteX457" fmla="*/ 499606 w 3028217"/>
                <a:gd name="connsiteY457" fmla="*/ 1812153 h 2962327"/>
                <a:gd name="connsiteX458" fmla="*/ 536753 w 3028217"/>
                <a:gd name="connsiteY458" fmla="*/ 1818821 h 2962327"/>
                <a:gd name="connsiteX459" fmla="*/ 577711 w 3028217"/>
                <a:gd name="connsiteY459" fmla="*/ 1813106 h 2962327"/>
                <a:gd name="connsiteX460" fmla="*/ 661531 w 3028217"/>
                <a:gd name="connsiteY460" fmla="*/ 1754051 h 2962327"/>
                <a:gd name="connsiteX461" fmla="*/ 672008 w 3028217"/>
                <a:gd name="connsiteY461" fmla="*/ 1763576 h 2962327"/>
                <a:gd name="connsiteX462" fmla="*/ 695821 w 3028217"/>
                <a:gd name="connsiteY462" fmla="*/ 1768338 h 2962327"/>
                <a:gd name="connsiteX463" fmla="*/ 741541 w 3028217"/>
                <a:gd name="connsiteY463" fmla="*/ 1772148 h 2962327"/>
                <a:gd name="connsiteX464" fmla="*/ 832028 w 3028217"/>
                <a:gd name="connsiteY464" fmla="*/ 1788341 h 2962327"/>
                <a:gd name="connsiteX465" fmla="*/ 865366 w 3028217"/>
                <a:gd name="connsiteY465" fmla="*/ 1796913 h 2962327"/>
                <a:gd name="connsiteX466" fmla="*/ 910133 w 3028217"/>
                <a:gd name="connsiteY466" fmla="*/ 1838823 h 2962327"/>
                <a:gd name="connsiteX467" fmla="*/ 1047293 w 3028217"/>
                <a:gd name="connsiteY467" fmla="*/ 1918833 h 2962327"/>
                <a:gd name="connsiteX468" fmla="*/ 1116826 w 3028217"/>
                <a:gd name="connsiteY468" fmla="*/ 2036943 h 2962327"/>
                <a:gd name="connsiteX469" fmla="*/ 1106348 w 3028217"/>
                <a:gd name="connsiteY469" fmla="*/ 2056946 h 2962327"/>
                <a:gd name="connsiteX470" fmla="*/ 1104443 w 3028217"/>
                <a:gd name="connsiteY470" fmla="*/ 2099808 h 2962327"/>
                <a:gd name="connsiteX471" fmla="*/ 1124446 w 3028217"/>
                <a:gd name="connsiteY471" fmla="*/ 2102666 h 2962327"/>
                <a:gd name="connsiteX472" fmla="*/ 1193026 w 3028217"/>
                <a:gd name="connsiteY472" fmla="*/ 2077901 h 2962327"/>
                <a:gd name="connsiteX473" fmla="*/ 1280656 w 3028217"/>
                <a:gd name="connsiteY473" fmla="*/ 2123621 h 2962327"/>
                <a:gd name="connsiteX474" fmla="*/ 1387336 w 3028217"/>
                <a:gd name="connsiteY474" fmla="*/ 2172198 h 2962327"/>
                <a:gd name="connsiteX475" fmla="*/ 1434008 w 3028217"/>
                <a:gd name="connsiteY475" fmla="*/ 2199821 h 2962327"/>
                <a:gd name="connsiteX476" fmla="*/ 1430198 w 3028217"/>
                <a:gd name="connsiteY476" fmla="*/ 2282688 h 2962327"/>
                <a:gd name="connsiteX477" fmla="*/ 1370191 w 3028217"/>
                <a:gd name="connsiteY477" fmla="*/ 2373176 h 2962327"/>
                <a:gd name="connsiteX478" fmla="*/ 1358761 w 3028217"/>
                <a:gd name="connsiteY478" fmla="*/ 2423658 h 2962327"/>
                <a:gd name="connsiteX479" fmla="*/ 1327328 w 3028217"/>
                <a:gd name="connsiteY479" fmla="*/ 2600823 h 2962327"/>
                <a:gd name="connsiteX480" fmla="*/ 1293991 w 3028217"/>
                <a:gd name="connsiteY480" fmla="*/ 2626541 h 2962327"/>
                <a:gd name="connsiteX481" fmla="*/ 1218743 w 3028217"/>
                <a:gd name="connsiteY481" fmla="*/ 2661783 h 2962327"/>
                <a:gd name="connsiteX482" fmla="*/ 1193026 w 3028217"/>
                <a:gd name="connsiteY482" fmla="*/ 2710361 h 2962327"/>
                <a:gd name="connsiteX483" fmla="*/ 1164451 w 3028217"/>
                <a:gd name="connsiteY483" fmla="*/ 2832281 h 2962327"/>
                <a:gd name="connsiteX484" fmla="*/ 1122541 w 3028217"/>
                <a:gd name="connsiteY484" fmla="*/ 2910386 h 2962327"/>
                <a:gd name="connsiteX485" fmla="*/ 1095871 w 3028217"/>
                <a:gd name="connsiteY485" fmla="*/ 2929436 h 2962327"/>
                <a:gd name="connsiteX486" fmla="*/ 1061581 w 3028217"/>
                <a:gd name="connsiteY486" fmla="*/ 2922768 h 2962327"/>
                <a:gd name="connsiteX487" fmla="*/ 1047293 w 3028217"/>
                <a:gd name="connsiteY487" fmla="*/ 2929436 h 2962327"/>
                <a:gd name="connsiteX488" fmla="*/ 1061581 w 3028217"/>
                <a:gd name="connsiteY488" fmla="*/ 2956106 h 2962327"/>
                <a:gd name="connsiteX489" fmla="*/ 1040626 w 3028217"/>
                <a:gd name="connsiteY489" fmla="*/ 2959916 h 2962327"/>
                <a:gd name="connsiteX490" fmla="*/ 783451 w 3028217"/>
                <a:gd name="connsiteY490" fmla="*/ 2850378 h 2962327"/>
                <a:gd name="connsiteX491" fmla="*/ 752971 w 3028217"/>
                <a:gd name="connsiteY491" fmla="*/ 2805611 h 2962327"/>
                <a:gd name="connsiteX492" fmla="*/ 737731 w 3028217"/>
                <a:gd name="connsiteY492" fmla="*/ 2765606 h 2962327"/>
                <a:gd name="connsiteX493" fmla="*/ 721538 w 3028217"/>
                <a:gd name="connsiteY493" fmla="*/ 2564628 h 2962327"/>
                <a:gd name="connsiteX494" fmla="*/ 670103 w 3028217"/>
                <a:gd name="connsiteY494" fmla="*/ 2492238 h 2962327"/>
                <a:gd name="connsiteX495" fmla="*/ 539611 w 3028217"/>
                <a:gd name="connsiteY495" fmla="*/ 2337933 h 2962327"/>
                <a:gd name="connsiteX496" fmla="*/ 473888 w 3028217"/>
                <a:gd name="connsiteY496" fmla="*/ 2221728 h 2962327"/>
                <a:gd name="connsiteX497" fmla="*/ 468173 w 3028217"/>
                <a:gd name="connsiteY497" fmla="*/ 2148386 h 2962327"/>
                <a:gd name="connsiteX498" fmla="*/ 471983 w 3028217"/>
                <a:gd name="connsiteY498" fmla="*/ 2122668 h 2962327"/>
                <a:gd name="connsiteX499" fmla="*/ 493891 w 3028217"/>
                <a:gd name="connsiteY499" fmla="*/ 2021703 h 2962327"/>
                <a:gd name="connsiteX500" fmla="*/ 538658 w 3028217"/>
                <a:gd name="connsiteY500" fmla="*/ 1907403 h 2962327"/>
                <a:gd name="connsiteX501" fmla="*/ 524371 w 3028217"/>
                <a:gd name="connsiteY501" fmla="*/ 1854063 h 2962327"/>
                <a:gd name="connsiteX502" fmla="*/ 499606 w 3028217"/>
                <a:gd name="connsiteY502" fmla="*/ 1853111 h 2962327"/>
                <a:gd name="connsiteX503" fmla="*/ 459601 w 3028217"/>
                <a:gd name="connsiteY503" fmla="*/ 1860731 h 2962327"/>
                <a:gd name="connsiteX504" fmla="*/ 408166 w 3028217"/>
                <a:gd name="connsiteY504" fmla="*/ 1827393 h 2962327"/>
                <a:gd name="connsiteX505" fmla="*/ 354826 w 3028217"/>
                <a:gd name="connsiteY505" fmla="*/ 1742621 h 2962327"/>
                <a:gd name="connsiteX506" fmla="*/ 322441 w 3028217"/>
                <a:gd name="connsiteY506" fmla="*/ 1715951 h 2962327"/>
                <a:gd name="connsiteX507" fmla="*/ 234811 w 3028217"/>
                <a:gd name="connsiteY507" fmla="*/ 1658801 h 2962327"/>
                <a:gd name="connsiteX508" fmla="*/ 206236 w 3028217"/>
                <a:gd name="connsiteY508" fmla="*/ 1644513 h 2962327"/>
                <a:gd name="connsiteX509" fmla="*/ 116701 w 3028217"/>
                <a:gd name="connsiteY509" fmla="*/ 1622606 h 2962327"/>
                <a:gd name="connsiteX510" fmla="*/ 28118 w 3028217"/>
                <a:gd name="connsiteY510" fmla="*/ 1557836 h 2962327"/>
                <a:gd name="connsiteX511" fmla="*/ 12878 w 3028217"/>
                <a:gd name="connsiteY511" fmla="*/ 1499733 h 2962327"/>
                <a:gd name="connsiteX512" fmla="*/ 10021 w 3028217"/>
                <a:gd name="connsiteY512" fmla="*/ 1446393 h 2962327"/>
                <a:gd name="connsiteX513" fmla="*/ 5258 w 3028217"/>
                <a:gd name="connsiteY513" fmla="*/ 1410198 h 2962327"/>
                <a:gd name="connsiteX514" fmla="*/ 45263 w 3028217"/>
                <a:gd name="connsiteY514" fmla="*/ 1105398 h 2962327"/>
                <a:gd name="connsiteX515" fmla="*/ 304343 w 3028217"/>
                <a:gd name="connsiteY515" fmla="*/ 581523 h 2962327"/>
                <a:gd name="connsiteX516" fmla="*/ 548183 w 3028217"/>
                <a:gd name="connsiteY516" fmla="*/ 329111 h 2962327"/>
                <a:gd name="connsiteX517" fmla="*/ 617716 w 3028217"/>
                <a:gd name="connsiteY517" fmla="*/ 317681 h 2962327"/>
                <a:gd name="connsiteX518" fmla="*/ 631051 w 3028217"/>
                <a:gd name="connsiteY518" fmla="*/ 309108 h 2962327"/>
                <a:gd name="connsiteX519" fmla="*/ 692011 w 3028217"/>
                <a:gd name="connsiteY519" fmla="*/ 299583 h 2962327"/>
                <a:gd name="connsiteX520" fmla="*/ 756781 w 3028217"/>
                <a:gd name="connsiteY520" fmla="*/ 316728 h 2962327"/>
                <a:gd name="connsiteX521" fmla="*/ 780593 w 3028217"/>
                <a:gd name="connsiteY521" fmla="*/ 315776 h 2962327"/>
                <a:gd name="connsiteX522" fmla="*/ 797738 w 3028217"/>
                <a:gd name="connsiteY522" fmla="*/ 314823 h 2962327"/>
                <a:gd name="connsiteX523" fmla="*/ 831076 w 3028217"/>
                <a:gd name="connsiteY523" fmla="*/ 316728 h 2962327"/>
                <a:gd name="connsiteX524" fmla="*/ 841553 w 3028217"/>
                <a:gd name="connsiteY524" fmla="*/ 277676 h 2962327"/>
                <a:gd name="connsiteX525" fmla="*/ 852031 w 3028217"/>
                <a:gd name="connsiteY525" fmla="*/ 259578 h 2962327"/>
                <a:gd name="connsiteX526" fmla="*/ 867152 w 3028217"/>
                <a:gd name="connsiteY526" fmla="*/ 248624 h 2962327"/>
                <a:gd name="connsiteX527" fmla="*/ 876026 w 3028217"/>
                <a:gd name="connsiteY527" fmla="*/ 238011 h 2962327"/>
                <a:gd name="connsiteX528" fmla="*/ 858921 w 3028217"/>
                <a:gd name="connsiteY528" fmla="*/ 241392 h 2962327"/>
                <a:gd name="connsiteX529" fmla="*/ 821551 w 3028217"/>
                <a:gd name="connsiteY529" fmla="*/ 210048 h 2962327"/>
                <a:gd name="connsiteX530" fmla="*/ 857746 w 3028217"/>
                <a:gd name="connsiteY530" fmla="*/ 190998 h 2962327"/>
                <a:gd name="connsiteX531" fmla="*/ 873343 w 3028217"/>
                <a:gd name="connsiteY531" fmla="*/ 184331 h 2962327"/>
                <a:gd name="connsiteX532" fmla="*/ 798215 w 3028217"/>
                <a:gd name="connsiteY532" fmla="*/ 181949 h 2962327"/>
                <a:gd name="connsiteX533" fmla="*/ 805359 w 3028217"/>
                <a:gd name="connsiteY533" fmla="*/ 187188 h 2962327"/>
                <a:gd name="connsiteX534" fmla="*/ 795834 w 3028217"/>
                <a:gd name="connsiteY534" fmla="*/ 196713 h 2962327"/>
                <a:gd name="connsiteX535" fmla="*/ 788214 w 3028217"/>
                <a:gd name="connsiteY535" fmla="*/ 182426 h 2962327"/>
                <a:gd name="connsiteX536" fmla="*/ 798215 w 3028217"/>
                <a:gd name="connsiteY536" fmla="*/ 181949 h 2962327"/>
                <a:gd name="connsiteX537" fmla="*/ 938708 w 3028217"/>
                <a:gd name="connsiteY537" fmla="*/ 121466 h 2962327"/>
                <a:gd name="connsiteX538" fmla="*/ 952043 w 3028217"/>
                <a:gd name="connsiteY538" fmla="*/ 141468 h 2962327"/>
                <a:gd name="connsiteX539" fmla="*/ 951037 w 3028217"/>
                <a:gd name="connsiteY539" fmla="*/ 142501 h 2962327"/>
                <a:gd name="connsiteX540" fmla="*/ 953949 w 3028217"/>
                <a:gd name="connsiteY540" fmla="*/ 140516 h 2962327"/>
                <a:gd name="connsiteX541" fmla="*/ 952996 w 3028217"/>
                <a:gd name="connsiteY541" fmla="*/ 148136 h 2962327"/>
                <a:gd name="connsiteX542" fmla="*/ 952996 w 3028217"/>
                <a:gd name="connsiteY542" fmla="*/ 169091 h 2962327"/>
                <a:gd name="connsiteX543" fmla="*/ 944424 w 3028217"/>
                <a:gd name="connsiteY543" fmla="*/ 159804 h 2962327"/>
                <a:gd name="connsiteX544" fmla="*/ 933131 w 3028217"/>
                <a:gd name="connsiteY544" fmla="*/ 154863 h 2962327"/>
                <a:gd name="connsiteX545" fmla="*/ 931088 w 3028217"/>
                <a:gd name="connsiteY545" fmla="*/ 155756 h 2962327"/>
                <a:gd name="connsiteX546" fmla="*/ 930136 w 3028217"/>
                <a:gd name="connsiteY546" fmla="*/ 155756 h 2962327"/>
                <a:gd name="connsiteX547" fmla="*/ 918706 w 3028217"/>
                <a:gd name="connsiteY547" fmla="*/ 144326 h 2962327"/>
                <a:gd name="connsiteX548" fmla="*/ 931088 w 3028217"/>
                <a:gd name="connsiteY548" fmla="*/ 122418 h 2962327"/>
                <a:gd name="connsiteX549" fmla="*/ 938708 w 3028217"/>
                <a:gd name="connsiteY549" fmla="*/ 121466 h 2962327"/>
                <a:gd name="connsiteX550" fmla="*/ 925373 w 3028217"/>
                <a:gd name="connsiteY550" fmla="*/ 107178 h 2962327"/>
                <a:gd name="connsiteX551" fmla="*/ 938708 w 3028217"/>
                <a:gd name="connsiteY551" fmla="*/ 121465 h 2962327"/>
                <a:gd name="connsiteX552" fmla="*/ 935851 w 3028217"/>
                <a:gd name="connsiteY552" fmla="*/ 121465 h 2962327"/>
                <a:gd name="connsiteX553" fmla="*/ 932993 w 3028217"/>
                <a:gd name="connsiteY553" fmla="*/ 121465 h 2962327"/>
                <a:gd name="connsiteX554" fmla="*/ 901561 w 3028217"/>
                <a:gd name="connsiteY554" fmla="*/ 123370 h 2962327"/>
                <a:gd name="connsiteX555" fmla="*/ 925373 w 3028217"/>
                <a:gd name="connsiteY555" fmla="*/ 107178 h 2962327"/>
                <a:gd name="connsiteX556" fmla="*/ 1021576 w 3028217"/>
                <a:gd name="connsiteY556" fmla="*/ 71936 h 2962327"/>
                <a:gd name="connsiteX557" fmla="*/ 1031101 w 3028217"/>
                <a:gd name="connsiteY557" fmla="*/ 97653 h 2962327"/>
                <a:gd name="connsiteX558" fmla="*/ 1000621 w 3028217"/>
                <a:gd name="connsiteY558" fmla="*/ 92891 h 2962327"/>
                <a:gd name="connsiteX559" fmla="*/ 1007288 w 3028217"/>
                <a:gd name="connsiteY559" fmla="*/ 79556 h 2962327"/>
                <a:gd name="connsiteX560" fmla="*/ 1021576 w 3028217"/>
                <a:gd name="connsiteY560" fmla="*/ 71936 h 2962327"/>
                <a:gd name="connsiteX561" fmla="*/ 1113849 w 3028217"/>
                <a:gd name="connsiteY561" fmla="*/ 40265 h 2962327"/>
                <a:gd name="connsiteX562" fmla="*/ 1159689 w 3028217"/>
                <a:gd name="connsiteY562" fmla="*/ 51933 h 2962327"/>
                <a:gd name="connsiteX563" fmla="*/ 1151116 w 3028217"/>
                <a:gd name="connsiteY563" fmla="*/ 84318 h 2962327"/>
                <a:gd name="connsiteX564" fmla="*/ 1111111 w 3028217"/>
                <a:gd name="connsiteY564" fmla="*/ 92891 h 2962327"/>
                <a:gd name="connsiteX565" fmla="*/ 1070153 w 3028217"/>
                <a:gd name="connsiteY565" fmla="*/ 58601 h 2962327"/>
                <a:gd name="connsiteX566" fmla="*/ 1113849 w 3028217"/>
                <a:gd name="connsiteY566" fmla="*/ 40265 h 2962327"/>
                <a:gd name="connsiteX567" fmla="*/ 1400760 w 3028217"/>
                <a:gd name="connsiteY567" fmla="*/ 96 h 2962327"/>
                <a:gd name="connsiteX568" fmla="*/ 1476871 w 3028217"/>
                <a:gd name="connsiteY568" fmla="*/ 5260 h 2962327"/>
                <a:gd name="connsiteX569" fmla="*/ 1611174 w 3028217"/>
                <a:gd name="connsiteY569" fmla="*/ 9070 h 2962327"/>
                <a:gd name="connsiteX570" fmla="*/ 1619746 w 3028217"/>
                <a:gd name="connsiteY570" fmla="*/ 17643 h 2962327"/>
                <a:gd name="connsiteX571" fmla="*/ 1646416 w 3028217"/>
                <a:gd name="connsiteY571" fmla="*/ 28120 h 2962327"/>
                <a:gd name="connsiteX572" fmla="*/ 1667371 w 3028217"/>
                <a:gd name="connsiteY572" fmla="*/ 31930 h 2962327"/>
                <a:gd name="connsiteX573" fmla="*/ 1742261 w 3028217"/>
                <a:gd name="connsiteY573" fmla="*/ 11690 h 2962327"/>
                <a:gd name="connsiteX574" fmla="*/ 1820723 w 3028217"/>
                <a:gd name="connsiteY574" fmla="*/ 30025 h 2962327"/>
                <a:gd name="connsiteX575" fmla="*/ 1901686 w 3028217"/>
                <a:gd name="connsiteY575" fmla="*/ 45265 h 2962327"/>
                <a:gd name="connsiteX576" fmla="*/ 1894066 w 3028217"/>
                <a:gd name="connsiteY576" fmla="*/ 69078 h 2962327"/>
                <a:gd name="connsiteX577" fmla="*/ 1955978 w 3028217"/>
                <a:gd name="connsiteY577" fmla="*/ 55743 h 2962327"/>
                <a:gd name="connsiteX578" fmla="*/ 1954073 w 3028217"/>
                <a:gd name="connsiteY578" fmla="*/ 71935 h 2962327"/>
                <a:gd name="connsiteX579" fmla="*/ 1935976 w 3028217"/>
                <a:gd name="connsiteY579" fmla="*/ 103368 h 2962327"/>
                <a:gd name="connsiteX580" fmla="*/ 1949311 w 3028217"/>
                <a:gd name="connsiteY580" fmla="*/ 161470 h 2962327"/>
                <a:gd name="connsiteX581" fmla="*/ 1894066 w 3028217"/>
                <a:gd name="connsiteY581" fmla="*/ 171948 h 2962327"/>
                <a:gd name="connsiteX582" fmla="*/ 1913116 w 3028217"/>
                <a:gd name="connsiteY582" fmla="*/ 183378 h 2962327"/>
                <a:gd name="connsiteX583" fmla="*/ 1907401 w 3028217"/>
                <a:gd name="connsiteY583" fmla="*/ 196713 h 2962327"/>
                <a:gd name="connsiteX584" fmla="*/ 1873111 w 3028217"/>
                <a:gd name="connsiteY584" fmla="*/ 245290 h 2962327"/>
                <a:gd name="connsiteX585" fmla="*/ 1866443 w 3028217"/>
                <a:gd name="connsiteY585" fmla="*/ 267198 h 2962327"/>
                <a:gd name="connsiteX586" fmla="*/ 1851203 w 3028217"/>
                <a:gd name="connsiteY586" fmla="*/ 270055 h 2962327"/>
                <a:gd name="connsiteX587" fmla="*/ 1866443 w 3028217"/>
                <a:gd name="connsiteY587" fmla="*/ 313870 h 2962327"/>
                <a:gd name="connsiteX588" fmla="*/ 1843583 w 3028217"/>
                <a:gd name="connsiteY588" fmla="*/ 319585 h 2962327"/>
                <a:gd name="connsiteX589" fmla="*/ 1819771 w 3028217"/>
                <a:gd name="connsiteY589" fmla="*/ 300535 h 2962327"/>
                <a:gd name="connsiteX590" fmla="*/ 1788338 w 3028217"/>
                <a:gd name="connsiteY590" fmla="*/ 313870 h 2962327"/>
                <a:gd name="connsiteX591" fmla="*/ 1800721 w 3028217"/>
                <a:gd name="connsiteY591" fmla="*/ 315775 h 2962327"/>
                <a:gd name="connsiteX592" fmla="*/ 1823581 w 3028217"/>
                <a:gd name="connsiteY592" fmla="*/ 314823 h 2962327"/>
                <a:gd name="connsiteX593" fmla="*/ 1833106 w 3028217"/>
                <a:gd name="connsiteY593" fmla="*/ 317680 h 2962327"/>
                <a:gd name="connsiteX594" fmla="*/ 1838821 w 3028217"/>
                <a:gd name="connsiteY594" fmla="*/ 334825 h 2962327"/>
                <a:gd name="connsiteX595" fmla="*/ 1715948 w 3028217"/>
                <a:gd name="connsiteY595" fmla="*/ 370068 h 2962327"/>
                <a:gd name="connsiteX596" fmla="*/ 1691183 w 3028217"/>
                <a:gd name="connsiteY596" fmla="*/ 379593 h 2962327"/>
                <a:gd name="connsiteX597" fmla="*/ 1586408 w 3028217"/>
                <a:gd name="connsiteY597" fmla="*/ 430075 h 2962327"/>
                <a:gd name="connsiteX598" fmla="*/ 1542593 w 3028217"/>
                <a:gd name="connsiteY598" fmla="*/ 468175 h 2962327"/>
                <a:gd name="connsiteX599" fmla="*/ 1480681 w 3028217"/>
                <a:gd name="connsiteY599" fmla="*/ 555805 h 2962327"/>
                <a:gd name="connsiteX600" fmla="*/ 1462583 w 3028217"/>
                <a:gd name="connsiteY600" fmla="*/ 562473 h 2962327"/>
                <a:gd name="connsiteX601" fmla="*/ 1385431 w 3028217"/>
                <a:gd name="connsiteY601" fmla="*/ 462460 h 2962327"/>
                <a:gd name="connsiteX602" fmla="*/ 1379716 w 3028217"/>
                <a:gd name="connsiteY602" fmla="*/ 398643 h 2962327"/>
                <a:gd name="connsiteX603" fmla="*/ 1441628 w 3028217"/>
                <a:gd name="connsiteY603" fmla="*/ 335778 h 2962327"/>
                <a:gd name="connsiteX604" fmla="*/ 1449248 w 3028217"/>
                <a:gd name="connsiteY604" fmla="*/ 321490 h 2962327"/>
                <a:gd name="connsiteX605" fmla="*/ 1461631 w 3028217"/>
                <a:gd name="connsiteY605" fmla="*/ 300535 h 2962327"/>
                <a:gd name="connsiteX606" fmla="*/ 1412101 w 3028217"/>
                <a:gd name="connsiteY606" fmla="*/ 280533 h 2962327"/>
                <a:gd name="connsiteX607" fmla="*/ 1434961 w 3028217"/>
                <a:gd name="connsiteY607" fmla="*/ 215763 h 2962327"/>
                <a:gd name="connsiteX608" fmla="*/ 1371143 w 3028217"/>
                <a:gd name="connsiteY608" fmla="*/ 160518 h 2962327"/>
                <a:gd name="connsiteX609" fmla="*/ 1331138 w 3028217"/>
                <a:gd name="connsiteY609" fmla="*/ 162423 h 2962327"/>
                <a:gd name="connsiteX610" fmla="*/ 1303516 w 3028217"/>
                <a:gd name="connsiteY610" fmla="*/ 150040 h 2962327"/>
                <a:gd name="connsiteX611" fmla="*/ 1313993 w 3028217"/>
                <a:gd name="connsiteY611" fmla="*/ 130038 h 2962327"/>
                <a:gd name="connsiteX612" fmla="*/ 1313041 w 3028217"/>
                <a:gd name="connsiteY612" fmla="*/ 121465 h 2962327"/>
                <a:gd name="connsiteX613" fmla="*/ 1323518 w 3028217"/>
                <a:gd name="connsiteY613" fmla="*/ 96700 h 2962327"/>
                <a:gd name="connsiteX614" fmla="*/ 1387336 w 3028217"/>
                <a:gd name="connsiteY614" fmla="*/ 88128 h 2962327"/>
                <a:gd name="connsiteX615" fmla="*/ 1394003 w 3028217"/>
                <a:gd name="connsiteY615" fmla="*/ 68125 h 2962327"/>
                <a:gd name="connsiteX616" fmla="*/ 1445438 w 3028217"/>
                <a:gd name="connsiteY616" fmla="*/ 41455 h 2962327"/>
                <a:gd name="connsiteX617" fmla="*/ 1471104 w 3028217"/>
                <a:gd name="connsiteY617" fmla="*/ 35589 h 2962327"/>
                <a:gd name="connsiteX618" fmla="*/ 1469608 w 3028217"/>
                <a:gd name="connsiteY618" fmla="*/ 35026 h 2962327"/>
                <a:gd name="connsiteX619" fmla="*/ 1456869 w 3028217"/>
                <a:gd name="connsiteY619" fmla="*/ 34788 h 2962327"/>
                <a:gd name="connsiteX620" fmla="*/ 1365429 w 3028217"/>
                <a:gd name="connsiteY620" fmla="*/ 60505 h 2962327"/>
                <a:gd name="connsiteX621" fmla="*/ 1208266 w 3028217"/>
                <a:gd name="connsiteY621" fmla="*/ 122418 h 2962327"/>
                <a:gd name="connsiteX622" fmla="*/ 1175881 w 3028217"/>
                <a:gd name="connsiteY622" fmla="*/ 122418 h 2962327"/>
                <a:gd name="connsiteX623" fmla="*/ 1187311 w 3028217"/>
                <a:gd name="connsiteY623" fmla="*/ 142420 h 2962327"/>
                <a:gd name="connsiteX624" fmla="*/ 1180644 w 3028217"/>
                <a:gd name="connsiteY624" fmla="*/ 149088 h 2962327"/>
                <a:gd name="connsiteX625" fmla="*/ 1158647 w 3028217"/>
                <a:gd name="connsiteY625" fmla="*/ 153642 h 2962327"/>
                <a:gd name="connsiteX626" fmla="*/ 1143520 w 3028217"/>
                <a:gd name="connsiteY626" fmla="*/ 152466 h 2962327"/>
                <a:gd name="connsiteX627" fmla="*/ 1148259 w 3028217"/>
                <a:gd name="connsiteY627" fmla="*/ 153731 h 2962327"/>
                <a:gd name="connsiteX628" fmla="*/ 1152069 w 3028217"/>
                <a:gd name="connsiteY628" fmla="*/ 175758 h 2962327"/>
                <a:gd name="connsiteX629" fmla="*/ 1029196 w 3028217"/>
                <a:gd name="connsiteY629" fmla="*/ 182425 h 2962327"/>
                <a:gd name="connsiteX630" fmla="*/ 1006336 w 3028217"/>
                <a:gd name="connsiteY630" fmla="*/ 148135 h 2962327"/>
                <a:gd name="connsiteX631" fmla="*/ 995859 w 3028217"/>
                <a:gd name="connsiteY631" fmla="*/ 134800 h 2962327"/>
                <a:gd name="connsiteX632" fmla="*/ 987286 w 3028217"/>
                <a:gd name="connsiteY632" fmla="*/ 114798 h 2962327"/>
                <a:gd name="connsiteX633" fmla="*/ 1049199 w 3028217"/>
                <a:gd name="connsiteY633" fmla="*/ 134800 h 2962327"/>
                <a:gd name="connsiteX634" fmla="*/ 1064439 w 3028217"/>
                <a:gd name="connsiteY634" fmla="*/ 149088 h 2962327"/>
                <a:gd name="connsiteX635" fmla="*/ 1095871 w 3028217"/>
                <a:gd name="connsiteY635" fmla="*/ 149326 h 2962327"/>
                <a:gd name="connsiteX636" fmla="*/ 1106484 w 3028217"/>
                <a:gd name="connsiteY636" fmla="*/ 148924 h 2962327"/>
                <a:gd name="connsiteX637" fmla="*/ 1093014 w 3028217"/>
                <a:gd name="connsiteY637" fmla="*/ 149088 h 2962327"/>
                <a:gd name="connsiteX638" fmla="*/ 1062534 w 3028217"/>
                <a:gd name="connsiteY638" fmla="*/ 131943 h 2962327"/>
                <a:gd name="connsiteX639" fmla="*/ 1133971 w 3028217"/>
                <a:gd name="connsiteY639" fmla="*/ 110988 h 2962327"/>
                <a:gd name="connsiteX640" fmla="*/ 1158736 w 3028217"/>
                <a:gd name="connsiteY640" fmla="*/ 88128 h 2962327"/>
                <a:gd name="connsiteX641" fmla="*/ 1173024 w 3028217"/>
                <a:gd name="connsiteY641" fmla="*/ 73840 h 2962327"/>
                <a:gd name="connsiteX642" fmla="*/ 1214934 w 3028217"/>
                <a:gd name="connsiteY642" fmla="*/ 54790 h 2962327"/>
                <a:gd name="connsiteX643" fmla="*/ 1275894 w 3028217"/>
                <a:gd name="connsiteY643" fmla="*/ 44313 h 2962327"/>
                <a:gd name="connsiteX644" fmla="*/ 1211124 w 3028217"/>
                <a:gd name="connsiteY644" fmla="*/ 51933 h 2962327"/>
                <a:gd name="connsiteX645" fmla="*/ 1174929 w 3028217"/>
                <a:gd name="connsiteY645" fmla="*/ 39550 h 2962327"/>
                <a:gd name="connsiteX646" fmla="*/ 1174929 w 3028217"/>
                <a:gd name="connsiteY646" fmla="*/ 26215 h 2962327"/>
                <a:gd name="connsiteX647" fmla="*/ 1400760 w 3028217"/>
                <a:gd name="connsiteY647" fmla="*/ 96 h 29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</a:cxnLst>
              <a:rect l="l" t="t" r="r" b="b"/>
              <a:pathLst>
                <a:path w="3028217" h="2962327">
                  <a:moveTo>
                    <a:pt x="2863236" y="2049564"/>
                  </a:moveTo>
                  <a:cubicBezTo>
                    <a:pt x="2854902" y="2049564"/>
                    <a:pt x="2847996" y="2053612"/>
                    <a:pt x="2844662" y="2065518"/>
                  </a:cubicBezTo>
                  <a:cubicBezTo>
                    <a:pt x="2840852" y="2080758"/>
                    <a:pt x="2821802" y="2104571"/>
                    <a:pt x="2847519" y="2116953"/>
                  </a:cubicBezTo>
                  <a:cubicBezTo>
                    <a:pt x="2878000" y="2131241"/>
                    <a:pt x="2877047" y="2098856"/>
                    <a:pt x="2887525" y="2084568"/>
                  </a:cubicBezTo>
                  <a:cubicBezTo>
                    <a:pt x="2888477" y="2083616"/>
                    <a:pt x="2889430" y="2080758"/>
                    <a:pt x="2890382" y="2078853"/>
                  </a:cubicBezTo>
                  <a:cubicBezTo>
                    <a:pt x="2895144" y="2071233"/>
                    <a:pt x="2896097" y="2064566"/>
                    <a:pt x="2890382" y="2057898"/>
                  </a:cubicBezTo>
                  <a:cubicBezTo>
                    <a:pt x="2881334" y="2053612"/>
                    <a:pt x="2871571" y="2049564"/>
                    <a:pt x="2863236" y="2049564"/>
                  </a:cubicBezTo>
                  <a:close/>
                  <a:moveTo>
                    <a:pt x="2453184" y="1703568"/>
                  </a:moveTo>
                  <a:cubicBezTo>
                    <a:pt x="2446516" y="1700711"/>
                    <a:pt x="2442706" y="1708331"/>
                    <a:pt x="2444611" y="1714046"/>
                  </a:cubicBezTo>
                  <a:cubicBezTo>
                    <a:pt x="2448421" y="1725476"/>
                    <a:pt x="2452231" y="1738811"/>
                    <a:pt x="2467471" y="1740716"/>
                  </a:cubicBezTo>
                  <a:cubicBezTo>
                    <a:pt x="2475091" y="1741668"/>
                    <a:pt x="2480806" y="1736906"/>
                    <a:pt x="2482711" y="1728333"/>
                  </a:cubicBezTo>
                  <a:cubicBezTo>
                    <a:pt x="2473186" y="1720713"/>
                    <a:pt x="2463661" y="1710236"/>
                    <a:pt x="2453184" y="1703568"/>
                  </a:cubicBezTo>
                  <a:close/>
                  <a:moveTo>
                    <a:pt x="802501" y="1583553"/>
                  </a:moveTo>
                  <a:cubicBezTo>
                    <a:pt x="805359" y="1585458"/>
                    <a:pt x="811074" y="1586410"/>
                    <a:pt x="812026" y="1589268"/>
                  </a:cubicBezTo>
                  <a:cubicBezTo>
                    <a:pt x="814884" y="1596888"/>
                    <a:pt x="807264" y="1597840"/>
                    <a:pt x="802501" y="1599745"/>
                  </a:cubicBezTo>
                  <a:cubicBezTo>
                    <a:pt x="797739" y="1601650"/>
                    <a:pt x="792976" y="1598793"/>
                    <a:pt x="792024" y="1594030"/>
                  </a:cubicBezTo>
                  <a:cubicBezTo>
                    <a:pt x="788214" y="1586410"/>
                    <a:pt x="794881" y="1585458"/>
                    <a:pt x="802501" y="1583553"/>
                  </a:cubicBezTo>
                  <a:close/>
                  <a:moveTo>
                    <a:pt x="573901" y="1577838"/>
                  </a:moveTo>
                  <a:cubicBezTo>
                    <a:pt x="581521" y="1579743"/>
                    <a:pt x="588189" y="1582600"/>
                    <a:pt x="592951" y="1589268"/>
                  </a:cubicBezTo>
                  <a:cubicBezTo>
                    <a:pt x="592951" y="1594982"/>
                    <a:pt x="589141" y="1596888"/>
                    <a:pt x="584379" y="1596888"/>
                  </a:cubicBezTo>
                  <a:cubicBezTo>
                    <a:pt x="575806" y="1597840"/>
                    <a:pt x="568186" y="1595935"/>
                    <a:pt x="565329" y="1587363"/>
                  </a:cubicBezTo>
                  <a:cubicBezTo>
                    <a:pt x="562471" y="1580695"/>
                    <a:pt x="568186" y="1576885"/>
                    <a:pt x="573901" y="1577838"/>
                  </a:cubicBezTo>
                  <a:close/>
                  <a:moveTo>
                    <a:pt x="698678" y="1550216"/>
                  </a:moveTo>
                  <a:cubicBezTo>
                    <a:pt x="729158" y="1545453"/>
                    <a:pt x="746303" y="1560693"/>
                    <a:pt x="763448" y="1592126"/>
                  </a:cubicBezTo>
                  <a:cubicBezTo>
                    <a:pt x="731063" y="1576886"/>
                    <a:pt x="706298" y="1611176"/>
                    <a:pt x="678676" y="1592126"/>
                  </a:cubicBezTo>
                  <a:cubicBezTo>
                    <a:pt x="675818" y="1573076"/>
                    <a:pt x="667246" y="1551168"/>
                    <a:pt x="698678" y="1550216"/>
                  </a:cubicBezTo>
                  <a:close/>
                  <a:moveTo>
                    <a:pt x="492939" y="1460681"/>
                  </a:moveTo>
                  <a:cubicBezTo>
                    <a:pt x="518656" y="1456871"/>
                    <a:pt x="541516" y="1464491"/>
                    <a:pt x="562471" y="1479731"/>
                  </a:cubicBezTo>
                  <a:cubicBezTo>
                    <a:pt x="590094" y="1499733"/>
                    <a:pt x="618669" y="1515926"/>
                    <a:pt x="646291" y="1537833"/>
                  </a:cubicBezTo>
                  <a:cubicBezTo>
                    <a:pt x="620574" y="1545453"/>
                    <a:pt x="593904" y="1560693"/>
                    <a:pt x="577711" y="1525451"/>
                  </a:cubicBezTo>
                  <a:cubicBezTo>
                    <a:pt x="567234" y="1503543"/>
                    <a:pt x="541516" y="1503543"/>
                    <a:pt x="527229" y="1487351"/>
                  </a:cubicBezTo>
                  <a:lnTo>
                    <a:pt x="525032" y="1486533"/>
                  </a:lnTo>
                  <a:lnTo>
                    <a:pt x="527229" y="1488303"/>
                  </a:lnTo>
                  <a:cubicBezTo>
                    <a:pt x="502464" y="1486398"/>
                    <a:pt x="475794" y="1465443"/>
                    <a:pt x="451029" y="1494971"/>
                  </a:cubicBezTo>
                  <a:cubicBezTo>
                    <a:pt x="453886" y="1467348"/>
                    <a:pt x="471984" y="1461633"/>
                    <a:pt x="492939" y="1460681"/>
                  </a:cubicBezTo>
                  <a:close/>
                  <a:moveTo>
                    <a:pt x="592475" y="1413889"/>
                  </a:moveTo>
                  <a:cubicBezTo>
                    <a:pt x="594380" y="1414008"/>
                    <a:pt x="596285" y="1414485"/>
                    <a:pt x="596761" y="1414961"/>
                  </a:cubicBezTo>
                  <a:cubicBezTo>
                    <a:pt x="605334" y="1423533"/>
                    <a:pt x="603428" y="1433058"/>
                    <a:pt x="595809" y="1447346"/>
                  </a:cubicBezTo>
                  <a:cubicBezTo>
                    <a:pt x="589141" y="1434011"/>
                    <a:pt x="579616" y="1426391"/>
                    <a:pt x="588189" y="1414961"/>
                  </a:cubicBezTo>
                  <a:cubicBezTo>
                    <a:pt x="588665" y="1414009"/>
                    <a:pt x="590570" y="1413770"/>
                    <a:pt x="592475" y="1413889"/>
                  </a:cubicBezTo>
                  <a:close/>
                  <a:moveTo>
                    <a:pt x="2633206" y="1174931"/>
                  </a:moveTo>
                  <a:cubicBezTo>
                    <a:pt x="2646541" y="1176836"/>
                    <a:pt x="2659876" y="1178741"/>
                    <a:pt x="2673211" y="1180646"/>
                  </a:cubicBezTo>
                  <a:cubicBezTo>
                    <a:pt x="2657018" y="1197791"/>
                    <a:pt x="2645588" y="1186361"/>
                    <a:pt x="2633206" y="1174931"/>
                  </a:cubicBezTo>
                  <a:close/>
                  <a:moveTo>
                    <a:pt x="2477948" y="1095873"/>
                  </a:moveTo>
                  <a:cubicBezTo>
                    <a:pt x="2477948" y="1101588"/>
                    <a:pt x="2478901" y="1106350"/>
                    <a:pt x="2484616" y="1110160"/>
                  </a:cubicBezTo>
                  <a:cubicBezTo>
                    <a:pt x="2478901" y="1119685"/>
                    <a:pt x="2464613" y="1121590"/>
                    <a:pt x="2464613" y="1135878"/>
                  </a:cubicBezTo>
                  <a:cubicBezTo>
                    <a:pt x="2464613" y="1153023"/>
                    <a:pt x="2454136" y="1151118"/>
                    <a:pt x="2444611" y="1144450"/>
                  </a:cubicBezTo>
                  <a:cubicBezTo>
                    <a:pt x="2434133" y="1136830"/>
                    <a:pt x="2413178" y="1133020"/>
                    <a:pt x="2415083" y="1119685"/>
                  </a:cubicBezTo>
                  <a:cubicBezTo>
                    <a:pt x="2417941" y="1101588"/>
                    <a:pt x="2436038" y="1116828"/>
                    <a:pt x="2446516" y="1114923"/>
                  </a:cubicBezTo>
                  <a:cubicBezTo>
                    <a:pt x="2458898" y="1112065"/>
                    <a:pt x="2470329" y="1106350"/>
                    <a:pt x="2477948" y="1095873"/>
                  </a:cubicBezTo>
                  <a:close/>
                  <a:moveTo>
                    <a:pt x="2344599" y="1039676"/>
                  </a:moveTo>
                  <a:cubicBezTo>
                    <a:pt x="2358886" y="1039676"/>
                    <a:pt x="2352219" y="1056821"/>
                    <a:pt x="2355076" y="1066346"/>
                  </a:cubicBezTo>
                  <a:cubicBezTo>
                    <a:pt x="2354124" y="1077776"/>
                    <a:pt x="2356981" y="1093016"/>
                    <a:pt x="2341741" y="1092063"/>
                  </a:cubicBezTo>
                  <a:cubicBezTo>
                    <a:pt x="2328406" y="1091111"/>
                    <a:pt x="2329359" y="1075871"/>
                    <a:pt x="2328406" y="1065393"/>
                  </a:cubicBezTo>
                  <a:cubicBezTo>
                    <a:pt x="2327454" y="1053011"/>
                    <a:pt x="2331264" y="1039676"/>
                    <a:pt x="2344599" y="1039676"/>
                  </a:cubicBezTo>
                  <a:close/>
                  <a:moveTo>
                    <a:pt x="699631" y="966334"/>
                  </a:moveTo>
                  <a:cubicBezTo>
                    <a:pt x="671056" y="960619"/>
                    <a:pt x="648196" y="971096"/>
                    <a:pt x="616764" y="992051"/>
                  </a:cubicBezTo>
                  <a:cubicBezTo>
                    <a:pt x="652959" y="990146"/>
                    <a:pt x="677724" y="983478"/>
                    <a:pt x="699631" y="966334"/>
                  </a:cubicBezTo>
                  <a:close/>
                  <a:moveTo>
                    <a:pt x="2786559" y="938711"/>
                  </a:moveTo>
                  <a:cubicBezTo>
                    <a:pt x="2796084" y="944426"/>
                    <a:pt x="2804656" y="939663"/>
                    <a:pt x="2814181" y="938711"/>
                  </a:cubicBezTo>
                  <a:cubicBezTo>
                    <a:pt x="2814181" y="940616"/>
                    <a:pt x="2814181" y="943473"/>
                    <a:pt x="2814181" y="945378"/>
                  </a:cubicBezTo>
                  <a:cubicBezTo>
                    <a:pt x="2803704" y="949188"/>
                    <a:pt x="2791321" y="959666"/>
                    <a:pt x="2786559" y="938711"/>
                  </a:cubicBezTo>
                  <a:close/>
                  <a:moveTo>
                    <a:pt x="737731" y="935019"/>
                  </a:moveTo>
                  <a:cubicBezTo>
                    <a:pt x="726540" y="936091"/>
                    <a:pt x="714872" y="940139"/>
                    <a:pt x="702489" y="951093"/>
                  </a:cubicBezTo>
                  <a:cubicBezTo>
                    <a:pt x="731064" y="951093"/>
                    <a:pt x="753924" y="958713"/>
                    <a:pt x="770116" y="936805"/>
                  </a:cubicBezTo>
                  <a:cubicBezTo>
                    <a:pt x="759639" y="935853"/>
                    <a:pt x="748923" y="933948"/>
                    <a:pt x="737731" y="935019"/>
                  </a:cubicBezTo>
                  <a:close/>
                  <a:moveTo>
                    <a:pt x="619383" y="880251"/>
                  </a:moveTo>
                  <a:cubicBezTo>
                    <a:pt x="616526" y="879417"/>
                    <a:pt x="612477" y="880608"/>
                    <a:pt x="608191" y="882513"/>
                  </a:cubicBezTo>
                  <a:cubicBezTo>
                    <a:pt x="589141" y="887276"/>
                    <a:pt x="539611" y="951093"/>
                    <a:pt x="541516" y="968238"/>
                  </a:cubicBezTo>
                  <a:cubicBezTo>
                    <a:pt x="543421" y="979668"/>
                    <a:pt x="550089" y="980621"/>
                    <a:pt x="558661" y="975858"/>
                  </a:cubicBezTo>
                  <a:cubicBezTo>
                    <a:pt x="569139" y="970143"/>
                    <a:pt x="576759" y="960618"/>
                    <a:pt x="578664" y="949188"/>
                  </a:cubicBezTo>
                  <a:cubicBezTo>
                    <a:pt x="582474" y="920613"/>
                    <a:pt x="601524" y="904421"/>
                    <a:pt x="623431" y="890133"/>
                  </a:cubicBezTo>
                  <a:cubicBezTo>
                    <a:pt x="623907" y="883942"/>
                    <a:pt x="622241" y="881084"/>
                    <a:pt x="619383" y="880251"/>
                  </a:cubicBezTo>
                  <a:close/>
                  <a:moveTo>
                    <a:pt x="659626" y="872036"/>
                  </a:moveTo>
                  <a:cubicBezTo>
                    <a:pt x="653911" y="870131"/>
                    <a:pt x="645339" y="876798"/>
                    <a:pt x="647244" y="879656"/>
                  </a:cubicBezTo>
                  <a:cubicBezTo>
                    <a:pt x="657721" y="901563"/>
                    <a:pt x="632956" y="928233"/>
                    <a:pt x="657721" y="950141"/>
                  </a:cubicBezTo>
                  <a:cubicBezTo>
                    <a:pt x="667246" y="936806"/>
                    <a:pt x="676771" y="926328"/>
                    <a:pt x="683439" y="913946"/>
                  </a:cubicBezTo>
                  <a:cubicBezTo>
                    <a:pt x="691059" y="897753"/>
                    <a:pt x="704394" y="924423"/>
                    <a:pt x="711061" y="910136"/>
                  </a:cubicBezTo>
                  <a:cubicBezTo>
                    <a:pt x="713919" y="903468"/>
                    <a:pt x="713919" y="896801"/>
                    <a:pt x="709156" y="891086"/>
                  </a:cubicBezTo>
                  <a:cubicBezTo>
                    <a:pt x="696774" y="875846"/>
                    <a:pt x="676771" y="876798"/>
                    <a:pt x="659626" y="872036"/>
                  </a:cubicBezTo>
                  <a:close/>
                  <a:moveTo>
                    <a:pt x="620410" y="803828"/>
                  </a:moveTo>
                  <a:cubicBezTo>
                    <a:pt x="614918" y="803575"/>
                    <a:pt x="609144" y="804646"/>
                    <a:pt x="603429" y="807266"/>
                  </a:cubicBezTo>
                  <a:cubicBezTo>
                    <a:pt x="579616" y="817743"/>
                    <a:pt x="555804" y="830126"/>
                    <a:pt x="532944" y="841556"/>
                  </a:cubicBezTo>
                  <a:cubicBezTo>
                    <a:pt x="530086" y="850128"/>
                    <a:pt x="536754" y="852033"/>
                    <a:pt x="541516" y="855843"/>
                  </a:cubicBezTo>
                  <a:cubicBezTo>
                    <a:pt x="561519" y="852986"/>
                    <a:pt x="579616" y="838698"/>
                    <a:pt x="602476" y="859653"/>
                  </a:cubicBezTo>
                  <a:cubicBezTo>
                    <a:pt x="617716" y="874893"/>
                    <a:pt x="654864" y="853938"/>
                    <a:pt x="652959" y="835841"/>
                  </a:cubicBezTo>
                  <a:cubicBezTo>
                    <a:pt x="650815" y="817267"/>
                    <a:pt x="636885" y="804587"/>
                    <a:pt x="620410" y="803828"/>
                  </a:cubicBezTo>
                  <a:close/>
                  <a:moveTo>
                    <a:pt x="2051228" y="690108"/>
                  </a:moveTo>
                  <a:cubicBezTo>
                    <a:pt x="2066468" y="695823"/>
                    <a:pt x="2079803" y="697728"/>
                    <a:pt x="2074088" y="722493"/>
                  </a:cubicBezTo>
                  <a:cubicBezTo>
                    <a:pt x="2066468" y="753925"/>
                    <a:pt x="2053133" y="773928"/>
                    <a:pt x="2021701" y="782500"/>
                  </a:cubicBezTo>
                  <a:cubicBezTo>
                    <a:pt x="2009318" y="785358"/>
                    <a:pt x="1997888" y="785358"/>
                    <a:pt x="2000746" y="772023"/>
                  </a:cubicBezTo>
                  <a:cubicBezTo>
                    <a:pt x="2006461" y="745353"/>
                    <a:pt x="2008366" y="714873"/>
                    <a:pt x="2036941" y="698680"/>
                  </a:cubicBezTo>
                  <a:cubicBezTo>
                    <a:pt x="2040751" y="694870"/>
                    <a:pt x="2045513" y="692965"/>
                    <a:pt x="2051228" y="690108"/>
                  </a:cubicBezTo>
                  <a:close/>
                  <a:moveTo>
                    <a:pt x="2111236" y="608669"/>
                  </a:moveTo>
                  <a:cubicBezTo>
                    <a:pt x="2115046" y="609621"/>
                    <a:pt x="2116951" y="613431"/>
                    <a:pt x="2113141" y="623433"/>
                  </a:cubicBezTo>
                  <a:cubicBezTo>
                    <a:pt x="2113141" y="624385"/>
                    <a:pt x="2112189" y="625338"/>
                    <a:pt x="2111236" y="626290"/>
                  </a:cubicBezTo>
                  <a:cubicBezTo>
                    <a:pt x="2147431" y="643435"/>
                    <a:pt x="2126476" y="692013"/>
                    <a:pt x="2159814" y="711063"/>
                  </a:cubicBezTo>
                  <a:cubicBezTo>
                    <a:pt x="2178864" y="721540"/>
                    <a:pt x="2174101" y="752020"/>
                    <a:pt x="2199819" y="758688"/>
                  </a:cubicBezTo>
                  <a:cubicBezTo>
                    <a:pt x="2206486" y="760593"/>
                    <a:pt x="2189341" y="798693"/>
                    <a:pt x="2176959" y="800598"/>
                  </a:cubicBezTo>
                  <a:cubicBezTo>
                    <a:pt x="2149336" y="805360"/>
                    <a:pt x="2120761" y="810123"/>
                    <a:pt x="2092186" y="814885"/>
                  </a:cubicBezTo>
                  <a:cubicBezTo>
                    <a:pt x="2089329" y="799645"/>
                    <a:pt x="2128381" y="789168"/>
                    <a:pt x="2092186" y="777738"/>
                  </a:cubicBezTo>
                  <a:cubicBezTo>
                    <a:pt x="2098854" y="765355"/>
                    <a:pt x="2098854" y="749163"/>
                    <a:pt x="2111236" y="740590"/>
                  </a:cubicBezTo>
                  <a:cubicBezTo>
                    <a:pt x="2127429" y="729160"/>
                    <a:pt x="2118856" y="712015"/>
                    <a:pt x="2110284" y="710110"/>
                  </a:cubicBezTo>
                  <a:cubicBezTo>
                    <a:pt x="2086471" y="705348"/>
                    <a:pt x="2087424" y="682488"/>
                    <a:pt x="2076946" y="669153"/>
                  </a:cubicBezTo>
                  <a:cubicBezTo>
                    <a:pt x="2062659" y="651055"/>
                    <a:pt x="2076946" y="617718"/>
                    <a:pt x="2097901" y="611050"/>
                  </a:cubicBezTo>
                  <a:cubicBezTo>
                    <a:pt x="2101711" y="609621"/>
                    <a:pt x="2107426" y="607716"/>
                    <a:pt x="2111236" y="608669"/>
                  </a:cubicBezTo>
                  <a:close/>
                  <a:moveTo>
                    <a:pt x="927279" y="479605"/>
                  </a:moveTo>
                  <a:cubicBezTo>
                    <a:pt x="932041" y="477700"/>
                    <a:pt x="935851" y="480558"/>
                    <a:pt x="933946" y="486273"/>
                  </a:cubicBezTo>
                  <a:cubicBezTo>
                    <a:pt x="932041" y="490083"/>
                    <a:pt x="929184" y="492941"/>
                    <a:pt x="929184" y="493893"/>
                  </a:cubicBezTo>
                  <a:cubicBezTo>
                    <a:pt x="919659" y="493893"/>
                    <a:pt x="917754" y="491035"/>
                    <a:pt x="919659" y="488178"/>
                  </a:cubicBezTo>
                  <a:cubicBezTo>
                    <a:pt x="921564" y="484368"/>
                    <a:pt x="924421" y="480558"/>
                    <a:pt x="927279" y="479605"/>
                  </a:cubicBezTo>
                  <a:close/>
                  <a:moveTo>
                    <a:pt x="1938089" y="417931"/>
                  </a:moveTo>
                  <a:cubicBezTo>
                    <a:pt x="1948537" y="420431"/>
                    <a:pt x="1955503" y="431504"/>
                    <a:pt x="1959789" y="441505"/>
                  </a:cubicBezTo>
                  <a:cubicBezTo>
                    <a:pt x="1967409" y="457698"/>
                    <a:pt x="1952169" y="461508"/>
                    <a:pt x="1940739" y="466270"/>
                  </a:cubicBezTo>
                  <a:cubicBezTo>
                    <a:pt x="1909306" y="478653"/>
                    <a:pt x="1880731" y="501513"/>
                    <a:pt x="1842631" y="480558"/>
                  </a:cubicBezTo>
                  <a:cubicBezTo>
                    <a:pt x="1829296" y="472938"/>
                    <a:pt x="1832154" y="467223"/>
                    <a:pt x="1832154" y="458650"/>
                  </a:cubicBezTo>
                  <a:cubicBezTo>
                    <a:pt x="1828344" y="450078"/>
                    <a:pt x="1835964" y="442458"/>
                    <a:pt x="1833106" y="431980"/>
                  </a:cubicBezTo>
                  <a:cubicBezTo>
                    <a:pt x="1828344" y="420550"/>
                    <a:pt x="1835011" y="416740"/>
                    <a:pt x="1845489" y="423408"/>
                  </a:cubicBezTo>
                  <a:cubicBezTo>
                    <a:pt x="1847394" y="430075"/>
                    <a:pt x="1849299" y="439600"/>
                    <a:pt x="1857871" y="432933"/>
                  </a:cubicBezTo>
                  <a:cubicBezTo>
                    <a:pt x="1878826" y="418645"/>
                    <a:pt x="1903591" y="426265"/>
                    <a:pt x="1926451" y="418645"/>
                  </a:cubicBezTo>
                  <a:cubicBezTo>
                    <a:pt x="1930737" y="417216"/>
                    <a:pt x="1934607" y="417097"/>
                    <a:pt x="1938089" y="417931"/>
                  </a:cubicBezTo>
                  <a:close/>
                  <a:moveTo>
                    <a:pt x="904419" y="389118"/>
                  </a:moveTo>
                  <a:cubicBezTo>
                    <a:pt x="915849" y="404358"/>
                    <a:pt x="928231" y="418646"/>
                    <a:pt x="938709" y="433886"/>
                  </a:cubicBezTo>
                  <a:cubicBezTo>
                    <a:pt x="940614" y="436743"/>
                    <a:pt x="940614" y="441505"/>
                    <a:pt x="942519" y="446268"/>
                  </a:cubicBezTo>
                  <a:cubicBezTo>
                    <a:pt x="938709" y="447221"/>
                    <a:pt x="932041" y="450078"/>
                    <a:pt x="931089" y="449125"/>
                  </a:cubicBezTo>
                  <a:cubicBezTo>
                    <a:pt x="912991" y="426266"/>
                    <a:pt x="896799" y="440553"/>
                    <a:pt x="878701" y="449125"/>
                  </a:cubicBezTo>
                  <a:cubicBezTo>
                    <a:pt x="871081" y="452936"/>
                    <a:pt x="863461" y="446268"/>
                    <a:pt x="856794" y="443411"/>
                  </a:cubicBezTo>
                  <a:cubicBezTo>
                    <a:pt x="835839" y="424361"/>
                    <a:pt x="864414" y="422455"/>
                    <a:pt x="867271" y="412930"/>
                  </a:cubicBezTo>
                  <a:cubicBezTo>
                    <a:pt x="878701" y="402453"/>
                    <a:pt x="887274" y="388166"/>
                    <a:pt x="904419" y="389118"/>
                  </a:cubicBezTo>
                  <a:close/>
                  <a:moveTo>
                    <a:pt x="1062534" y="340541"/>
                  </a:moveTo>
                  <a:cubicBezTo>
                    <a:pt x="1073011" y="340541"/>
                    <a:pt x="1082536" y="340541"/>
                    <a:pt x="1083489" y="353876"/>
                  </a:cubicBezTo>
                  <a:cubicBezTo>
                    <a:pt x="1073964" y="356733"/>
                    <a:pt x="1066344" y="373878"/>
                    <a:pt x="1053961" y="360543"/>
                  </a:cubicBezTo>
                  <a:cubicBezTo>
                    <a:pt x="1045389" y="351018"/>
                    <a:pt x="1054914" y="345303"/>
                    <a:pt x="1062534" y="340541"/>
                  </a:cubicBezTo>
                  <a:close/>
                  <a:moveTo>
                    <a:pt x="2471113" y="336025"/>
                  </a:moveTo>
                  <a:cubicBezTo>
                    <a:pt x="2489315" y="339763"/>
                    <a:pt x="2505689" y="355066"/>
                    <a:pt x="2521763" y="370068"/>
                  </a:cubicBezTo>
                  <a:cubicBezTo>
                    <a:pt x="2652256" y="491988"/>
                    <a:pt x="2764651" y="627243"/>
                    <a:pt x="2848471" y="785358"/>
                  </a:cubicBezTo>
                  <a:cubicBezTo>
                    <a:pt x="2875141" y="835841"/>
                    <a:pt x="2898953" y="887276"/>
                    <a:pt x="2920861" y="940616"/>
                  </a:cubicBezTo>
                  <a:cubicBezTo>
                    <a:pt x="2925623" y="952046"/>
                    <a:pt x="2938006" y="963476"/>
                    <a:pt x="2926576" y="977763"/>
                  </a:cubicBezTo>
                  <a:cubicBezTo>
                    <a:pt x="2893238" y="978716"/>
                    <a:pt x="2872283" y="955856"/>
                    <a:pt x="2847518" y="938711"/>
                  </a:cubicBezTo>
                  <a:cubicBezTo>
                    <a:pt x="2844661" y="919661"/>
                    <a:pt x="2858948" y="906326"/>
                    <a:pt x="2864663" y="890133"/>
                  </a:cubicBezTo>
                  <a:cubicBezTo>
                    <a:pt x="2846566" y="892991"/>
                    <a:pt x="2829421" y="903468"/>
                    <a:pt x="2810371" y="908231"/>
                  </a:cubicBezTo>
                  <a:cubicBezTo>
                    <a:pt x="2792273" y="911088"/>
                    <a:pt x="2774176" y="912041"/>
                    <a:pt x="2757031" y="904421"/>
                  </a:cubicBezTo>
                  <a:cubicBezTo>
                    <a:pt x="2741791" y="897753"/>
                    <a:pt x="2733218" y="902516"/>
                    <a:pt x="2728456" y="916803"/>
                  </a:cubicBezTo>
                  <a:cubicBezTo>
                    <a:pt x="2724646" y="935853"/>
                    <a:pt x="2713216" y="952998"/>
                    <a:pt x="2707501" y="971096"/>
                  </a:cubicBezTo>
                  <a:cubicBezTo>
                    <a:pt x="2702738" y="984431"/>
                    <a:pt x="2699881" y="997766"/>
                    <a:pt x="2706548" y="1011101"/>
                  </a:cubicBezTo>
                  <a:cubicBezTo>
                    <a:pt x="2712263" y="1021578"/>
                    <a:pt x="2722741" y="1031103"/>
                    <a:pt x="2712263" y="1044438"/>
                  </a:cubicBezTo>
                  <a:cubicBezTo>
                    <a:pt x="2722979" y="1032294"/>
                    <a:pt x="2735302" y="1023900"/>
                    <a:pt x="2750438" y="1026892"/>
                  </a:cubicBezTo>
                  <a:lnTo>
                    <a:pt x="2757317" y="1029909"/>
                  </a:lnTo>
                  <a:lnTo>
                    <a:pt x="2760842" y="1028246"/>
                  </a:lnTo>
                  <a:cubicBezTo>
                    <a:pt x="2768462" y="1021578"/>
                    <a:pt x="2775130" y="1013006"/>
                    <a:pt x="2785607" y="1010148"/>
                  </a:cubicBezTo>
                  <a:cubicBezTo>
                    <a:pt x="2791798" y="1008243"/>
                    <a:pt x="2798228" y="1006814"/>
                    <a:pt x="2804538" y="1006457"/>
                  </a:cubicBezTo>
                  <a:cubicBezTo>
                    <a:pt x="2810848" y="1006100"/>
                    <a:pt x="2817040" y="1006814"/>
                    <a:pt x="2822755" y="1009196"/>
                  </a:cubicBezTo>
                  <a:cubicBezTo>
                    <a:pt x="2859902" y="1023483"/>
                    <a:pt x="2898955" y="1027293"/>
                    <a:pt x="2938959" y="1031103"/>
                  </a:cubicBezTo>
                  <a:cubicBezTo>
                    <a:pt x="2955152" y="1033008"/>
                    <a:pt x="2957057" y="1047296"/>
                    <a:pt x="2959915" y="1058726"/>
                  </a:cubicBezTo>
                  <a:cubicBezTo>
                    <a:pt x="2990394" y="1159691"/>
                    <a:pt x="3010397" y="1262561"/>
                    <a:pt x="3021827" y="1368288"/>
                  </a:cubicBezTo>
                  <a:cubicBezTo>
                    <a:pt x="3029447" y="1433058"/>
                    <a:pt x="3025637" y="1497828"/>
                    <a:pt x="3027542" y="1562598"/>
                  </a:cubicBezTo>
                  <a:cubicBezTo>
                    <a:pt x="3027542" y="1573076"/>
                    <a:pt x="3031352" y="1585458"/>
                    <a:pt x="3020874" y="1594983"/>
                  </a:cubicBezTo>
                  <a:cubicBezTo>
                    <a:pt x="2992299" y="1573076"/>
                    <a:pt x="2963724" y="1551168"/>
                    <a:pt x="2958009" y="1512116"/>
                  </a:cubicBezTo>
                  <a:cubicBezTo>
                    <a:pt x="2954199" y="1483541"/>
                    <a:pt x="2933244" y="1467348"/>
                    <a:pt x="2918005" y="1446393"/>
                  </a:cubicBezTo>
                  <a:cubicBezTo>
                    <a:pt x="2898955" y="1421628"/>
                    <a:pt x="2888477" y="1390196"/>
                    <a:pt x="2860855" y="1371146"/>
                  </a:cubicBezTo>
                  <a:cubicBezTo>
                    <a:pt x="2846567" y="1368288"/>
                    <a:pt x="2836089" y="1359716"/>
                    <a:pt x="2831327" y="1343523"/>
                  </a:cubicBezTo>
                  <a:cubicBezTo>
                    <a:pt x="2835137" y="1360668"/>
                    <a:pt x="2849424" y="1368288"/>
                    <a:pt x="2856092" y="1380671"/>
                  </a:cubicBezTo>
                  <a:cubicBezTo>
                    <a:pt x="2882762" y="1424486"/>
                    <a:pt x="2896097" y="1474968"/>
                    <a:pt x="2930387" y="1514021"/>
                  </a:cubicBezTo>
                  <a:cubicBezTo>
                    <a:pt x="2938007" y="1522593"/>
                    <a:pt x="2938959" y="1534976"/>
                    <a:pt x="2939912" y="1546406"/>
                  </a:cubicBezTo>
                  <a:cubicBezTo>
                    <a:pt x="2941817" y="1566408"/>
                    <a:pt x="2950390" y="1582601"/>
                    <a:pt x="2962772" y="1597841"/>
                  </a:cubicBezTo>
                  <a:cubicBezTo>
                    <a:pt x="2983727" y="1622606"/>
                    <a:pt x="2993252" y="1652133"/>
                    <a:pt x="2999919" y="1683566"/>
                  </a:cubicBezTo>
                  <a:cubicBezTo>
                    <a:pt x="3023732" y="1698806"/>
                    <a:pt x="3015159" y="1721666"/>
                    <a:pt x="3012302" y="1740716"/>
                  </a:cubicBezTo>
                  <a:cubicBezTo>
                    <a:pt x="2988490" y="1885496"/>
                    <a:pt x="2951342" y="2026466"/>
                    <a:pt x="2886572" y="2158864"/>
                  </a:cubicBezTo>
                  <a:cubicBezTo>
                    <a:pt x="2872284" y="2188391"/>
                    <a:pt x="2858949" y="2218871"/>
                    <a:pt x="2841805" y="2246493"/>
                  </a:cubicBezTo>
                  <a:cubicBezTo>
                    <a:pt x="2837042" y="2255066"/>
                    <a:pt x="2835137" y="2266496"/>
                    <a:pt x="2821802" y="2266496"/>
                  </a:cubicBezTo>
                  <a:cubicBezTo>
                    <a:pt x="2812277" y="2260781"/>
                    <a:pt x="2812277" y="2249351"/>
                    <a:pt x="2808467" y="2240778"/>
                  </a:cubicBezTo>
                  <a:cubicBezTo>
                    <a:pt x="2794180" y="2222681"/>
                    <a:pt x="2796084" y="2198868"/>
                    <a:pt x="2785607" y="2172198"/>
                  </a:cubicBezTo>
                  <a:cubicBezTo>
                    <a:pt x="2795132" y="2196011"/>
                    <a:pt x="2791322" y="2217918"/>
                    <a:pt x="2805609" y="2234111"/>
                  </a:cubicBezTo>
                  <a:cubicBezTo>
                    <a:pt x="2812277" y="2246493"/>
                    <a:pt x="2811324" y="2261733"/>
                    <a:pt x="2821802" y="2273164"/>
                  </a:cubicBezTo>
                  <a:cubicBezTo>
                    <a:pt x="2795132" y="2339839"/>
                    <a:pt x="2750364" y="2394131"/>
                    <a:pt x="2708455" y="2451281"/>
                  </a:cubicBezTo>
                  <a:cubicBezTo>
                    <a:pt x="2661782" y="2514146"/>
                    <a:pt x="2606537" y="2568439"/>
                    <a:pt x="2551292" y="2622731"/>
                  </a:cubicBezTo>
                  <a:cubicBezTo>
                    <a:pt x="2527480" y="2646543"/>
                    <a:pt x="2502714" y="2666546"/>
                    <a:pt x="2476997" y="2687501"/>
                  </a:cubicBezTo>
                  <a:cubicBezTo>
                    <a:pt x="2465567" y="2677976"/>
                    <a:pt x="2476997" y="2661783"/>
                    <a:pt x="2463662" y="2655116"/>
                  </a:cubicBezTo>
                  <a:cubicBezTo>
                    <a:pt x="2469377" y="2608443"/>
                    <a:pt x="2446517" y="2570343"/>
                    <a:pt x="2425562" y="2533196"/>
                  </a:cubicBezTo>
                  <a:cubicBezTo>
                    <a:pt x="2392224" y="2475093"/>
                    <a:pt x="2414132" y="2424611"/>
                    <a:pt x="2439849" y="2375081"/>
                  </a:cubicBezTo>
                  <a:cubicBezTo>
                    <a:pt x="2453184" y="2349364"/>
                    <a:pt x="2458899" y="2330314"/>
                    <a:pt x="2449374" y="2301739"/>
                  </a:cubicBezTo>
                  <a:cubicBezTo>
                    <a:pt x="2439849" y="2272211"/>
                    <a:pt x="2442707" y="2240778"/>
                    <a:pt x="2430324" y="2210298"/>
                  </a:cubicBezTo>
                  <a:cubicBezTo>
                    <a:pt x="2420799" y="2187439"/>
                    <a:pt x="2416989" y="2160768"/>
                    <a:pt x="2396987" y="2144576"/>
                  </a:cubicBezTo>
                  <a:cubicBezTo>
                    <a:pt x="2352219" y="2107428"/>
                    <a:pt x="2357934" y="2060756"/>
                    <a:pt x="2370317" y="2012178"/>
                  </a:cubicBezTo>
                  <a:cubicBezTo>
                    <a:pt x="2372222" y="2005511"/>
                    <a:pt x="2374127" y="1998843"/>
                    <a:pt x="2374127" y="1992176"/>
                  </a:cubicBezTo>
                  <a:cubicBezTo>
                    <a:pt x="2376984" y="1954076"/>
                    <a:pt x="2356982" y="1935978"/>
                    <a:pt x="2319834" y="1944551"/>
                  </a:cubicBezTo>
                  <a:cubicBezTo>
                    <a:pt x="2303642" y="1948361"/>
                    <a:pt x="2292212" y="1948361"/>
                    <a:pt x="2282687" y="1931216"/>
                  </a:cubicBezTo>
                  <a:cubicBezTo>
                    <a:pt x="2263637" y="1897878"/>
                    <a:pt x="2235062" y="1889306"/>
                    <a:pt x="2200772" y="1905498"/>
                  </a:cubicBezTo>
                  <a:cubicBezTo>
                    <a:pt x="2186484" y="1912166"/>
                    <a:pt x="2171244" y="1918833"/>
                    <a:pt x="2157909" y="1926453"/>
                  </a:cubicBezTo>
                  <a:cubicBezTo>
                    <a:pt x="2140764" y="1935978"/>
                    <a:pt x="2124572" y="1938836"/>
                    <a:pt x="2106474" y="1931216"/>
                  </a:cubicBezTo>
                  <a:cubicBezTo>
                    <a:pt x="2083614" y="1921691"/>
                    <a:pt x="2059802" y="1925501"/>
                    <a:pt x="2040752" y="1937883"/>
                  </a:cubicBezTo>
                  <a:cubicBezTo>
                    <a:pt x="2012177" y="1956933"/>
                    <a:pt x="1991222" y="1941693"/>
                    <a:pt x="1974077" y="1924548"/>
                  </a:cubicBezTo>
                  <a:cubicBezTo>
                    <a:pt x="1956932" y="1907403"/>
                    <a:pt x="1938834" y="1892163"/>
                    <a:pt x="1919784" y="1877876"/>
                  </a:cubicBezTo>
                  <a:cubicBezTo>
                    <a:pt x="1909307" y="1870256"/>
                    <a:pt x="1899782" y="1861683"/>
                    <a:pt x="1896924" y="1849301"/>
                  </a:cubicBezTo>
                  <a:cubicBezTo>
                    <a:pt x="1889304" y="1812153"/>
                    <a:pt x="1862634" y="1789293"/>
                    <a:pt x="1839774" y="1762623"/>
                  </a:cubicBezTo>
                  <a:cubicBezTo>
                    <a:pt x="1827392" y="1748336"/>
                    <a:pt x="1815962" y="1694043"/>
                    <a:pt x="1822629" y="1676898"/>
                  </a:cubicBezTo>
                  <a:cubicBezTo>
                    <a:pt x="1840727" y="1632131"/>
                    <a:pt x="1846442" y="1585458"/>
                    <a:pt x="1829297" y="1537833"/>
                  </a:cubicBezTo>
                  <a:cubicBezTo>
                    <a:pt x="1826439" y="1530213"/>
                    <a:pt x="1823582" y="1522593"/>
                    <a:pt x="1828344" y="1514973"/>
                  </a:cubicBezTo>
                  <a:cubicBezTo>
                    <a:pt x="1854062" y="1466396"/>
                    <a:pt x="1875017" y="1416866"/>
                    <a:pt x="1909307" y="1373051"/>
                  </a:cubicBezTo>
                  <a:cubicBezTo>
                    <a:pt x="1915022" y="1366383"/>
                    <a:pt x="1923594" y="1365431"/>
                    <a:pt x="1929309" y="1361621"/>
                  </a:cubicBezTo>
                  <a:cubicBezTo>
                    <a:pt x="1954074" y="1345428"/>
                    <a:pt x="1976934" y="1330188"/>
                    <a:pt x="1977887" y="1293041"/>
                  </a:cubicBezTo>
                  <a:cubicBezTo>
                    <a:pt x="1978839" y="1267323"/>
                    <a:pt x="1992174" y="1239701"/>
                    <a:pt x="2019797" y="1227318"/>
                  </a:cubicBezTo>
                  <a:cubicBezTo>
                    <a:pt x="2040752" y="1217793"/>
                    <a:pt x="2050277" y="1201601"/>
                    <a:pt x="2051229" y="1178741"/>
                  </a:cubicBezTo>
                  <a:cubicBezTo>
                    <a:pt x="2058849" y="1162548"/>
                    <a:pt x="2071232" y="1167311"/>
                    <a:pt x="2083614" y="1172073"/>
                  </a:cubicBezTo>
                  <a:cubicBezTo>
                    <a:pt x="2111237" y="1181598"/>
                    <a:pt x="2136002" y="1178741"/>
                    <a:pt x="2161719" y="1162548"/>
                  </a:cubicBezTo>
                  <a:cubicBezTo>
                    <a:pt x="2193152" y="1142546"/>
                    <a:pt x="2229347" y="1134926"/>
                    <a:pt x="2266494" y="1136831"/>
                  </a:cubicBezTo>
                  <a:cubicBezTo>
                    <a:pt x="2288402" y="1137783"/>
                    <a:pt x="2310309" y="1137783"/>
                    <a:pt x="2331264" y="1133021"/>
                  </a:cubicBezTo>
                  <a:cubicBezTo>
                    <a:pt x="2370317" y="1123496"/>
                    <a:pt x="2397939" y="1138736"/>
                    <a:pt x="2387462" y="1197791"/>
                  </a:cubicBezTo>
                  <a:cubicBezTo>
                    <a:pt x="2384604" y="1213983"/>
                    <a:pt x="2384604" y="1228271"/>
                    <a:pt x="2400797" y="1229223"/>
                  </a:cubicBezTo>
                  <a:cubicBezTo>
                    <a:pt x="2447469" y="1231128"/>
                    <a:pt x="2477949" y="1266371"/>
                    <a:pt x="2517002" y="1283516"/>
                  </a:cubicBezTo>
                  <a:cubicBezTo>
                    <a:pt x="2538909" y="1293041"/>
                    <a:pt x="2550339" y="1296851"/>
                    <a:pt x="2556055" y="1266371"/>
                  </a:cubicBezTo>
                  <a:cubicBezTo>
                    <a:pt x="2561769" y="1236843"/>
                    <a:pt x="2589392" y="1227318"/>
                    <a:pt x="2617967" y="1241606"/>
                  </a:cubicBezTo>
                  <a:cubicBezTo>
                    <a:pt x="2644637" y="1254941"/>
                    <a:pt x="2673212" y="1262561"/>
                    <a:pt x="2701787" y="1271133"/>
                  </a:cubicBezTo>
                  <a:cubicBezTo>
                    <a:pt x="2743697" y="1283516"/>
                    <a:pt x="2782749" y="1259703"/>
                    <a:pt x="2823707" y="1270181"/>
                  </a:cubicBezTo>
                  <a:cubicBezTo>
                    <a:pt x="2833232" y="1272086"/>
                    <a:pt x="2840852" y="1262561"/>
                    <a:pt x="2842757" y="1253988"/>
                  </a:cubicBezTo>
                  <a:cubicBezTo>
                    <a:pt x="2847519" y="1233033"/>
                    <a:pt x="2856092" y="1212078"/>
                    <a:pt x="2857997" y="1191123"/>
                  </a:cubicBezTo>
                  <a:cubicBezTo>
                    <a:pt x="2861807" y="1157786"/>
                    <a:pt x="2857044" y="1154928"/>
                    <a:pt x="2824659" y="1163501"/>
                  </a:cubicBezTo>
                  <a:cubicBezTo>
                    <a:pt x="2807514" y="1168263"/>
                    <a:pt x="2793227" y="1167311"/>
                    <a:pt x="2781797" y="1153023"/>
                  </a:cubicBezTo>
                  <a:lnTo>
                    <a:pt x="2778142" y="1149005"/>
                  </a:lnTo>
                  <a:lnTo>
                    <a:pt x="2758579" y="1157637"/>
                  </a:lnTo>
                  <a:cubicBezTo>
                    <a:pt x="2730182" y="1164691"/>
                    <a:pt x="2706072" y="1153261"/>
                    <a:pt x="2684641" y="1122543"/>
                  </a:cubicBezTo>
                  <a:cubicBezTo>
                    <a:pt x="2676068" y="1110161"/>
                    <a:pt x="2672258" y="1095873"/>
                    <a:pt x="2664638" y="1083491"/>
                  </a:cubicBezTo>
                  <a:cubicBezTo>
                    <a:pt x="2658923" y="1073966"/>
                    <a:pt x="2664638" y="1054916"/>
                    <a:pt x="2646541" y="1054916"/>
                  </a:cubicBezTo>
                  <a:cubicBezTo>
                    <a:pt x="2631301" y="1055868"/>
                    <a:pt x="2616061" y="1061583"/>
                    <a:pt x="2610346" y="1080633"/>
                  </a:cubicBezTo>
                  <a:lnTo>
                    <a:pt x="2609202" y="1082346"/>
                  </a:lnTo>
                  <a:lnTo>
                    <a:pt x="2613204" y="1086348"/>
                  </a:lnTo>
                  <a:cubicBezTo>
                    <a:pt x="2619871" y="1093968"/>
                    <a:pt x="2626539" y="1101588"/>
                    <a:pt x="2632254" y="1108255"/>
                  </a:cubicBezTo>
                  <a:cubicBezTo>
                    <a:pt x="2619871" y="1117780"/>
                    <a:pt x="2617014" y="1133020"/>
                    <a:pt x="2609394" y="1145403"/>
                  </a:cubicBezTo>
                  <a:cubicBezTo>
                    <a:pt x="2602726" y="1154928"/>
                    <a:pt x="2586534" y="1142545"/>
                    <a:pt x="2584629" y="1132068"/>
                  </a:cubicBezTo>
                  <a:cubicBezTo>
                    <a:pt x="2581771" y="1117780"/>
                    <a:pt x="2574151" y="1106350"/>
                    <a:pt x="2566055" y="1095397"/>
                  </a:cubicBezTo>
                  <a:lnTo>
                    <a:pt x="2558490" y="1083461"/>
                  </a:lnTo>
                  <a:lnTo>
                    <a:pt x="2545576" y="1071108"/>
                  </a:lnTo>
                  <a:cubicBezTo>
                    <a:pt x="2541766" y="1068251"/>
                    <a:pt x="2537003" y="1065393"/>
                    <a:pt x="2536051" y="1061583"/>
                  </a:cubicBezTo>
                  <a:cubicBezTo>
                    <a:pt x="2522716" y="1003481"/>
                    <a:pt x="2462708" y="991098"/>
                    <a:pt x="2429371" y="952046"/>
                  </a:cubicBezTo>
                  <a:cubicBezTo>
                    <a:pt x="2426513" y="949188"/>
                    <a:pt x="2421751" y="947283"/>
                    <a:pt x="2417941" y="944426"/>
                  </a:cubicBezTo>
                  <a:cubicBezTo>
                    <a:pt x="2416036" y="943473"/>
                    <a:pt x="2413178" y="943473"/>
                    <a:pt x="2407463" y="947283"/>
                  </a:cubicBezTo>
                  <a:cubicBezTo>
                    <a:pt x="2425561" y="973001"/>
                    <a:pt x="2440801" y="998718"/>
                    <a:pt x="2469376" y="1014911"/>
                  </a:cubicBezTo>
                  <a:cubicBezTo>
                    <a:pt x="2483663" y="1023483"/>
                    <a:pt x="2500808" y="1028246"/>
                    <a:pt x="2509381" y="1044438"/>
                  </a:cubicBezTo>
                  <a:cubicBezTo>
                    <a:pt x="2510333" y="1049201"/>
                    <a:pt x="2508428" y="1053963"/>
                    <a:pt x="2504618" y="1057773"/>
                  </a:cubicBezTo>
                  <a:cubicBezTo>
                    <a:pt x="2500808" y="1066346"/>
                    <a:pt x="2479853" y="1059678"/>
                    <a:pt x="2488426" y="1077776"/>
                  </a:cubicBezTo>
                  <a:cubicBezTo>
                    <a:pt x="2485568" y="1082538"/>
                    <a:pt x="2481758" y="1084443"/>
                    <a:pt x="2476996" y="1084443"/>
                  </a:cubicBezTo>
                  <a:cubicBezTo>
                    <a:pt x="2437943" y="1050153"/>
                    <a:pt x="2385556" y="1032056"/>
                    <a:pt x="2356028" y="985383"/>
                  </a:cubicBezTo>
                  <a:cubicBezTo>
                    <a:pt x="2346503" y="970143"/>
                    <a:pt x="2333168" y="968238"/>
                    <a:pt x="2317928" y="978716"/>
                  </a:cubicBezTo>
                  <a:cubicBezTo>
                    <a:pt x="2310308" y="984431"/>
                    <a:pt x="2301736" y="994908"/>
                    <a:pt x="2295068" y="993003"/>
                  </a:cubicBezTo>
                  <a:cubicBezTo>
                    <a:pt x="2237918" y="978716"/>
                    <a:pt x="2232203" y="1040628"/>
                    <a:pt x="2196008" y="1057773"/>
                  </a:cubicBezTo>
                  <a:cubicBezTo>
                    <a:pt x="2185531" y="1062536"/>
                    <a:pt x="2183626" y="1075871"/>
                    <a:pt x="2181721" y="1087301"/>
                  </a:cubicBezTo>
                  <a:cubicBezTo>
                    <a:pt x="2172196" y="1130163"/>
                    <a:pt x="2149336" y="1152071"/>
                    <a:pt x="2105521" y="1157786"/>
                  </a:cubicBezTo>
                  <a:cubicBezTo>
                    <a:pt x="2088376" y="1159691"/>
                    <a:pt x="2069326" y="1179693"/>
                    <a:pt x="2053133" y="1155881"/>
                  </a:cubicBezTo>
                  <a:cubicBezTo>
                    <a:pt x="2052181" y="1145403"/>
                    <a:pt x="2048371" y="1137783"/>
                    <a:pt x="2036941" y="1136831"/>
                  </a:cubicBezTo>
                  <a:cubicBezTo>
                    <a:pt x="2026463" y="1135878"/>
                    <a:pt x="2010271" y="1148261"/>
                    <a:pt x="2008366" y="1131116"/>
                  </a:cubicBezTo>
                  <a:cubicBezTo>
                    <a:pt x="2005508" y="1113018"/>
                    <a:pt x="1993126" y="1094921"/>
                    <a:pt x="2001698" y="1074918"/>
                  </a:cubicBezTo>
                  <a:cubicBezTo>
                    <a:pt x="2011223" y="1051106"/>
                    <a:pt x="2015986" y="1027293"/>
                    <a:pt x="2008366" y="1001576"/>
                  </a:cubicBezTo>
                  <a:cubicBezTo>
                    <a:pt x="2002651" y="979668"/>
                    <a:pt x="2021701" y="978716"/>
                    <a:pt x="2035988" y="977763"/>
                  </a:cubicBezTo>
                  <a:cubicBezTo>
                    <a:pt x="2059801" y="974906"/>
                    <a:pt x="2083613" y="981573"/>
                    <a:pt x="2107426" y="983478"/>
                  </a:cubicBezTo>
                  <a:cubicBezTo>
                    <a:pt x="2120761" y="984431"/>
                    <a:pt x="2139811" y="992051"/>
                    <a:pt x="2148383" y="975858"/>
                  </a:cubicBezTo>
                  <a:cubicBezTo>
                    <a:pt x="2157908" y="956808"/>
                    <a:pt x="2162671" y="934901"/>
                    <a:pt x="2150288" y="913946"/>
                  </a:cubicBezTo>
                  <a:cubicBezTo>
                    <a:pt x="2140763" y="897753"/>
                    <a:pt x="2131238" y="882513"/>
                    <a:pt x="2112188" y="876798"/>
                  </a:cubicBezTo>
                  <a:cubicBezTo>
                    <a:pt x="2105521" y="874893"/>
                    <a:pt x="2094091" y="873941"/>
                    <a:pt x="2096948" y="862511"/>
                  </a:cubicBezTo>
                  <a:cubicBezTo>
                    <a:pt x="2098853" y="852033"/>
                    <a:pt x="2109331" y="852033"/>
                    <a:pt x="2118856" y="849176"/>
                  </a:cubicBezTo>
                  <a:cubicBezTo>
                    <a:pt x="2149336" y="838698"/>
                    <a:pt x="2177911" y="830126"/>
                    <a:pt x="2206486" y="810123"/>
                  </a:cubicBezTo>
                  <a:cubicBezTo>
                    <a:pt x="2241728" y="785358"/>
                    <a:pt x="2258873" y="735828"/>
                    <a:pt x="2308403" y="731066"/>
                  </a:cubicBezTo>
                  <a:cubicBezTo>
                    <a:pt x="2322691" y="729161"/>
                    <a:pt x="2323643" y="718683"/>
                    <a:pt x="2321738" y="708206"/>
                  </a:cubicBezTo>
                  <a:cubicBezTo>
                    <a:pt x="2319833" y="698681"/>
                    <a:pt x="2314118" y="689156"/>
                    <a:pt x="2311261" y="679631"/>
                  </a:cubicBezTo>
                  <a:cubicBezTo>
                    <a:pt x="2307451" y="666296"/>
                    <a:pt x="2305546" y="652008"/>
                    <a:pt x="2320786" y="643436"/>
                  </a:cubicBezTo>
                  <a:cubicBezTo>
                    <a:pt x="2326501" y="640578"/>
                    <a:pt x="2334121" y="632958"/>
                    <a:pt x="2338883" y="638673"/>
                  </a:cubicBezTo>
                  <a:cubicBezTo>
                    <a:pt x="2346503" y="649151"/>
                    <a:pt x="2353171" y="662486"/>
                    <a:pt x="2343646" y="675821"/>
                  </a:cubicBezTo>
                  <a:cubicBezTo>
                    <a:pt x="2337931" y="685346"/>
                    <a:pt x="2342693" y="692966"/>
                    <a:pt x="2348408" y="699633"/>
                  </a:cubicBezTo>
                  <a:cubicBezTo>
                    <a:pt x="2356028" y="708206"/>
                    <a:pt x="2364601" y="711063"/>
                    <a:pt x="2376031" y="706301"/>
                  </a:cubicBezTo>
                  <a:cubicBezTo>
                    <a:pt x="2378888" y="705348"/>
                    <a:pt x="2381746" y="704396"/>
                    <a:pt x="2385556" y="704396"/>
                  </a:cubicBezTo>
                  <a:cubicBezTo>
                    <a:pt x="2409368" y="712968"/>
                    <a:pt x="2432228" y="712016"/>
                    <a:pt x="2454136" y="698681"/>
                  </a:cubicBezTo>
                  <a:cubicBezTo>
                    <a:pt x="2460803" y="694871"/>
                    <a:pt x="2469376" y="692966"/>
                    <a:pt x="2476996" y="692013"/>
                  </a:cubicBezTo>
                  <a:cubicBezTo>
                    <a:pt x="2517001" y="689156"/>
                    <a:pt x="2517001" y="689156"/>
                    <a:pt x="2517953" y="648198"/>
                  </a:cubicBezTo>
                  <a:cubicBezTo>
                    <a:pt x="2525573" y="626291"/>
                    <a:pt x="2540813" y="618671"/>
                    <a:pt x="2563673" y="626291"/>
                  </a:cubicBezTo>
                  <a:cubicBezTo>
                    <a:pt x="2558911" y="610098"/>
                    <a:pt x="2545576" y="599621"/>
                    <a:pt x="2554148" y="585333"/>
                  </a:cubicBezTo>
                  <a:lnTo>
                    <a:pt x="2572928" y="573708"/>
                  </a:lnTo>
                  <a:lnTo>
                    <a:pt x="2586098" y="571735"/>
                  </a:lnTo>
                  <a:lnTo>
                    <a:pt x="2586726" y="571671"/>
                  </a:lnTo>
                  <a:cubicBezTo>
                    <a:pt x="2599630" y="572653"/>
                    <a:pt x="2613203" y="578189"/>
                    <a:pt x="2624633" y="568188"/>
                  </a:cubicBezTo>
                  <a:cubicBezTo>
                    <a:pt x="2626538" y="566283"/>
                    <a:pt x="2628443" y="565331"/>
                    <a:pt x="2630348" y="563426"/>
                  </a:cubicBezTo>
                  <a:cubicBezTo>
                    <a:pt x="2634158" y="561521"/>
                    <a:pt x="2634158" y="568188"/>
                    <a:pt x="2633206" y="563426"/>
                  </a:cubicBezTo>
                  <a:cubicBezTo>
                    <a:pt x="2632253" y="557711"/>
                    <a:pt x="2629396" y="564378"/>
                    <a:pt x="2626538" y="563426"/>
                  </a:cubicBezTo>
                  <a:cubicBezTo>
                    <a:pt x="2615584" y="567236"/>
                    <a:pt x="2604392" y="569141"/>
                    <a:pt x="2593082" y="570689"/>
                  </a:cubicBezTo>
                  <a:lnTo>
                    <a:pt x="2586098" y="571735"/>
                  </a:lnTo>
                  <a:lnTo>
                    <a:pt x="2574151" y="572951"/>
                  </a:lnTo>
                  <a:lnTo>
                    <a:pt x="2572928" y="573708"/>
                  </a:lnTo>
                  <a:lnTo>
                    <a:pt x="2558911" y="575808"/>
                  </a:lnTo>
                  <a:cubicBezTo>
                    <a:pt x="2533193" y="580571"/>
                    <a:pt x="2516048" y="563426"/>
                    <a:pt x="2506523" y="541518"/>
                  </a:cubicBezTo>
                  <a:cubicBezTo>
                    <a:pt x="2496998" y="519611"/>
                    <a:pt x="2487473" y="498656"/>
                    <a:pt x="2512238" y="480558"/>
                  </a:cubicBezTo>
                  <a:cubicBezTo>
                    <a:pt x="2520811" y="474843"/>
                    <a:pt x="2527478" y="467223"/>
                    <a:pt x="2533193" y="458651"/>
                  </a:cubicBezTo>
                  <a:cubicBezTo>
                    <a:pt x="2537003" y="452936"/>
                    <a:pt x="2541766" y="446268"/>
                    <a:pt x="2534146" y="440553"/>
                  </a:cubicBezTo>
                  <a:cubicBezTo>
                    <a:pt x="2526526" y="434838"/>
                    <a:pt x="2515096" y="437696"/>
                    <a:pt x="2513191" y="445316"/>
                  </a:cubicBezTo>
                  <a:cubicBezTo>
                    <a:pt x="2506523" y="474843"/>
                    <a:pt x="2482711" y="489131"/>
                    <a:pt x="2464613" y="509133"/>
                  </a:cubicBezTo>
                  <a:cubicBezTo>
                    <a:pt x="2452231" y="523421"/>
                    <a:pt x="2455088" y="538661"/>
                    <a:pt x="2467471" y="551996"/>
                  </a:cubicBezTo>
                  <a:cubicBezTo>
                    <a:pt x="2481758" y="567236"/>
                    <a:pt x="2481758" y="582476"/>
                    <a:pt x="2468423" y="597716"/>
                  </a:cubicBezTo>
                  <a:cubicBezTo>
                    <a:pt x="2457946" y="610098"/>
                    <a:pt x="2455088" y="623433"/>
                    <a:pt x="2453183" y="638673"/>
                  </a:cubicBezTo>
                  <a:cubicBezTo>
                    <a:pt x="2451278" y="657723"/>
                    <a:pt x="2442706" y="671058"/>
                    <a:pt x="2423656" y="676773"/>
                  </a:cubicBezTo>
                  <a:cubicBezTo>
                    <a:pt x="2413178" y="682488"/>
                    <a:pt x="2402701" y="690108"/>
                    <a:pt x="2389366" y="683441"/>
                  </a:cubicBezTo>
                  <a:cubicBezTo>
                    <a:pt x="2381746" y="676773"/>
                    <a:pt x="2376983" y="670106"/>
                    <a:pt x="2383651" y="659628"/>
                  </a:cubicBezTo>
                  <a:cubicBezTo>
                    <a:pt x="2377936" y="649151"/>
                    <a:pt x="2372221" y="638673"/>
                    <a:pt x="2367458" y="627243"/>
                  </a:cubicBezTo>
                  <a:cubicBezTo>
                    <a:pt x="2348408" y="585333"/>
                    <a:pt x="2348408" y="584381"/>
                    <a:pt x="2308403" y="612003"/>
                  </a:cubicBezTo>
                  <a:cubicBezTo>
                    <a:pt x="2273161" y="616766"/>
                    <a:pt x="2265541" y="608193"/>
                    <a:pt x="2270303" y="571046"/>
                  </a:cubicBezTo>
                  <a:cubicBezTo>
                    <a:pt x="2271256" y="560568"/>
                    <a:pt x="2287448" y="545328"/>
                    <a:pt x="2260778" y="543423"/>
                  </a:cubicBezTo>
                  <a:cubicBezTo>
                    <a:pt x="2255063" y="542471"/>
                    <a:pt x="2255063" y="530088"/>
                    <a:pt x="2259826" y="522468"/>
                  </a:cubicBezTo>
                  <a:cubicBezTo>
                    <a:pt x="2313166" y="486273"/>
                    <a:pt x="2361743" y="445316"/>
                    <a:pt x="2390318" y="385308"/>
                  </a:cubicBezTo>
                  <a:cubicBezTo>
                    <a:pt x="2396986" y="372926"/>
                    <a:pt x="2403653" y="362448"/>
                    <a:pt x="2416988" y="357686"/>
                  </a:cubicBezTo>
                  <a:cubicBezTo>
                    <a:pt x="2416988" y="355781"/>
                    <a:pt x="2416988" y="353876"/>
                    <a:pt x="2417941" y="351971"/>
                  </a:cubicBezTo>
                  <a:cubicBezTo>
                    <a:pt x="2419846" y="352923"/>
                    <a:pt x="2423656" y="354828"/>
                    <a:pt x="2424608" y="353876"/>
                  </a:cubicBezTo>
                  <a:cubicBezTo>
                    <a:pt x="2434371" y="344351"/>
                    <a:pt x="2443539" y="338934"/>
                    <a:pt x="2452245" y="336582"/>
                  </a:cubicBezTo>
                  <a:cubicBezTo>
                    <a:pt x="2458775" y="334818"/>
                    <a:pt x="2465045" y="334779"/>
                    <a:pt x="2471113" y="336025"/>
                  </a:cubicBezTo>
                  <a:close/>
                  <a:moveTo>
                    <a:pt x="761544" y="194808"/>
                  </a:moveTo>
                  <a:cubicBezTo>
                    <a:pt x="773926" y="196713"/>
                    <a:pt x="774879" y="206238"/>
                    <a:pt x="773926" y="216716"/>
                  </a:cubicBezTo>
                  <a:cubicBezTo>
                    <a:pt x="755829" y="237671"/>
                    <a:pt x="760591" y="257673"/>
                    <a:pt x="773926" y="278628"/>
                  </a:cubicBezTo>
                  <a:cubicBezTo>
                    <a:pt x="748209" y="302441"/>
                    <a:pt x="720586" y="315776"/>
                    <a:pt x="687249" y="293868"/>
                  </a:cubicBezTo>
                  <a:cubicBezTo>
                    <a:pt x="682486" y="291011"/>
                    <a:pt x="675819" y="292916"/>
                    <a:pt x="671056" y="292916"/>
                  </a:cubicBezTo>
                  <a:cubicBezTo>
                    <a:pt x="660579" y="294821"/>
                    <a:pt x="650101" y="296726"/>
                    <a:pt x="640576" y="298631"/>
                  </a:cubicBezTo>
                  <a:cubicBezTo>
                    <a:pt x="627241" y="300536"/>
                    <a:pt x="613906" y="302441"/>
                    <a:pt x="603429" y="291011"/>
                  </a:cubicBezTo>
                  <a:cubicBezTo>
                    <a:pt x="636766" y="258626"/>
                    <a:pt x="678676" y="239576"/>
                    <a:pt x="715824" y="211953"/>
                  </a:cubicBezTo>
                  <a:cubicBezTo>
                    <a:pt x="719634" y="209096"/>
                    <a:pt x="724396" y="211953"/>
                    <a:pt x="727254" y="215763"/>
                  </a:cubicBezTo>
                  <a:cubicBezTo>
                    <a:pt x="746304" y="220526"/>
                    <a:pt x="741541" y="187188"/>
                    <a:pt x="761544" y="194808"/>
                  </a:cubicBezTo>
                  <a:close/>
                  <a:moveTo>
                    <a:pt x="873343" y="184331"/>
                  </a:moveTo>
                  <a:cubicBezTo>
                    <a:pt x="879653" y="185283"/>
                    <a:pt x="886320" y="188617"/>
                    <a:pt x="891083" y="191951"/>
                  </a:cubicBezTo>
                  <a:cubicBezTo>
                    <a:pt x="904418" y="200523"/>
                    <a:pt x="892988" y="209096"/>
                    <a:pt x="888226" y="217668"/>
                  </a:cubicBezTo>
                  <a:lnTo>
                    <a:pt x="879241" y="234820"/>
                  </a:lnTo>
                  <a:lnTo>
                    <a:pt x="895370" y="235036"/>
                  </a:lnTo>
                  <a:cubicBezTo>
                    <a:pt x="907514" y="238206"/>
                    <a:pt x="906800" y="249815"/>
                    <a:pt x="899656" y="266246"/>
                  </a:cubicBezTo>
                  <a:cubicBezTo>
                    <a:pt x="894893" y="277676"/>
                    <a:pt x="884416" y="289106"/>
                    <a:pt x="892988" y="303393"/>
                  </a:cubicBezTo>
                  <a:cubicBezTo>
                    <a:pt x="897751" y="310061"/>
                    <a:pt x="901561" y="309108"/>
                    <a:pt x="905371" y="303393"/>
                  </a:cubicBezTo>
                  <a:cubicBezTo>
                    <a:pt x="923468" y="307203"/>
                    <a:pt x="923468" y="307203"/>
                    <a:pt x="915848" y="337683"/>
                  </a:cubicBezTo>
                  <a:cubicBezTo>
                    <a:pt x="926326" y="330063"/>
                    <a:pt x="936803" y="329111"/>
                    <a:pt x="946328" y="324348"/>
                  </a:cubicBezTo>
                  <a:lnTo>
                    <a:pt x="973409" y="303804"/>
                  </a:lnTo>
                  <a:lnTo>
                    <a:pt x="975260" y="292796"/>
                  </a:lnTo>
                  <a:cubicBezTo>
                    <a:pt x="974903" y="288629"/>
                    <a:pt x="972522" y="284819"/>
                    <a:pt x="965378" y="281485"/>
                  </a:cubicBezTo>
                  <a:cubicBezTo>
                    <a:pt x="944423" y="270055"/>
                    <a:pt x="942518" y="249100"/>
                    <a:pt x="962521" y="233860"/>
                  </a:cubicBezTo>
                  <a:cubicBezTo>
                    <a:pt x="977761" y="221478"/>
                    <a:pt x="993953" y="208143"/>
                    <a:pt x="1013956" y="203380"/>
                  </a:cubicBezTo>
                  <a:cubicBezTo>
                    <a:pt x="1018718" y="201475"/>
                    <a:pt x="1023481" y="200046"/>
                    <a:pt x="1028243" y="200165"/>
                  </a:cubicBezTo>
                  <a:cubicBezTo>
                    <a:pt x="1033006" y="200284"/>
                    <a:pt x="1037768" y="201951"/>
                    <a:pt x="1042531" y="206238"/>
                  </a:cubicBezTo>
                  <a:cubicBezTo>
                    <a:pt x="1037768" y="220525"/>
                    <a:pt x="1018718" y="221478"/>
                    <a:pt x="1016813" y="234813"/>
                  </a:cubicBezTo>
                  <a:cubicBezTo>
                    <a:pt x="1029196" y="212905"/>
                    <a:pt x="1052056" y="208143"/>
                    <a:pt x="1075868" y="204333"/>
                  </a:cubicBezTo>
                  <a:cubicBezTo>
                    <a:pt x="1082536" y="204333"/>
                    <a:pt x="1089203" y="204333"/>
                    <a:pt x="1095871" y="204333"/>
                  </a:cubicBezTo>
                  <a:cubicBezTo>
                    <a:pt x="1106348" y="211953"/>
                    <a:pt x="1099681" y="223383"/>
                    <a:pt x="1099681" y="232908"/>
                  </a:cubicBezTo>
                  <a:cubicBezTo>
                    <a:pt x="1112063" y="235765"/>
                    <a:pt x="1123493" y="229098"/>
                    <a:pt x="1133971" y="231003"/>
                  </a:cubicBezTo>
                  <a:cubicBezTo>
                    <a:pt x="1140638" y="231003"/>
                    <a:pt x="1146353" y="233860"/>
                    <a:pt x="1151116" y="238623"/>
                  </a:cubicBezTo>
                  <a:cubicBezTo>
                    <a:pt x="1162546" y="262435"/>
                    <a:pt x="1192073" y="265293"/>
                    <a:pt x="1205408" y="287200"/>
                  </a:cubicBezTo>
                  <a:cubicBezTo>
                    <a:pt x="1219696" y="305298"/>
                    <a:pt x="1210171" y="320538"/>
                    <a:pt x="1198741" y="334825"/>
                  </a:cubicBezTo>
                  <a:cubicBezTo>
                    <a:pt x="1205408" y="359590"/>
                    <a:pt x="1234936" y="358638"/>
                    <a:pt x="1248271" y="377688"/>
                  </a:cubicBezTo>
                  <a:cubicBezTo>
                    <a:pt x="1257796" y="391023"/>
                    <a:pt x="1257796" y="393880"/>
                    <a:pt x="1246366" y="402453"/>
                  </a:cubicBezTo>
                  <a:cubicBezTo>
                    <a:pt x="1226363" y="415788"/>
                    <a:pt x="1207313" y="445315"/>
                    <a:pt x="1187311" y="402453"/>
                  </a:cubicBezTo>
                  <a:cubicBezTo>
                    <a:pt x="1184453" y="396738"/>
                    <a:pt x="1176833" y="390070"/>
                    <a:pt x="1171118" y="396738"/>
                  </a:cubicBezTo>
                  <a:cubicBezTo>
                    <a:pt x="1161593" y="407215"/>
                    <a:pt x="1163498" y="418645"/>
                    <a:pt x="1171118" y="431028"/>
                  </a:cubicBezTo>
                  <a:cubicBezTo>
                    <a:pt x="1186358" y="457698"/>
                    <a:pt x="1180643" y="471033"/>
                    <a:pt x="1151116" y="479605"/>
                  </a:cubicBezTo>
                  <a:cubicBezTo>
                    <a:pt x="1147306" y="475795"/>
                    <a:pt x="1141591" y="474843"/>
                    <a:pt x="1136828" y="476748"/>
                  </a:cubicBezTo>
                  <a:cubicBezTo>
                    <a:pt x="1132066" y="478653"/>
                    <a:pt x="1134923" y="483415"/>
                    <a:pt x="1136828" y="487225"/>
                  </a:cubicBezTo>
                  <a:cubicBezTo>
                    <a:pt x="1135876" y="500560"/>
                    <a:pt x="1128256" y="503418"/>
                    <a:pt x="1118731" y="497703"/>
                  </a:cubicBezTo>
                  <a:cubicBezTo>
                    <a:pt x="1098728" y="487225"/>
                    <a:pt x="1074916" y="482463"/>
                    <a:pt x="1066343" y="455793"/>
                  </a:cubicBezTo>
                  <a:cubicBezTo>
                    <a:pt x="1058723" y="432933"/>
                    <a:pt x="1039673" y="427218"/>
                    <a:pt x="1016813" y="433885"/>
                  </a:cubicBezTo>
                  <a:cubicBezTo>
                    <a:pt x="1008241" y="436743"/>
                    <a:pt x="999668" y="438648"/>
                    <a:pt x="996811" y="428170"/>
                  </a:cubicBezTo>
                  <a:cubicBezTo>
                    <a:pt x="993001" y="415788"/>
                    <a:pt x="1007288" y="411025"/>
                    <a:pt x="1013003" y="411978"/>
                  </a:cubicBezTo>
                  <a:cubicBezTo>
                    <a:pt x="1055866" y="420550"/>
                    <a:pt x="1078726" y="386260"/>
                    <a:pt x="1109206" y="369115"/>
                  </a:cubicBezTo>
                  <a:cubicBezTo>
                    <a:pt x="1117778" y="343398"/>
                    <a:pt x="1089203" y="330063"/>
                    <a:pt x="1089203" y="307203"/>
                  </a:cubicBezTo>
                  <a:cubicBezTo>
                    <a:pt x="1085393" y="301488"/>
                    <a:pt x="1081583" y="296725"/>
                    <a:pt x="1077773" y="291010"/>
                  </a:cubicBezTo>
                  <a:cubicBezTo>
                    <a:pt x="1057771" y="307203"/>
                    <a:pt x="1036816" y="290058"/>
                    <a:pt x="1016813" y="292915"/>
                  </a:cubicBezTo>
                  <a:cubicBezTo>
                    <a:pt x="1012050" y="293391"/>
                    <a:pt x="1008717" y="294106"/>
                    <a:pt x="1007169" y="296011"/>
                  </a:cubicBezTo>
                  <a:lnTo>
                    <a:pt x="1007866" y="302667"/>
                  </a:lnTo>
                  <a:lnTo>
                    <a:pt x="1009193" y="303393"/>
                  </a:lnTo>
                  <a:cubicBezTo>
                    <a:pt x="1013003" y="324348"/>
                    <a:pt x="986333" y="363401"/>
                    <a:pt x="962521" y="370068"/>
                  </a:cubicBezTo>
                  <a:cubicBezTo>
                    <a:pt x="943471" y="375783"/>
                    <a:pt x="924421" y="377688"/>
                    <a:pt x="905371" y="371973"/>
                  </a:cubicBezTo>
                  <a:cubicBezTo>
                    <a:pt x="896798" y="389118"/>
                    <a:pt x="879653" y="396738"/>
                    <a:pt x="868223" y="410073"/>
                  </a:cubicBezTo>
                  <a:cubicBezTo>
                    <a:pt x="859651" y="419598"/>
                    <a:pt x="849173" y="424361"/>
                    <a:pt x="836791" y="426266"/>
                  </a:cubicBezTo>
                  <a:cubicBezTo>
                    <a:pt x="830123" y="425313"/>
                    <a:pt x="820598" y="421503"/>
                    <a:pt x="816788" y="424361"/>
                  </a:cubicBezTo>
                  <a:cubicBezTo>
                    <a:pt x="772973" y="455793"/>
                    <a:pt x="714871" y="464366"/>
                    <a:pt x="677723" y="507228"/>
                  </a:cubicBezTo>
                  <a:cubicBezTo>
                    <a:pt x="667246" y="519611"/>
                    <a:pt x="646291" y="531993"/>
                    <a:pt x="668198" y="553901"/>
                  </a:cubicBezTo>
                  <a:cubicBezTo>
                    <a:pt x="672961" y="558663"/>
                    <a:pt x="665341" y="574856"/>
                    <a:pt x="662483" y="586286"/>
                  </a:cubicBezTo>
                  <a:cubicBezTo>
                    <a:pt x="685343" y="585333"/>
                    <a:pt x="702488" y="596763"/>
                    <a:pt x="716776" y="612956"/>
                  </a:cubicBezTo>
                  <a:cubicBezTo>
                    <a:pt x="731063" y="630101"/>
                    <a:pt x="747256" y="644388"/>
                    <a:pt x="771068" y="645341"/>
                  </a:cubicBezTo>
                  <a:cubicBezTo>
                    <a:pt x="789166" y="646293"/>
                    <a:pt x="788213" y="653913"/>
                    <a:pt x="782498" y="667248"/>
                  </a:cubicBezTo>
                  <a:cubicBezTo>
                    <a:pt x="774878" y="685346"/>
                    <a:pt x="766306" y="702491"/>
                    <a:pt x="772973" y="726303"/>
                  </a:cubicBezTo>
                  <a:cubicBezTo>
                    <a:pt x="779641" y="752973"/>
                    <a:pt x="789166" y="747258"/>
                    <a:pt x="805358" y="736781"/>
                  </a:cubicBezTo>
                  <a:cubicBezTo>
                    <a:pt x="823456" y="725351"/>
                    <a:pt x="826313" y="706301"/>
                    <a:pt x="828218" y="689156"/>
                  </a:cubicBezTo>
                  <a:cubicBezTo>
                    <a:pt x="831076" y="669153"/>
                    <a:pt x="841553" y="660581"/>
                    <a:pt x="858698" y="652961"/>
                  </a:cubicBezTo>
                  <a:cubicBezTo>
                    <a:pt x="901561" y="638673"/>
                    <a:pt x="911086" y="619623"/>
                    <a:pt x="901561" y="573903"/>
                  </a:cubicBezTo>
                  <a:cubicBezTo>
                    <a:pt x="900608" y="569141"/>
                    <a:pt x="899656" y="563426"/>
                    <a:pt x="904418" y="561521"/>
                  </a:cubicBezTo>
                  <a:cubicBezTo>
                    <a:pt x="937756" y="550091"/>
                    <a:pt x="937756" y="514848"/>
                    <a:pt x="953948" y="491988"/>
                  </a:cubicBezTo>
                  <a:cubicBezTo>
                    <a:pt x="957758" y="486273"/>
                    <a:pt x="961568" y="480558"/>
                    <a:pt x="968236" y="478653"/>
                  </a:cubicBezTo>
                  <a:cubicBezTo>
                    <a:pt x="991096" y="471986"/>
                    <a:pt x="1037768" y="491036"/>
                    <a:pt x="1049198" y="512943"/>
                  </a:cubicBezTo>
                  <a:cubicBezTo>
                    <a:pt x="1061581" y="517706"/>
                    <a:pt x="1074916" y="522468"/>
                    <a:pt x="1063486" y="539613"/>
                  </a:cubicBezTo>
                  <a:cubicBezTo>
                    <a:pt x="1048246" y="555806"/>
                    <a:pt x="1052056" y="572951"/>
                    <a:pt x="1067296" y="583428"/>
                  </a:cubicBezTo>
                  <a:cubicBezTo>
                    <a:pt x="1084441" y="593906"/>
                    <a:pt x="1099681" y="578666"/>
                    <a:pt x="1112063" y="568188"/>
                  </a:cubicBezTo>
                  <a:cubicBezTo>
                    <a:pt x="1139686" y="545328"/>
                    <a:pt x="1138733" y="544376"/>
                    <a:pt x="1146353" y="580571"/>
                  </a:cubicBezTo>
                  <a:cubicBezTo>
                    <a:pt x="1149211" y="592953"/>
                    <a:pt x="1154926" y="606288"/>
                    <a:pt x="1151116" y="616766"/>
                  </a:cubicBezTo>
                  <a:cubicBezTo>
                    <a:pt x="1138733" y="656771"/>
                    <a:pt x="1163498" y="672011"/>
                    <a:pt x="1193026" y="684393"/>
                  </a:cubicBezTo>
                  <a:cubicBezTo>
                    <a:pt x="1193026" y="693918"/>
                    <a:pt x="1188501" y="696537"/>
                    <a:pt x="1182905" y="697847"/>
                  </a:cubicBezTo>
                  <a:lnTo>
                    <a:pt x="1179024" y="699159"/>
                  </a:lnTo>
                  <a:lnTo>
                    <a:pt x="1177845" y="699023"/>
                  </a:lnTo>
                  <a:cubicBezTo>
                    <a:pt x="1174214" y="699455"/>
                    <a:pt x="1170404" y="700824"/>
                    <a:pt x="1166356" y="703443"/>
                  </a:cubicBezTo>
                  <a:lnTo>
                    <a:pt x="1179024" y="699159"/>
                  </a:lnTo>
                  <a:lnTo>
                    <a:pt x="1188263" y="700229"/>
                  </a:lnTo>
                  <a:cubicBezTo>
                    <a:pt x="1194931" y="702491"/>
                    <a:pt x="1201122" y="707253"/>
                    <a:pt x="1207313" y="712016"/>
                  </a:cubicBezTo>
                  <a:cubicBezTo>
                    <a:pt x="1210647" y="727732"/>
                    <a:pt x="1209694" y="741781"/>
                    <a:pt x="1205051" y="754402"/>
                  </a:cubicBezTo>
                  <a:lnTo>
                    <a:pt x="1180854" y="787924"/>
                  </a:lnTo>
                  <a:lnTo>
                    <a:pt x="1187073" y="807504"/>
                  </a:lnTo>
                  <a:cubicBezTo>
                    <a:pt x="1190883" y="812504"/>
                    <a:pt x="1196836" y="815362"/>
                    <a:pt x="1206361" y="814886"/>
                  </a:cubicBezTo>
                  <a:cubicBezTo>
                    <a:pt x="1214934" y="814886"/>
                    <a:pt x="1223506" y="816791"/>
                    <a:pt x="1213981" y="828221"/>
                  </a:cubicBezTo>
                  <a:cubicBezTo>
                    <a:pt x="1208266" y="850128"/>
                    <a:pt x="1205409" y="874893"/>
                    <a:pt x="1172071" y="862511"/>
                  </a:cubicBezTo>
                  <a:cubicBezTo>
                    <a:pt x="1153021" y="859653"/>
                    <a:pt x="1123494" y="872036"/>
                    <a:pt x="1115874" y="854891"/>
                  </a:cubicBezTo>
                  <a:cubicBezTo>
                    <a:pt x="1109206" y="839651"/>
                    <a:pt x="1133971" y="821553"/>
                    <a:pt x="1148259" y="807266"/>
                  </a:cubicBezTo>
                  <a:cubicBezTo>
                    <a:pt x="1157784" y="799646"/>
                    <a:pt x="1159689" y="785358"/>
                    <a:pt x="1173024" y="780596"/>
                  </a:cubicBezTo>
                  <a:lnTo>
                    <a:pt x="1173125" y="780684"/>
                  </a:lnTo>
                  <a:lnTo>
                    <a:pt x="1174333" y="770475"/>
                  </a:lnTo>
                  <a:cubicBezTo>
                    <a:pt x="1173023" y="767975"/>
                    <a:pt x="1169689" y="766784"/>
                    <a:pt x="1163498" y="767261"/>
                  </a:cubicBezTo>
                  <a:cubicBezTo>
                    <a:pt x="1147306" y="769166"/>
                    <a:pt x="1137781" y="780596"/>
                    <a:pt x="1124446" y="787263"/>
                  </a:cubicBezTo>
                  <a:cubicBezTo>
                    <a:pt x="1097776" y="793931"/>
                    <a:pt x="1070153" y="791073"/>
                    <a:pt x="1043483" y="789168"/>
                  </a:cubicBezTo>
                  <a:cubicBezTo>
                    <a:pt x="1026338" y="788216"/>
                    <a:pt x="1010146" y="786311"/>
                    <a:pt x="993953" y="794883"/>
                  </a:cubicBezTo>
                  <a:cubicBezTo>
                    <a:pt x="987286" y="810123"/>
                    <a:pt x="971093" y="808218"/>
                    <a:pt x="959663" y="814886"/>
                  </a:cubicBezTo>
                  <a:cubicBezTo>
                    <a:pt x="951091" y="825363"/>
                    <a:pt x="939661" y="831078"/>
                    <a:pt x="929183" y="839651"/>
                  </a:cubicBezTo>
                  <a:lnTo>
                    <a:pt x="925100" y="843462"/>
                  </a:lnTo>
                  <a:lnTo>
                    <a:pt x="915848" y="851081"/>
                  </a:lnTo>
                  <a:cubicBezTo>
                    <a:pt x="915848" y="851081"/>
                    <a:pt x="912991" y="851081"/>
                    <a:pt x="912991" y="851081"/>
                  </a:cubicBezTo>
                  <a:cubicBezTo>
                    <a:pt x="912991" y="851081"/>
                    <a:pt x="914896" y="852986"/>
                    <a:pt x="914896" y="852986"/>
                  </a:cubicBezTo>
                  <a:lnTo>
                    <a:pt x="925100" y="843462"/>
                  </a:lnTo>
                  <a:lnTo>
                    <a:pt x="932041" y="837746"/>
                  </a:lnTo>
                  <a:cubicBezTo>
                    <a:pt x="942518" y="824411"/>
                    <a:pt x="959663" y="826316"/>
                    <a:pt x="972998" y="820601"/>
                  </a:cubicBezTo>
                  <a:cubicBezTo>
                    <a:pt x="979666" y="818696"/>
                    <a:pt x="986333" y="814886"/>
                    <a:pt x="992048" y="814886"/>
                  </a:cubicBezTo>
                  <a:cubicBezTo>
                    <a:pt x="1003478" y="813933"/>
                    <a:pt x="1017766" y="809171"/>
                    <a:pt x="1023481" y="819648"/>
                  </a:cubicBezTo>
                  <a:cubicBezTo>
                    <a:pt x="1032053" y="834888"/>
                    <a:pt x="1013003" y="835841"/>
                    <a:pt x="1005383" y="842508"/>
                  </a:cubicBezTo>
                  <a:cubicBezTo>
                    <a:pt x="1003478" y="844413"/>
                    <a:pt x="1005383" y="851081"/>
                    <a:pt x="1006336" y="854891"/>
                  </a:cubicBezTo>
                  <a:cubicBezTo>
                    <a:pt x="997763" y="866321"/>
                    <a:pt x="1011098" y="877751"/>
                    <a:pt x="1005383" y="889181"/>
                  </a:cubicBezTo>
                  <a:cubicBezTo>
                    <a:pt x="1001573" y="899658"/>
                    <a:pt x="992048" y="903468"/>
                    <a:pt x="984428" y="910136"/>
                  </a:cubicBezTo>
                  <a:cubicBezTo>
                    <a:pt x="974903" y="918708"/>
                    <a:pt x="961568" y="909183"/>
                    <a:pt x="952043" y="916803"/>
                  </a:cubicBezTo>
                  <a:cubicBezTo>
                    <a:pt x="937756" y="931091"/>
                    <a:pt x="916801" y="932043"/>
                    <a:pt x="899656" y="938711"/>
                  </a:cubicBezTo>
                  <a:cubicBezTo>
                    <a:pt x="876796" y="947283"/>
                    <a:pt x="858698" y="959666"/>
                    <a:pt x="855841" y="985383"/>
                  </a:cubicBezTo>
                  <a:cubicBezTo>
                    <a:pt x="853936" y="1001576"/>
                    <a:pt x="839648" y="1003481"/>
                    <a:pt x="831076" y="1003481"/>
                  </a:cubicBezTo>
                  <a:cubicBezTo>
                    <a:pt x="779641" y="1006338"/>
                    <a:pt x="763448" y="1048248"/>
                    <a:pt x="738683" y="1081586"/>
                  </a:cubicBezTo>
                  <a:cubicBezTo>
                    <a:pt x="708203" y="1076823"/>
                    <a:pt x="712013" y="1097778"/>
                    <a:pt x="711061" y="1115876"/>
                  </a:cubicBezTo>
                  <a:cubicBezTo>
                    <a:pt x="707251" y="1144451"/>
                    <a:pt x="692011" y="1163501"/>
                    <a:pt x="666293" y="1175883"/>
                  </a:cubicBezTo>
                  <a:cubicBezTo>
                    <a:pt x="636766" y="1191123"/>
                    <a:pt x="610096" y="1209221"/>
                    <a:pt x="585331" y="1230176"/>
                  </a:cubicBezTo>
                  <a:cubicBezTo>
                    <a:pt x="565328" y="1247320"/>
                    <a:pt x="557708" y="1270181"/>
                    <a:pt x="559613" y="1297803"/>
                  </a:cubicBezTo>
                  <a:cubicBezTo>
                    <a:pt x="561518" y="1327331"/>
                    <a:pt x="564376" y="1356858"/>
                    <a:pt x="557708" y="1386386"/>
                  </a:cubicBezTo>
                  <a:cubicBezTo>
                    <a:pt x="555803" y="1394958"/>
                    <a:pt x="551993" y="1406388"/>
                    <a:pt x="542468" y="1407341"/>
                  </a:cubicBezTo>
                  <a:cubicBezTo>
                    <a:pt x="530086" y="1409246"/>
                    <a:pt x="531038" y="1394958"/>
                    <a:pt x="528181" y="1387338"/>
                  </a:cubicBezTo>
                  <a:cubicBezTo>
                    <a:pt x="522466" y="1365431"/>
                    <a:pt x="516751" y="1344476"/>
                    <a:pt x="519608" y="1320663"/>
                  </a:cubicBezTo>
                  <a:cubicBezTo>
                    <a:pt x="521513" y="1300661"/>
                    <a:pt x="522466" y="1280658"/>
                    <a:pt x="488176" y="1283516"/>
                  </a:cubicBezTo>
                  <a:cubicBezTo>
                    <a:pt x="470078" y="1285421"/>
                    <a:pt x="452933" y="1262561"/>
                    <a:pt x="429121" y="1267323"/>
                  </a:cubicBezTo>
                  <a:cubicBezTo>
                    <a:pt x="422453" y="1268276"/>
                    <a:pt x="411023" y="1265418"/>
                    <a:pt x="409118" y="1268276"/>
                  </a:cubicBezTo>
                  <a:cubicBezTo>
                    <a:pt x="391973" y="1307328"/>
                    <a:pt x="364351" y="1288278"/>
                    <a:pt x="336728" y="1284468"/>
                  </a:cubicBezTo>
                  <a:cubicBezTo>
                    <a:pt x="279578" y="1275896"/>
                    <a:pt x="228143" y="1315901"/>
                    <a:pt x="215761" y="1373051"/>
                  </a:cubicBezTo>
                  <a:cubicBezTo>
                    <a:pt x="210998" y="1396863"/>
                    <a:pt x="193853" y="1415913"/>
                    <a:pt x="189091" y="1441631"/>
                  </a:cubicBezTo>
                  <a:cubicBezTo>
                    <a:pt x="182423" y="1476873"/>
                    <a:pt x="183376" y="1511163"/>
                    <a:pt x="196711" y="1544501"/>
                  </a:cubicBezTo>
                  <a:cubicBezTo>
                    <a:pt x="204331" y="1564503"/>
                    <a:pt x="219571" y="1574028"/>
                    <a:pt x="244336" y="1573076"/>
                  </a:cubicBezTo>
                  <a:cubicBezTo>
                    <a:pt x="284341" y="1571171"/>
                    <a:pt x="310058" y="1555931"/>
                    <a:pt x="320536" y="1514973"/>
                  </a:cubicBezTo>
                  <a:cubicBezTo>
                    <a:pt x="324346" y="1500686"/>
                    <a:pt x="374828" y="1487351"/>
                    <a:pt x="387211" y="1494971"/>
                  </a:cubicBezTo>
                  <a:cubicBezTo>
                    <a:pt x="396736" y="1500686"/>
                    <a:pt x="392926" y="1507353"/>
                    <a:pt x="389116" y="1515926"/>
                  </a:cubicBezTo>
                  <a:cubicBezTo>
                    <a:pt x="372923" y="1552121"/>
                    <a:pt x="358636" y="1589268"/>
                    <a:pt x="340538" y="1624511"/>
                  </a:cubicBezTo>
                  <a:cubicBezTo>
                    <a:pt x="329108" y="1646418"/>
                    <a:pt x="340538" y="1644513"/>
                    <a:pt x="354826" y="1644513"/>
                  </a:cubicBezTo>
                  <a:cubicBezTo>
                    <a:pt x="372923" y="1644513"/>
                    <a:pt x="391973" y="1642608"/>
                    <a:pt x="410071" y="1645466"/>
                  </a:cubicBezTo>
                  <a:cubicBezTo>
                    <a:pt x="432931" y="1649276"/>
                    <a:pt x="449123" y="1658801"/>
                    <a:pt x="439598" y="1687376"/>
                  </a:cubicBezTo>
                  <a:cubicBezTo>
                    <a:pt x="433883" y="1705473"/>
                    <a:pt x="432931" y="1725476"/>
                    <a:pt x="426263" y="1743573"/>
                  </a:cubicBezTo>
                  <a:cubicBezTo>
                    <a:pt x="414833" y="1774053"/>
                    <a:pt x="432931" y="1793103"/>
                    <a:pt x="450076" y="1813106"/>
                  </a:cubicBezTo>
                  <a:cubicBezTo>
                    <a:pt x="466268" y="1832156"/>
                    <a:pt x="483413" y="1819773"/>
                    <a:pt x="499606" y="1812153"/>
                  </a:cubicBezTo>
                  <a:cubicBezTo>
                    <a:pt x="512941" y="1806438"/>
                    <a:pt x="528181" y="1806438"/>
                    <a:pt x="536753" y="1818821"/>
                  </a:cubicBezTo>
                  <a:cubicBezTo>
                    <a:pt x="554851" y="1843586"/>
                    <a:pt x="571996" y="1829298"/>
                    <a:pt x="577711" y="1813106"/>
                  </a:cubicBezTo>
                  <a:cubicBezTo>
                    <a:pt x="591998" y="1771196"/>
                    <a:pt x="630098" y="1768338"/>
                    <a:pt x="661531" y="1754051"/>
                  </a:cubicBezTo>
                  <a:cubicBezTo>
                    <a:pt x="671056" y="1754051"/>
                    <a:pt x="673913" y="1755956"/>
                    <a:pt x="672008" y="1763576"/>
                  </a:cubicBezTo>
                  <a:cubicBezTo>
                    <a:pt x="676771" y="1783578"/>
                    <a:pt x="689153" y="1777863"/>
                    <a:pt x="695821" y="1768338"/>
                  </a:cubicBezTo>
                  <a:cubicBezTo>
                    <a:pt x="713918" y="1745478"/>
                    <a:pt x="729158" y="1761671"/>
                    <a:pt x="741541" y="1772148"/>
                  </a:cubicBezTo>
                  <a:cubicBezTo>
                    <a:pt x="769163" y="1795008"/>
                    <a:pt x="799643" y="1798818"/>
                    <a:pt x="832028" y="1788341"/>
                  </a:cubicBezTo>
                  <a:cubicBezTo>
                    <a:pt x="845363" y="1783578"/>
                    <a:pt x="854888" y="1779768"/>
                    <a:pt x="865366" y="1796913"/>
                  </a:cubicBezTo>
                  <a:cubicBezTo>
                    <a:pt x="875843" y="1814058"/>
                    <a:pt x="896798" y="1823583"/>
                    <a:pt x="910133" y="1838823"/>
                  </a:cubicBezTo>
                  <a:cubicBezTo>
                    <a:pt x="947281" y="1881686"/>
                    <a:pt x="990143" y="1906451"/>
                    <a:pt x="1047293" y="1918833"/>
                  </a:cubicBezTo>
                  <a:cubicBezTo>
                    <a:pt x="1093966" y="1928358"/>
                    <a:pt x="1124446" y="1995986"/>
                    <a:pt x="1116826" y="2036943"/>
                  </a:cubicBezTo>
                  <a:cubicBezTo>
                    <a:pt x="1113968" y="2044563"/>
                    <a:pt x="1111111" y="2051231"/>
                    <a:pt x="1106348" y="2056946"/>
                  </a:cubicBezTo>
                  <a:cubicBezTo>
                    <a:pt x="1092061" y="2071233"/>
                    <a:pt x="1112063" y="2086473"/>
                    <a:pt x="1104443" y="2099808"/>
                  </a:cubicBezTo>
                  <a:cubicBezTo>
                    <a:pt x="1110158" y="2107428"/>
                    <a:pt x="1117778" y="2102666"/>
                    <a:pt x="1124446" y="2102666"/>
                  </a:cubicBezTo>
                  <a:cubicBezTo>
                    <a:pt x="1147306" y="2095046"/>
                    <a:pt x="1161593" y="2062661"/>
                    <a:pt x="1193026" y="2077901"/>
                  </a:cubicBezTo>
                  <a:cubicBezTo>
                    <a:pt x="1225411" y="2087426"/>
                    <a:pt x="1244461" y="2125526"/>
                    <a:pt x="1280656" y="2123621"/>
                  </a:cubicBezTo>
                  <a:cubicBezTo>
                    <a:pt x="1325423" y="2121716"/>
                    <a:pt x="1360666" y="2136956"/>
                    <a:pt x="1387336" y="2172198"/>
                  </a:cubicBezTo>
                  <a:cubicBezTo>
                    <a:pt x="1398766" y="2187438"/>
                    <a:pt x="1427341" y="2172198"/>
                    <a:pt x="1434008" y="2199821"/>
                  </a:cubicBezTo>
                  <a:cubicBezTo>
                    <a:pt x="1440676" y="2228396"/>
                    <a:pt x="1444486" y="2256018"/>
                    <a:pt x="1430198" y="2282688"/>
                  </a:cubicBezTo>
                  <a:cubicBezTo>
                    <a:pt x="1413053" y="2315073"/>
                    <a:pt x="1388288" y="2341743"/>
                    <a:pt x="1370191" y="2373176"/>
                  </a:cubicBezTo>
                  <a:cubicBezTo>
                    <a:pt x="1359713" y="2391273"/>
                    <a:pt x="1356856" y="2406513"/>
                    <a:pt x="1358761" y="2423658"/>
                  </a:cubicBezTo>
                  <a:cubicBezTo>
                    <a:pt x="1366381" y="2486523"/>
                    <a:pt x="1352093" y="2544626"/>
                    <a:pt x="1327328" y="2600823"/>
                  </a:cubicBezTo>
                  <a:cubicBezTo>
                    <a:pt x="1321613" y="2612253"/>
                    <a:pt x="1313041" y="2629398"/>
                    <a:pt x="1293991" y="2626541"/>
                  </a:cubicBezTo>
                  <a:cubicBezTo>
                    <a:pt x="1261606" y="2622731"/>
                    <a:pt x="1241603" y="2647496"/>
                    <a:pt x="1218743" y="2661783"/>
                  </a:cubicBezTo>
                  <a:cubicBezTo>
                    <a:pt x="1203503" y="2671308"/>
                    <a:pt x="1187311" y="2690358"/>
                    <a:pt x="1193026" y="2710361"/>
                  </a:cubicBezTo>
                  <a:cubicBezTo>
                    <a:pt x="1205408" y="2757033"/>
                    <a:pt x="1178738" y="2793228"/>
                    <a:pt x="1164451" y="2832281"/>
                  </a:cubicBezTo>
                  <a:cubicBezTo>
                    <a:pt x="1154926" y="2859903"/>
                    <a:pt x="1136828" y="2884668"/>
                    <a:pt x="1122541" y="2910386"/>
                  </a:cubicBezTo>
                  <a:cubicBezTo>
                    <a:pt x="1116826" y="2920863"/>
                    <a:pt x="1109206" y="2929436"/>
                    <a:pt x="1095871" y="2929436"/>
                  </a:cubicBezTo>
                  <a:cubicBezTo>
                    <a:pt x="1085393" y="2920863"/>
                    <a:pt x="1072058" y="2930388"/>
                    <a:pt x="1061581" y="2922768"/>
                  </a:cubicBezTo>
                  <a:cubicBezTo>
                    <a:pt x="1053961" y="2919911"/>
                    <a:pt x="1044436" y="2911338"/>
                    <a:pt x="1047293" y="2929436"/>
                  </a:cubicBezTo>
                  <a:cubicBezTo>
                    <a:pt x="1052056" y="2938961"/>
                    <a:pt x="1062533" y="2944676"/>
                    <a:pt x="1061581" y="2956106"/>
                  </a:cubicBezTo>
                  <a:cubicBezTo>
                    <a:pt x="1055866" y="2964678"/>
                    <a:pt x="1048246" y="2962773"/>
                    <a:pt x="1040626" y="2959916"/>
                  </a:cubicBezTo>
                  <a:cubicBezTo>
                    <a:pt x="952043" y="2929436"/>
                    <a:pt x="865366" y="2895146"/>
                    <a:pt x="783451" y="2850378"/>
                  </a:cubicBezTo>
                  <a:cubicBezTo>
                    <a:pt x="762496" y="2838948"/>
                    <a:pt x="762496" y="2820851"/>
                    <a:pt x="752971" y="2805611"/>
                  </a:cubicBezTo>
                  <a:cubicBezTo>
                    <a:pt x="730111" y="2799896"/>
                    <a:pt x="738683" y="2779893"/>
                    <a:pt x="737731" y="2765606"/>
                  </a:cubicBezTo>
                  <a:cubicBezTo>
                    <a:pt x="736778" y="2697978"/>
                    <a:pt x="732968" y="2631303"/>
                    <a:pt x="721538" y="2564628"/>
                  </a:cubicBezTo>
                  <a:cubicBezTo>
                    <a:pt x="715823" y="2532243"/>
                    <a:pt x="700583" y="2503668"/>
                    <a:pt x="670103" y="2492238"/>
                  </a:cubicBezTo>
                  <a:cubicBezTo>
                    <a:pt x="596761" y="2464616"/>
                    <a:pt x="568186" y="2400798"/>
                    <a:pt x="539611" y="2337933"/>
                  </a:cubicBezTo>
                  <a:cubicBezTo>
                    <a:pt x="520561" y="2296976"/>
                    <a:pt x="502463" y="2256971"/>
                    <a:pt x="473888" y="2221728"/>
                  </a:cubicBezTo>
                  <a:cubicBezTo>
                    <a:pt x="456743" y="2200773"/>
                    <a:pt x="450076" y="2174103"/>
                    <a:pt x="468173" y="2148386"/>
                  </a:cubicBezTo>
                  <a:cubicBezTo>
                    <a:pt x="473888" y="2140766"/>
                    <a:pt x="477698" y="2133146"/>
                    <a:pt x="471983" y="2122668"/>
                  </a:cubicBezTo>
                  <a:cubicBezTo>
                    <a:pt x="452933" y="2083616"/>
                    <a:pt x="471983" y="2052183"/>
                    <a:pt x="493891" y="2021703"/>
                  </a:cubicBezTo>
                  <a:cubicBezTo>
                    <a:pt x="518656" y="1987413"/>
                    <a:pt x="546278" y="1955028"/>
                    <a:pt x="538658" y="1907403"/>
                  </a:cubicBezTo>
                  <a:cubicBezTo>
                    <a:pt x="535801" y="1889306"/>
                    <a:pt x="531991" y="1871208"/>
                    <a:pt x="524371" y="1854063"/>
                  </a:cubicBezTo>
                  <a:cubicBezTo>
                    <a:pt x="517703" y="1837871"/>
                    <a:pt x="507226" y="1834061"/>
                    <a:pt x="499606" y="1853111"/>
                  </a:cubicBezTo>
                  <a:cubicBezTo>
                    <a:pt x="489128" y="1876923"/>
                    <a:pt x="475793" y="1875018"/>
                    <a:pt x="459601" y="1860731"/>
                  </a:cubicBezTo>
                  <a:cubicBezTo>
                    <a:pt x="443408" y="1847396"/>
                    <a:pt x="425311" y="1838823"/>
                    <a:pt x="408166" y="1827393"/>
                  </a:cubicBezTo>
                  <a:cubicBezTo>
                    <a:pt x="375781" y="1806438"/>
                    <a:pt x="371971" y="1771196"/>
                    <a:pt x="354826" y="1742621"/>
                  </a:cubicBezTo>
                  <a:cubicBezTo>
                    <a:pt x="346253" y="1729286"/>
                    <a:pt x="337681" y="1720713"/>
                    <a:pt x="322441" y="1715951"/>
                  </a:cubicBezTo>
                  <a:cubicBezTo>
                    <a:pt x="289103" y="1705473"/>
                    <a:pt x="255766" y="1691186"/>
                    <a:pt x="234811" y="1658801"/>
                  </a:cubicBezTo>
                  <a:cubicBezTo>
                    <a:pt x="228143" y="1649276"/>
                    <a:pt x="218618" y="1639751"/>
                    <a:pt x="206236" y="1644513"/>
                  </a:cubicBezTo>
                  <a:cubicBezTo>
                    <a:pt x="170993" y="1656896"/>
                    <a:pt x="143371" y="1639751"/>
                    <a:pt x="116701" y="1622606"/>
                  </a:cubicBezTo>
                  <a:cubicBezTo>
                    <a:pt x="85268" y="1603556"/>
                    <a:pt x="54788" y="1583553"/>
                    <a:pt x="28118" y="1557836"/>
                  </a:cubicBezTo>
                  <a:cubicBezTo>
                    <a:pt x="11926" y="1541643"/>
                    <a:pt x="1448" y="1523546"/>
                    <a:pt x="12878" y="1499733"/>
                  </a:cubicBezTo>
                  <a:cubicBezTo>
                    <a:pt x="20498" y="1482588"/>
                    <a:pt x="16688" y="1463538"/>
                    <a:pt x="10021" y="1446393"/>
                  </a:cubicBezTo>
                  <a:cubicBezTo>
                    <a:pt x="6211" y="1434963"/>
                    <a:pt x="-1409" y="1423533"/>
                    <a:pt x="5258" y="1410198"/>
                  </a:cubicBezTo>
                  <a:cubicBezTo>
                    <a:pt x="-12839" y="1304471"/>
                    <a:pt x="19546" y="1205411"/>
                    <a:pt x="45263" y="1105398"/>
                  </a:cubicBezTo>
                  <a:cubicBezTo>
                    <a:pt x="94793" y="912993"/>
                    <a:pt x="185281" y="739638"/>
                    <a:pt x="304343" y="581523"/>
                  </a:cubicBezTo>
                  <a:cubicBezTo>
                    <a:pt x="374828" y="487226"/>
                    <a:pt x="458648" y="405311"/>
                    <a:pt x="548183" y="329111"/>
                  </a:cubicBezTo>
                  <a:cubicBezTo>
                    <a:pt x="568186" y="311966"/>
                    <a:pt x="591046" y="303393"/>
                    <a:pt x="617716" y="317681"/>
                  </a:cubicBezTo>
                  <a:cubicBezTo>
                    <a:pt x="628193" y="324348"/>
                    <a:pt x="628193" y="314823"/>
                    <a:pt x="631051" y="309108"/>
                  </a:cubicBezTo>
                  <a:cubicBezTo>
                    <a:pt x="652006" y="308156"/>
                    <a:pt x="669151" y="289106"/>
                    <a:pt x="692011" y="299583"/>
                  </a:cubicBezTo>
                  <a:cubicBezTo>
                    <a:pt x="712013" y="311966"/>
                    <a:pt x="732968" y="317681"/>
                    <a:pt x="756781" y="316728"/>
                  </a:cubicBezTo>
                  <a:cubicBezTo>
                    <a:pt x="764401" y="317681"/>
                    <a:pt x="772973" y="320538"/>
                    <a:pt x="780593" y="315776"/>
                  </a:cubicBezTo>
                  <a:cubicBezTo>
                    <a:pt x="786308" y="312918"/>
                    <a:pt x="792023" y="311966"/>
                    <a:pt x="797738" y="314823"/>
                  </a:cubicBezTo>
                  <a:cubicBezTo>
                    <a:pt x="808216" y="327206"/>
                    <a:pt x="819646" y="321491"/>
                    <a:pt x="831076" y="316728"/>
                  </a:cubicBezTo>
                  <a:cubicBezTo>
                    <a:pt x="837743" y="304346"/>
                    <a:pt x="858698" y="297678"/>
                    <a:pt x="841553" y="277676"/>
                  </a:cubicBezTo>
                  <a:cubicBezTo>
                    <a:pt x="834886" y="270056"/>
                    <a:pt x="846316" y="263388"/>
                    <a:pt x="852031" y="259578"/>
                  </a:cubicBezTo>
                  <a:cubicBezTo>
                    <a:pt x="857269" y="255768"/>
                    <a:pt x="862508" y="252434"/>
                    <a:pt x="867152" y="248624"/>
                  </a:cubicBezTo>
                  <a:lnTo>
                    <a:pt x="876026" y="238011"/>
                  </a:lnTo>
                  <a:lnTo>
                    <a:pt x="858921" y="241392"/>
                  </a:lnTo>
                  <a:cubicBezTo>
                    <a:pt x="840303" y="244874"/>
                    <a:pt x="823694" y="244338"/>
                    <a:pt x="821551" y="210048"/>
                  </a:cubicBezTo>
                  <a:cubicBezTo>
                    <a:pt x="833933" y="208143"/>
                    <a:pt x="848221" y="208143"/>
                    <a:pt x="857746" y="190998"/>
                  </a:cubicBezTo>
                  <a:cubicBezTo>
                    <a:pt x="861079" y="184807"/>
                    <a:pt x="867032" y="183378"/>
                    <a:pt x="873343" y="184331"/>
                  </a:cubicBezTo>
                  <a:close/>
                  <a:moveTo>
                    <a:pt x="798215" y="181949"/>
                  </a:moveTo>
                  <a:cubicBezTo>
                    <a:pt x="801310" y="182187"/>
                    <a:pt x="803930" y="183378"/>
                    <a:pt x="805359" y="187188"/>
                  </a:cubicBezTo>
                  <a:cubicBezTo>
                    <a:pt x="808216" y="194808"/>
                    <a:pt x="800596" y="194808"/>
                    <a:pt x="795834" y="196713"/>
                  </a:cubicBezTo>
                  <a:cubicBezTo>
                    <a:pt x="790119" y="193856"/>
                    <a:pt x="788214" y="189093"/>
                    <a:pt x="788214" y="182426"/>
                  </a:cubicBezTo>
                  <a:cubicBezTo>
                    <a:pt x="791547" y="182426"/>
                    <a:pt x="795119" y="181711"/>
                    <a:pt x="798215" y="181949"/>
                  </a:cubicBezTo>
                  <a:close/>
                  <a:moveTo>
                    <a:pt x="938708" y="121466"/>
                  </a:moveTo>
                  <a:cubicBezTo>
                    <a:pt x="943471" y="128133"/>
                    <a:pt x="953948" y="130038"/>
                    <a:pt x="952043" y="141468"/>
                  </a:cubicBezTo>
                  <a:lnTo>
                    <a:pt x="951037" y="142501"/>
                  </a:lnTo>
                  <a:lnTo>
                    <a:pt x="953949" y="140516"/>
                  </a:lnTo>
                  <a:cubicBezTo>
                    <a:pt x="952996" y="143373"/>
                    <a:pt x="952996" y="146231"/>
                    <a:pt x="952996" y="148136"/>
                  </a:cubicBezTo>
                  <a:cubicBezTo>
                    <a:pt x="952996" y="154803"/>
                    <a:pt x="952996" y="161471"/>
                    <a:pt x="952996" y="169091"/>
                  </a:cubicBezTo>
                  <a:cubicBezTo>
                    <a:pt x="949662" y="166709"/>
                    <a:pt x="947281" y="162899"/>
                    <a:pt x="944424" y="159804"/>
                  </a:cubicBezTo>
                  <a:lnTo>
                    <a:pt x="933131" y="154863"/>
                  </a:lnTo>
                  <a:lnTo>
                    <a:pt x="931088" y="155756"/>
                  </a:lnTo>
                  <a:cubicBezTo>
                    <a:pt x="931088" y="155756"/>
                    <a:pt x="930136" y="155756"/>
                    <a:pt x="930136" y="155756"/>
                  </a:cubicBezTo>
                  <a:cubicBezTo>
                    <a:pt x="925373" y="152898"/>
                    <a:pt x="906323" y="162423"/>
                    <a:pt x="918706" y="144326"/>
                  </a:cubicBezTo>
                  <a:cubicBezTo>
                    <a:pt x="923468" y="137658"/>
                    <a:pt x="931088" y="131943"/>
                    <a:pt x="931088" y="122418"/>
                  </a:cubicBezTo>
                  <a:cubicBezTo>
                    <a:pt x="934898" y="118608"/>
                    <a:pt x="936803" y="118608"/>
                    <a:pt x="938708" y="121466"/>
                  </a:cubicBezTo>
                  <a:close/>
                  <a:moveTo>
                    <a:pt x="925373" y="107178"/>
                  </a:moveTo>
                  <a:cubicBezTo>
                    <a:pt x="930136" y="111940"/>
                    <a:pt x="934898" y="116703"/>
                    <a:pt x="938708" y="121465"/>
                  </a:cubicBezTo>
                  <a:lnTo>
                    <a:pt x="935851" y="121465"/>
                  </a:lnTo>
                  <a:cubicBezTo>
                    <a:pt x="935851" y="121465"/>
                    <a:pt x="932993" y="121465"/>
                    <a:pt x="932993" y="121465"/>
                  </a:cubicBezTo>
                  <a:cubicBezTo>
                    <a:pt x="923468" y="125275"/>
                    <a:pt x="912991" y="131943"/>
                    <a:pt x="901561" y="123370"/>
                  </a:cubicBezTo>
                  <a:cubicBezTo>
                    <a:pt x="904418" y="109083"/>
                    <a:pt x="915848" y="109083"/>
                    <a:pt x="925373" y="107178"/>
                  </a:cubicBezTo>
                  <a:close/>
                  <a:moveTo>
                    <a:pt x="1021576" y="71936"/>
                  </a:moveTo>
                  <a:cubicBezTo>
                    <a:pt x="1037768" y="75746"/>
                    <a:pt x="1038721" y="87176"/>
                    <a:pt x="1031101" y="97653"/>
                  </a:cubicBezTo>
                  <a:cubicBezTo>
                    <a:pt x="1019671" y="115751"/>
                    <a:pt x="1011098" y="95748"/>
                    <a:pt x="1000621" y="92891"/>
                  </a:cubicBezTo>
                  <a:cubicBezTo>
                    <a:pt x="1002526" y="88128"/>
                    <a:pt x="1005383" y="83366"/>
                    <a:pt x="1007288" y="79556"/>
                  </a:cubicBezTo>
                  <a:cubicBezTo>
                    <a:pt x="1012051" y="76698"/>
                    <a:pt x="1016813" y="74793"/>
                    <a:pt x="1021576" y="71936"/>
                  </a:cubicBezTo>
                  <a:close/>
                  <a:moveTo>
                    <a:pt x="1113849" y="40265"/>
                  </a:moveTo>
                  <a:cubicBezTo>
                    <a:pt x="1128732" y="39074"/>
                    <a:pt x="1143972" y="42885"/>
                    <a:pt x="1159689" y="51933"/>
                  </a:cubicBezTo>
                  <a:cubicBezTo>
                    <a:pt x="1175881" y="68126"/>
                    <a:pt x="1166356" y="76698"/>
                    <a:pt x="1151116" y="84318"/>
                  </a:cubicBezTo>
                  <a:cubicBezTo>
                    <a:pt x="1137781" y="90986"/>
                    <a:pt x="1123494" y="86223"/>
                    <a:pt x="1111111" y="92891"/>
                  </a:cubicBezTo>
                  <a:cubicBezTo>
                    <a:pt x="1083489" y="98606"/>
                    <a:pt x="1067296" y="90033"/>
                    <a:pt x="1070153" y="58601"/>
                  </a:cubicBezTo>
                  <a:cubicBezTo>
                    <a:pt x="1084441" y="47647"/>
                    <a:pt x="1098967" y="41456"/>
                    <a:pt x="1113849" y="40265"/>
                  </a:cubicBezTo>
                  <a:close/>
                  <a:moveTo>
                    <a:pt x="1400760" y="96"/>
                  </a:moveTo>
                  <a:cubicBezTo>
                    <a:pt x="1426031" y="498"/>
                    <a:pt x="1451392" y="2164"/>
                    <a:pt x="1476871" y="5260"/>
                  </a:cubicBezTo>
                  <a:cubicBezTo>
                    <a:pt x="1521639" y="13833"/>
                    <a:pt x="1566406" y="14785"/>
                    <a:pt x="1611174" y="9070"/>
                  </a:cubicBezTo>
                  <a:cubicBezTo>
                    <a:pt x="1614984" y="7165"/>
                    <a:pt x="1619746" y="9070"/>
                    <a:pt x="1619746" y="17643"/>
                  </a:cubicBezTo>
                  <a:cubicBezTo>
                    <a:pt x="1631176" y="13833"/>
                    <a:pt x="1639748" y="20500"/>
                    <a:pt x="1646416" y="28120"/>
                  </a:cubicBezTo>
                  <a:cubicBezTo>
                    <a:pt x="1652131" y="36693"/>
                    <a:pt x="1659751" y="35740"/>
                    <a:pt x="1667371" y="31930"/>
                  </a:cubicBezTo>
                  <a:cubicBezTo>
                    <a:pt x="1693088" y="18119"/>
                    <a:pt x="1717377" y="11690"/>
                    <a:pt x="1742261" y="11690"/>
                  </a:cubicBezTo>
                  <a:cubicBezTo>
                    <a:pt x="1767145" y="11690"/>
                    <a:pt x="1792624" y="18119"/>
                    <a:pt x="1820723" y="30025"/>
                  </a:cubicBezTo>
                  <a:cubicBezTo>
                    <a:pt x="1845488" y="40503"/>
                    <a:pt x="1874063" y="40503"/>
                    <a:pt x="1901686" y="45265"/>
                  </a:cubicBezTo>
                  <a:cubicBezTo>
                    <a:pt x="1905496" y="54790"/>
                    <a:pt x="1888351" y="56695"/>
                    <a:pt x="1894066" y="69078"/>
                  </a:cubicBezTo>
                  <a:cubicBezTo>
                    <a:pt x="1913116" y="57648"/>
                    <a:pt x="1934071" y="52885"/>
                    <a:pt x="1955978" y="55743"/>
                  </a:cubicBezTo>
                  <a:cubicBezTo>
                    <a:pt x="1961693" y="62410"/>
                    <a:pt x="1959788" y="69078"/>
                    <a:pt x="1954073" y="71935"/>
                  </a:cubicBezTo>
                  <a:cubicBezTo>
                    <a:pt x="1939786" y="78603"/>
                    <a:pt x="1939786" y="91938"/>
                    <a:pt x="1935976" y="103368"/>
                  </a:cubicBezTo>
                  <a:cubicBezTo>
                    <a:pt x="1904543" y="124323"/>
                    <a:pt x="1914068" y="142420"/>
                    <a:pt x="1949311" y="161470"/>
                  </a:cubicBezTo>
                  <a:cubicBezTo>
                    <a:pt x="1923593" y="162423"/>
                    <a:pt x="1905496" y="153850"/>
                    <a:pt x="1894066" y="171948"/>
                  </a:cubicBezTo>
                  <a:cubicBezTo>
                    <a:pt x="1899781" y="177663"/>
                    <a:pt x="1909306" y="175758"/>
                    <a:pt x="1913116" y="183378"/>
                  </a:cubicBezTo>
                  <a:cubicBezTo>
                    <a:pt x="1917878" y="187188"/>
                    <a:pt x="1922641" y="195760"/>
                    <a:pt x="1907401" y="196713"/>
                  </a:cubicBezTo>
                  <a:cubicBezTo>
                    <a:pt x="1907401" y="221478"/>
                    <a:pt x="1903591" y="242433"/>
                    <a:pt x="1873111" y="245290"/>
                  </a:cubicBezTo>
                  <a:cubicBezTo>
                    <a:pt x="1842631" y="244338"/>
                    <a:pt x="1879778" y="263388"/>
                    <a:pt x="1866443" y="267198"/>
                  </a:cubicBezTo>
                  <a:cubicBezTo>
                    <a:pt x="1860728" y="271008"/>
                    <a:pt x="1855013" y="271960"/>
                    <a:pt x="1851203" y="270055"/>
                  </a:cubicBezTo>
                  <a:cubicBezTo>
                    <a:pt x="1860728" y="280533"/>
                    <a:pt x="1876921" y="291963"/>
                    <a:pt x="1866443" y="313870"/>
                  </a:cubicBezTo>
                  <a:cubicBezTo>
                    <a:pt x="1859776" y="319585"/>
                    <a:pt x="1852156" y="321490"/>
                    <a:pt x="1843583" y="319585"/>
                  </a:cubicBezTo>
                  <a:cubicBezTo>
                    <a:pt x="1833106" y="315775"/>
                    <a:pt x="1827391" y="307203"/>
                    <a:pt x="1819771" y="300535"/>
                  </a:cubicBezTo>
                  <a:cubicBezTo>
                    <a:pt x="1811198" y="310060"/>
                    <a:pt x="1800721" y="314823"/>
                    <a:pt x="1788338" y="313870"/>
                  </a:cubicBezTo>
                  <a:cubicBezTo>
                    <a:pt x="1791196" y="322443"/>
                    <a:pt x="1796911" y="313870"/>
                    <a:pt x="1800721" y="315775"/>
                  </a:cubicBezTo>
                  <a:cubicBezTo>
                    <a:pt x="1808341" y="314823"/>
                    <a:pt x="1815961" y="312918"/>
                    <a:pt x="1823581" y="314823"/>
                  </a:cubicBezTo>
                  <a:cubicBezTo>
                    <a:pt x="1826438" y="315775"/>
                    <a:pt x="1830248" y="316728"/>
                    <a:pt x="1833106" y="317680"/>
                  </a:cubicBezTo>
                  <a:cubicBezTo>
                    <a:pt x="1838821" y="322443"/>
                    <a:pt x="1842631" y="327205"/>
                    <a:pt x="1838821" y="334825"/>
                  </a:cubicBezTo>
                  <a:cubicBezTo>
                    <a:pt x="1800721" y="354828"/>
                    <a:pt x="1760716" y="371020"/>
                    <a:pt x="1715948" y="370068"/>
                  </a:cubicBezTo>
                  <a:cubicBezTo>
                    <a:pt x="1707376" y="370068"/>
                    <a:pt x="1695946" y="372925"/>
                    <a:pt x="1691183" y="379593"/>
                  </a:cubicBezTo>
                  <a:cubicBezTo>
                    <a:pt x="1662608" y="411025"/>
                    <a:pt x="1627366" y="425313"/>
                    <a:pt x="1586408" y="430075"/>
                  </a:cubicBezTo>
                  <a:cubicBezTo>
                    <a:pt x="1564501" y="432933"/>
                    <a:pt x="1554976" y="450078"/>
                    <a:pt x="1542593" y="468175"/>
                  </a:cubicBezTo>
                  <a:cubicBezTo>
                    <a:pt x="1522591" y="497703"/>
                    <a:pt x="1501636" y="527230"/>
                    <a:pt x="1480681" y="555805"/>
                  </a:cubicBezTo>
                  <a:cubicBezTo>
                    <a:pt x="1475918" y="562473"/>
                    <a:pt x="1469251" y="562473"/>
                    <a:pt x="1462583" y="562473"/>
                  </a:cubicBezTo>
                  <a:cubicBezTo>
                    <a:pt x="1419721" y="558663"/>
                    <a:pt x="1380668" y="507228"/>
                    <a:pt x="1385431" y="462460"/>
                  </a:cubicBezTo>
                  <a:cubicBezTo>
                    <a:pt x="1388288" y="441505"/>
                    <a:pt x="1374001" y="421503"/>
                    <a:pt x="1379716" y="398643"/>
                  </a:cubicBezTo>
                  <a:cubicBezTo>
                    <a:pt x="1387336" y="363400"/>
                    <a:pt x="1418768" y="354828"/>
                    <a:pt x="1441628" y="335778"/>
                  </a:cubicBezTo>
                  <a:cubicBezTo>
                    <a:pt x="1443533" y="331015"/>
                    <a:pt x="1445438" y="325300"/>
                    <a:pt x="1449248" y="321490"/>
                  </a:cubicBezTo>
                  <a:cubicBezTo>
                    <a:pt x="1454011" y="314823"/>
                    <a:pt x="1454963" y="306250"/>
                    <a:pt x="1461631" y="300535"/>
                  </a:cubicBezTo>
                  <a:cubicBezTo>
                    <a:pt x="1451153" y="280533"/>
                    <a:pt x="1439723" y="265293"/>
                    <a:pt x="1412101" y="280533"/>
                  </a:cubicBezTo>
                  <a:cubicBezTo>
                    <a:pt x="1425436" y="259578"/>
                    <a:pt x="1438771" y="241480"/>
                    <a:pt x="1434961" y="215763"/>
                  </a:cubicBezTo>
                  <a:cubicBezTo>
                    <a:pt x="1430198" y="178615"/>
                    <a:pt x="1409243" y="158613"/>
                    <a:pt x="1371143" y="160518"/>
                  </a:cubicBezTo>
                  <a:cubicBezTo>
                    <a:pt x="1357808" y="161470"/>
                    <a:pt x="1343521" y="159565"/>
                    <a:pt x="1331138" y="162423"/>
                  </a:cubicBezTo>
                  <a:cubicBezTo>
                    <a:pt x="1317803" y="165280"/>
                    <a:pt x="1310183" y="161470"/>
                    <a:pt x="1303516" y="150040"/>
                  </a:cubicBezTo>
                  <a:cubicBezTo>
                    <a:pt x="1296848" y="136705"/>
                    <a:pt x="1300658" y="131943"/>
                    <a:pt x="1313993" y="130038"/>
                  </a:cubicBezTo>
                  <a:cubicBezTo>
                    <a:pt x="1321613" y="129085"/>
                    <a:pt x="1316851" y="124323"/>
                    <a:pt x="1313041" y="121465"/>
                  </a:cubicBezTo>
                  <a:cubicBezTo>
                    <a:pt x="1283513" y="99558"/>
                    <a:pt x="1311136" y="99558"/>
                    <a:pt x="1323518" y="96700"/>
                  </a:cubicBezTo>
                  <a:cubicBezTo>
                    <a:pt x="1344473" y="92890"/>
                    <a:pt x="1365428" y="88128"/>
                    <a:pt x="1387336" y="88128"/>
                  </a:cubicBezTo>
                  <a:cubicBezTo>
                    <a:pt x="1399718" y="88128"/>
                    <a:pt x="1414006" y="81460"/>
                    <a:pt x="1394003" y="68125"/>
                  </a:cubicBezTo>
                  <a:cubicBezTo>
                    <a:pt x="1402576" y="42408"/>
                    <a:pt x="1427341" y="49075"/>
                    <a:pt x="1445438" y="41455"/>
                  </a:cubicBezTo>
                  <a:lnTo>
                    <a:pt x="1471104" y="35589"/>
                  </a:lnTo>
                  <a:lnTo>
                    <a:pt x="1469608" y="35026"/>
                  </a:lnTo>
                  <a:cubicBezTo>
                    <a:pt x="1465441" y="34550"/>
                    <a:pt x="1461155" y="34788"/>
                    <a:pt x="1456869" y="34788"/>
                  </a:cubicBezTo>
                  <a:cubicBezTo>
                    <a:pt x="1424484" y="38598"/>
                    <a:pt x="1396861" y="56695"/>
                    <a:pt x="1365429" y="60505"/>
                  </a:cubicBezTo>
                  <a:cubicBezTo>
                    <a:pt x="1307326" y="66220"/>
                    <a:pt x="1264464" y="112893"/>
                    <a:pt x="1208266" y="122418"/>
                  </a:cubicBezTo>
                  <a:cubicBezTo>
                    <a:pt x="1196836" y="130038"/>
                    <a:pt x="1186359" y="129085"/>
                    <a:pt x="1175881" y="122418"/>
                  </a:cubicBezTo>
                  <a:cubicBezTo>
                    <a:pt x="1178739" y="129085"/>
                    <a:pt x="1197789" y="127180"/>
                    <a:pt x="1187311" y="142420"/>
                  </a:cubicBezTo>
                  <a:cubicBezTo>
                    <a:pt x="1185406" y="144325"/>
                    <a:pt x="1182549" y="146230"/>
                    <a:pt x="1180644" y="149088"/>
                  </a:cubicBezTo>
                  <a:cubicBezTo>
                    <a:pt x="1173262" y="152183"/>
                    <a:pt x="1165939" y="153434"/>
                    <a:pt x="1158647" y="153642"/>
                  </a:cubicBezTo>
                  <a:lnTo>
                    <a:pt x="1143520" y="152466"/>
                  </a:lnTo>
                  <a:lnTo>
                    <a:pt x="1148259" y="153731"/>
                  </a:lnTo>
                  <a:cubicBezTo>
                    <a:pt x="1153498" y="157422"/>
                    <a:pt x="1155879" y="163851"/>
                    <a:pt x="1152069" y="175758"/>
                  </a:cubicBezTo>
                  <a:cubicBezTo>
                    <a:pt x="1112064" y="198618"/>
                    <a:pt x="1069201" y="175758"/>
                    <a:pt x="1029196" y="182425"/>
                  </a:cubicBezTo>
                  <a:cubicBezTo>
                    <a:pt x="1020624" y="171948"/>
                    <a:pt x="980619" y="182425"/>
                    <a:pt x="1006336" y="148135"/>
                  </a:cubicBezTo>
                  <a:cubicBezTo>
                    <a:pt x="1011099" y="141468"/>
                    <a:pt x="1003479" y="136705"/>
                    <a:pt x="995859" y="134800"/>
                  </a:cubicBezTo>
                  <a:cubicBezTo>
                    <a:pt x="984429" y="131943"/>
                    <a:pt x="981571" y="125275"/>
                    <a:pt x="987286" y="114798"/>
                  </a:cubicBezTo>
                  <a:cubicBezTo>
                    <a:pt x="1010146" y="115750"/>
                    <a:pt x="1027291" y="130990"/>
                    <a:pt x="1049199" y="134800"/>
                  </a:cubicBezTo>
                  <a:cubicBezTo>
                    <a:pt x="1053009" y="140515"/>
                    <a:pt x="1055866" y="147183"/>
                    <a:pt x="1064439" y="149088"/>
                  </a:cubicBezTo>
                  <a:cubicBezTo>
                    <a:pt x="1074916" y="150993"/>
                    <a:pt x="1085394" y="150278"/>
                    <a:pt x="1095871" y="149326"/>
                  </a:cubicBezTo>
                  <a:lnTo>
                    <a:pt x="1106484" y="148924"/>
                  </a:lnTo>
                  <a:lnTo>
                    <a:pt x="1093014" y="149088"/>
                  </a:lnTo>
                  <a:cubicBezTo>
                    <a:pt x="1081584" y="144325"/>
                    <a:pt x="1067296" y="146230"/>
                    <a:pt x="1062534" y="131943"/>
                  </a:cubicBezTo>
                  <a:cubicBezTo>
                    <a:pt x="1083489" y="115750"/>
                    <a:pt x="1102539" y="93843"/>
                    <a:pt x="1133971" y="110988"/>
                  </a:cubicBezTo>
                  <a:cubicBezTo>
                    <a:pt x="1150164" y="112893"/>
                    <a:pt x="1147306" y="91938"/>
                    <a:pt x="1158736" y="88128"/>
                  </a:cubicBezTo>
                  <a:cubicBezTo>
                    <a:pt x="1164451" y="84318"/>
                    <a:pt x="1172071" y="81460"/>
                    <a:pt x="1173024" y="73840"/>
                  </a:cubicBezTo>
                  <a:cubicBezTo>
                    <a:pt x="1176834" y="44313"/>
                    <a:pt x="1193979" y="46218"/>
                    <a:pt x="1214934" y="54790"/>
                  </a:cubicBezTo>
                  <a:cubicBezTo>
                    <a:pt x="1234936" y="51933"/>
                    <a:pt x="1254939" y="44313"/>
                    <a:pt x="1275894" y="44313"/>
                  </a:cubicBezTo>
                  <a:cubicBezTo>
                    <a:pt x="1253986" y="44313"/>
                    <a:pt x="1233031" y="51933"/>
                    <a:pt x="1211124" y="51933"/>
                  </a:cubicBezTo>
                  <a:cubicBezTo>
                    <a:pt x="1199694" y="46218"/>
                    <a:pt x="1184454" y="50028"/>
                    <a:pt x="1174929" y="39550"/>
                  </a:cubicBezTo>
                  <a:cubicBezTo>
                    <a:pt x="1174929" y="34788"/>
                    <a:pt x="1174929" y="30978"/>
                    <a:pt x="1174929" y="26215"/>
                  </a:cubicBezTo>
                  <a:cubicBezTo>
                    <a:pt x="1249938" y="9070"/>
                    <a:pt x="1324947" y="-1110"/>
                    <a:pt x="1400760" y="96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AA4C02D2-1323-4473-9FA1-F843E5BAA1F0}"/>
              </a:ext>
            </a:extLst>
          </p:cNvPr>
          <p:cNvSpPr txBox="1"/>
          <p:nvPr/>
        </p:nvSpPr>
        <p:spPr>
          <a:xfrm>
            <a:off x="6261652" y="3818248"/>
            <a:ext cx="593034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altLang="ko-KR" sz="5400" b="1" i="0" u="none" strike="noStrike" kern="1200" cap="none" spc="0" normalizeH="0" baseline="0" noProof="0" dirty="0">
                <a:ln>
                  <a:noFill/>
                </a:ln>
                <a:solidFill>
                  <a:srgbClr val="394C79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rPr>
              <a:t>PENGANTA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1CE7A2F-A3EE-49C0-92BC-9041F9E4725C}"/>
              </a:ext>
            </a:extLst>
          </p:cNvPr>
          <p:cNvGrpSpPr/>
          <p:nvPr/>
        </p:nvGrpSpPr>
        <p:grpSpPr>
          <a:xfrm>
            <a:off x="7382430" y="1660776"/>
            <a:ext cx="2036992" cy="690412"/>
            <a:chOff x="363148" y="262896"/>
            <a:chExt cx="2965370" cy="1005075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BFB1113-EFEB-4E0E-A714-4AF331FB6FFA}"/>
                </a:ext>
              </a:extLst>
            </p:cNvPr>
            <p:cNvSpPr/>
            <p:nvPr/>
          </p:nvSpPr>
          <p:spPr>
            <a:xfrm>
              <a:off x="2209270" y="455209"/>
              <a:ext cx="637492" cy="358684"/>
            </a:xfrm>
            <a:custGeom>
              <a:avLst/>
              <a:gdLst>
                <a:gd name="connsiteX0" fmla="*/ 363745 w 1020075"/>
                <a:gd name="connsiteY0" fmla="*/ 0 h 573944"/>
                <a:gd name="connsiteX1" fmla="*/ 1020075 w 1020075"/>
                <a:gd name="connsiteY1" fmla="*/ 569873 h 573944"/>
                <a:gd name="connsiteX2" fmla="*/ 1012022 w 1020075"/>
                <a:gd name="connsiteY2" fmla="*/ 573944 h 573944"/>
                <a:gd name="connsiteX3" fmla="*/ 367771 w 1020075"/>
                <a:gd name="connsiteY3" fmla="*/ 48846 h 573944"/>
                <a:gd name="connsiteX4" fmla="*/ 152979 w 1020075"/>
                <a:gd name="connsiteY4" fmla="*/ 212429 h 573944"/>
                <a:gd name="connsiteX5" fmla="*/ 0 w 1020075"/>
                <a:gd name="connsiteY5" fmla="*/ 80959 h 573944"/>
                <a:gd name="connsiteX6" fmla="*/ 89938 w 1020075"/>
                <a:gd name="connsiteY6" fmla="*/ 8141 h 57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075" h="573944">
                  <a:moveTo>
                    <a:pt x="363745" y="0"/>
                  </a:moveTo>
                  <a:lnTo>
                    <a:pt x="1020075" y="569873"/>
                  </a:lnTo>
                  <a:lnTo>
                    <a:pt x="1012022" y="573944"/>
                  </a:lnTo>
                  <a:lnTo>
                    <a:pt x="367771" y="48846"/>
                  </a:lnTo>
                  <a:lnTo>
                    <a:pt x="152979" y="212429"/>
                  </a:lnTo>
                  <a:lnTo>
                    <a:pt x="0" y="80959"/>
                  </a:lnTo>
                  <a:lnTo>
                    <a:pt x="89938" y="814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0564D58-4A13-4335-B68C-B4F231AD6AD5}"/>
                </a:ext>
              </a:extLst>
            </p:cNvPr>
            <p:cNvSpPr/>
            <p:nvPr/>
          </p:nvSpPr>
          <p:spPr>
            <a:xfrm>
              <a:off x="363148" y="262896"/>
              <a:ext cx="2483614" cy="989049"/>
            </a:xfrm>
            <a:custGeom>
              <a:avLst/>
              <a:gdLst>
                <a:gd name="connsiteX0" fmla="*/ 0 w 3974123"/>
                <a:gd name="connsiteY0" fmla="*/ 1573823 h 1582615"/>
                <a:gd name="connsiteX1" fmla="*/ 589084 w 3974123"/>
                <a:gd name="connsiteY1" fmla="*/ 1582615 h 1582615"/>
                <a:gd name="connsiteX2" fmla="*/ 2549769 w 3974123"/>
                <a:gd name="connsiteY2" fmla="*/ 105507 h 1582615"/>
                <a:gd name="connsiteX3" fmla="*/ 3956538 w 3974123"/>
                <a:gd name="connsiteY3" fmla="*/ 1239715 h 1582615"/>
                <a:gd name="connsiteX4" fmla="*/ 3974123 w 3974123"/>
                <a:gd name="connsiteY4" fmla="*/ 1230923 h 1582615"/>
                <a:gd name="connsiteX5" fmla="*/ 2540977 w 3974123"/>
                <a:gd name="connsiteY5" fmla="*/ 0 h 1582615"/>
                <a:gd name="connsiteX6" fmla="*/ 1943100 w 3974123"/>
                <a:gd name="connsiteY6" fmla="*/ 17584 h 1582615"/>
                <a:gd name="connsiteX7" fmla="*/ 0 w 3974123"/>
                <a:gd name="connsiteY7" fmla="*/ 1573823 h 158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74123" h="1582615">
                  <a:moveTo>
                    <a:pt x="0" y="1573823"/>
                  </a:moveTo>
                  <a:lnTo>
                    <a:pt x="589084" y="1582615"/>
                  </a:lnTo>
                  <a:lnTo>
                    <a:pt x="2549769" y="105507"/>
                  </a:lnTo>
                  <a:lnTo>
                    <a:pt x="3956538" y="1239715"/>
                  </a:lnTo>
                  <a:lnTo>
                    <a:pt x="3974123" y="1230923"/>
                  </a:lnTo>
                  <a:lnTo>
                    <a:pt x="2540977" y="0"/>
                  </a:lnTo>
                  <a:lnTo>
                    <a:pt x="1943100" y="17584"/>
                  </a:lnTo>
                  <a:lnTo>
                    <a:pt x="0" y="1573823"/>
                  </a:lnTo>
                  <a:close/>
                </a:path>
              </a:pathLst>
            </a:custGeom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D6A9017-82BA-413D-BD13-CBAB41C0B0A1}"/>
                </a:ext>
              </a:extLst>
            </p:cNvPr>
            <p:cNvGrpSpPr/>
            <p:nvPr/>
          </p:nvGrpSpPr>
          <p:grpSpPr>
            <a:xfrm>
              <a:off x="1753312" y="822441"/>
              <a:ext cx="388293" cy="397909"/>
              <a:chOff x="4985238" y="2460380"/>
              <a:chExt cx="621322" cy="636709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3C03C-FF88-42AC-A93E-610DC210DC0E}"/>
                  </a:ext>
                </a:extLst>
              </p:cNvPr>
              <p:cNvSpPr/>
              <p:nvPr/>
            </p:nvSpPr>
            <p:spPr>
              <a:xfrm>
                <a:off x="4985238" y="2460380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B17DBED-DE50-4C89-8615-B31F7EFF769F}"/>
                  </a:ext>
                </a:extLst>
              </p:cNvPr>
              <p:cNvSpPr/>
              <p:nvPr/>
            </p:nvSpPr>
            <p:spPr>
              <a:xfrm>
                <a:off x="5316414" y="2460380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AB543183-7CC4-420D-8ECC-3B2955A898CF}"/>
                  </a:ext>
                </a:extLst>
              </p:cNvPr>
              <p:cNvSpPr/>
              <p:nvPr/>
            </p:nvSpPr>
            <p:spPr>
              <a:xfrm>
                <a:off x="4985238" y="2806943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1ABEB01-8BA0-4C10-A435-1C39BEAE9B34}"/>
                  </a:ext>
                </a:extLst>
              </p:cNvPr>
              <p:cNvSpPr/>
              <p:nvPr/>
            </p:nvSpPr>
            <p:spPr>
              <a:xfrm>
                <a:off x="5316414" y="2806943"/>
                <a:ext cx="290146" cy="2901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4F13BF1-7DAF-4E1A-97B5-4D8406B79209}"/>
                </a:ext>
              </a:extLst>
            </p:cNvPr>
            <p:cNvSpPr/>
            <p:nvPr/>
          </p:nvSpPr>
          <p:spPr>
            <a:xfrm>
              <a:off x="2269816" y="810077"/>
              <a:ext cx="1058702" cy="457894"/>
            </a:xfrm>
            <a:custGeom>
              <a:avLst/>
              <a:gdLst>
                <a:gd name="connsiteX0" fmla="*/ 0 w 3974123"/>
                <a:gd name="connsiteY0" fmla="*/ 1573823 h 1582615"/>
                <a:gd name="connsiteX1" fmla="*/ 589084 w 3974123"/>
                <a:gd name="connsiteY1" fmla="*/ 1582615 h 1582615"/>
                <a:gd name="connsiteX2" fmla="*/ 2549769 w 3974123"/>
                <a:gd name="connsiteY2" fmla="*/ 105507 h 1582615"/>
                <a:gd name="connsiteX3" fmla="*/ 3956538 w 3974123"/>
                <a:gd name="connsiteY3" fmla="*/ 1239715 h 1582615"/>
                <a:gd name="connsiteX4" fmla="*/ 3974123 w 3974123"/>
                <a:gd name="connsiteY4" fmla="*/ 1230923 h 1582615"/>
                <a:gd name="connsiteX5" fmla="*/ 2540977 w 3974123"/>
                <a:gd name="connsiteY5" fmla="*/ 0 h 1582615"/>
                <a:gd name="connsiteX6" fmla="*/ 1943100 w 3974123"/>
                <a:gd name="connsiteY6" fmla="*/ 17584 h 1582615"/>
                <a:gd name="connsiteX7" fmla="*/ 0 w 3974123"/>
                <a:gd name="connsiteY7" fmla="*/ 1573823 h 1582615"/>
                <a:gd name="connsiteX0" fmla="*/ 0 w 4302051"/>
                <a:gd name="connsiteY0" fmla="*/ 1573823 h 1582615"/>
                <a:gd name="connsiteX1" fmla="*/ 589084 w 4302051"/>
                <a:gd name="connsiteY1" fmla="*/ 1582615 h 1582615"/>
                <a:gd name="connsiteX2" fmla="*/ 2549769 w 4302051"/>
                <a:gd name="connsiteY2" fmla="*/ 105507 h 1582615"/>
                <a:gd name="connsiteX3" fmla="*/ 3956538 w 4302051"/>
                <a:gd name="connsiteY3" fmla="*/ 1239715 h 1582615"/>
                <a:gd name="connsiteX4" fmla="*/ 4302051 w 4302051"/>
                <a:gd name="connsiteY4" fmla="*/ 1515805 h 1582615"/>
                <a:gd name="connsiteX5" fmla="*/ 2540977 w 4302051"/>
                <a:gd name="connsiteY5" fmla="*/ 0 h 1582615"/>
                <a:gd name="connsiteX6" fmla="*/ 1943100 w 4302051"/>
                <a:gd name="connsiteY6" fmla="*/ 17584 h 1582615"/>
                <a:gd name="connsiteX7" fmla="*/ 0 w 4302051"/>
                <a:gd name="connsiteY7" fmla="*/ 1573823 h 1582615"/>
                <a:gd name="connsiteX0" fmla="*/ 0 w 4347933"/>
                <a:gd name="connsiteY0" fmla="*/ 1573823 h 1582615"/>
                <a:gd name="connsiteX1" fmla="*/ 589084 w 4347933"/>
                <a:gd name="connsiteY1" fmla="*/ 1582615 h 1582615"/>
                <a:gd name="connsiteX2" fmla="*/ 2549769 w 4347933"/>
                <a:gd name="connsiteY2" fmla="*/ 105507 h 1582615"/>
                <a:gd name="connsiteX3" fmla="*/ 4347933 w 4347933"/>
                <a:gd name="connsiteY3" fmla="*/ 1578018 h 1582615"/>
                <a:gd name="connsiteX4" fmla="*/ 4302051 w 4347933"/>
                <a:gd name="connsiteY4" fmla="*/ 1515805 h 1582615"/>
                <a:gd name="connsiteX5" fmla="*/ 2540977 w 4347933"/>
                <a:gd name="connsiteY5" fmla="*/ 0 h 1582615"/>
                <a:gd name="connsiteX6" fmla="*/ 1943100 w 4347933"/>
                <a:gd name="connsiteY6" fmla="*/ 17584 h 1582615"/>
                <a:gd name="connsiteX7" fmla="*/ 0 w 4347933"/>
                <a:gd name="connsiteY7" fmla="*/ 1573823 h 158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47933" h="1582615">
                  <a:moveTo>
                    <a:pt x="0" y="1573823"/>
                  </a:moveTo>
                  <a:lnTo>
                    <a:pt x="589084" y="1582615"/>
                  </a:lnTo>
                  <a:lnTo>
                    <a:pt x="2549769" y="105507"/>
                  </a:lnTo>
                  <a:lnTo>
                    <a:pt x="4347933" y="1578018"/>
                  </a:lnTo>
                  <a:lnTo>
                    <a:pt x="4302051" y="1515805"/>
                  </a:lnTo>
                  <a:lnTo>
                    <a:pt x="2540977" y="0"/>
                  </a:lnTo>
                  <a:lnTo>
                    <a:pt x="1943100" y="17584"/>
                  </a:lnTo>
                  <a:lnTo>
                    <a:pt x="0" y="157382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3AF086F9-0820-4AF3-A6D2-5D889C0FA826}"/>
              </a:ext>
            </a:extLst>
          </p:cNvPr>
          <p:cNvSpPr/>
          <p:nvPr/>
        </p:nvSpPr>
        <p:spPr>
          <a:xfrm>
            <a:off x="0" y="5622579"/>
            <a:ext cx="1439694" cy="1249894"/>
          </a:xfrm>
          <a:prstGeom prst="rect">
            <a:avLst/>
          </a:prstGeom>
          <a:solidFill>
            <a:srgbClr val="FAC72D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2FA14E-C0DC-4389-B9D0-F0A1AED9429E}"/>
              </a:ext>
            </a:extLst>
          </p:cNvPr>
          <p:cNvSpPr/>
          <p:nvPr/>
        </p:nvSpPr>
        <p:spPr>
          <a:xfrm>
            <a:off x="1439694" y="6245819"/>
            <a:ext cx="10752158" cy="612181"/>
          </a:xfrm>
          <a:prstGeom prst="rect">
            <a:avLst/>
          </a:prstGeom>
          <a:solidFill>
            <a:srgbClr val="3A4C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Google Shape;94;p13">
            <a:extLst>
              <a:ext uri="{FF2B5EF4-FFF2-40B4-BE49-F238E27FC236}">
                <a16:creationId xmlns:a16="http://schemas.microsoft.com/office/drawing/2014/main" id="{3A7D1E4C-507D-6365-8B1A-B27B6E6032E7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72601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0140069" y="6354866"/>
            <a:ext cx="543421" cy="365125"/>
          </a:xfrm>
        </p:spPr>
        <p:txBody>
          <a:bodyPr/>
          <a:lstStyle/>
          <a:p>
            <a:pPr algn="ctr">
              <a:defRPr/>
            </a:pPr>
            <a:r>
              <a:rPr lang="en-ID" sz="975" b="1" dirty="0">
                <a:solidFill>
                  <a:prstClr val="white"/>
                </a:solidFill>
                <a:latin typeface="Impact" charset="0"/>
                <a:ea typeface="Impact" charset="0"/>
                <a:cs typeface="Impact" charset="0"/>
              </a:rPr>
              <a:t>#</a:t>
            </a:r>
            <a:fld id="{BC5A0E4C-AEED-4EAC-B96D-5DCBA748C5AA}" type="slidenum">
              <a:rPr lang="en-ID" sz="975" b="1">
                <a:solidFill>
                  <a:prstClr val="white"/>
                </a:solidFill>
                <a:latin typeface="Impact" charset="0"/>
                <a:ea typeface="Impact" charset="0"/>
                <a:cs typeface="Impact" charset="0"/>
              </a:rPr>
              <a:pPr algn="ctr">
                <a:defRPr/>
              </a:pPr>
              <a:t>30</a:t>
            </a:fld>
            <a:endParaRPr lang="en-ID" sz="975" b="1" dirty="0">
              <a:solidFill>
                <a:prstClr val="white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BA314B3A-DAFD-49F4-BC49-2E2A632A5DE4}"/>
              </a:ext>
            </a:extLst>
          </p:cNvPr>
          <p:cNvSpPr txBox="1">
            <a:spLocks/>
          </p:cNvSpPr>
          <p:nvPr/>
        </p:nvSpPr>
        <p:spPr>
          <a:xfrm>
            <a:off x="2656523" y="264820"/>
            <a:ext cx="6946326" cy="5748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3200" b="1" dirty="0">
                <a:solidFill>
                  <a:srgbClr val="354878"/>
                </a:solidFill>
                <a:latin typeface="Century Gothic" panose="020B0502020202020204" pitchFamily="34" charset="0"/>
              </a:rPr>
              <a:t>ALUR PERMOHONAN LISENSI LSBU </a:t>
            </a:r>
          </a:p>
        </p:txBody>
      </p:sp>
      <p:sp>
        <p:nvSpPr>
          <p:cNvPr id="82" name="Slide Number Placeholder 2">
            <a:extLst>
              <a:ext uri="{FF2B5EF4-FFF2-40B4-BE49-F238E27FC236}">
                <a16:creationId xmlns:a16="http://schemas.microsoft.com/office/drawing/2014/main" id="{0DAD2E54-3778-E718-1D51-94BBB69F071B}"/>
              </a:ext>
            </a:extLst>
          </p:cNvPr>
          <p:cNvSpPr txBox="1">
            <a:spLocks/>
          </p:cNvSpPr>
          <p:nvPr/>
        </p:nvSpPr>
        <p:spPr>
          <a:xfrm>
            <a:off x="10797768" y="6368537"/>
            <a:ext cx="5434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ID" sz="975" b="1" dirty="0">
                <a:solidFill>
                  <a:prstClr val="white"/>
                </a:solidFill>
                <a:latin typeface="Impact" charset="0"/>
                <a:ea typeface="Impact" charset="0"/>
                <a:cs typeface="Impact" charset="0"/>
              </a:rPr>
              <a:t>#</a:t>
            </a:r>
            <a:fld id="{BC5A0E4C-AEED-4EAC-B96D-5DCBA748C5AA}" type="slidenum">
              <a:rPr lang="en-ID" sz="975" b="1" smtClean="0">
                <a:solidFill>
                  <a:prstClr val="white"/>
                </a:solidFill>
                <a:latin typeface="Impact" charset="0"/>
                <a:ea typeface="Impact" charset="0"/>
                <a:cs typeface="Impact" charset="0"/>
              </a:rPr>
              <a:pPr algn="ctr">
                <a:defRPr/>
              </a:pPr>
              <a:t>30</a:t>
            </a:fld>
            <a:endParaRPr lang="en-ID" sz="975" b="1" dirty="0">
              <a:solidFill>
                <a:prstClr val="white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6C03E9C5-CDAA-ACD2-B5D7-84C5021CC972}"/>
              </a:ext>
            </a:extLst>
          </p:cNvPr>
          <p:cNvSpPr/>
          <p:nvPr/>
        </p:nvSpPr>
        <p:spPr>
          <a:xfrm>
            <a:off x="100076" y="1029656"/>
            <a:ext cx="1427590" cy="1340426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20" name="Panah: Kanan 10">
            <a:extLst>
              <a:ext uri="{FF2B5EF4-FFF2-40B4-BE49-F238E27FC236}">
                <a16:creationId xmlns:a16="http://schemas.microsoft.com/office/drawing/2014/main" id="{3717378B-0E28-7B53-51E5-38CDC1EB99EF}"/>
              </a:ext>
            </a:extLst>
          </p:cNvPr>
          <p:cNvSpPr/>
          <p:nvPr/>
        </p:nvSpPr>
        <p:spPr>
          <a:xfrm>
            <a:off x="1666085" y="1470624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FA264355-98A2-DB3F-94FB-7CCB79500797}"/>
              </a:ext>
            </a:extLst>
          </p:cNvPr>
          <p:cNvSpPr/>
          <p:nvPr/>
        </p:nvSpPr>
        <p:spPr>
          <a:xfrm>
            <a:off x="2279672" y="1051166"/>
            <a:ext cx="1246060" cy="1277377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122" name="Gambar 9">
            <a:extLst>
              <a:ext uri="{FF2B5EF4-FFF2-40B4-BE49-F238E27FC236}">
                <a16:creationId xmlns:a16="http://schemas.microsoft.com/office/drawing/2014/main" id="{3162D9C5-8E44-3145-F6AD-346B483FE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13" y="1293195"/>
            <a:ext cx="623887" cy="833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14" descr="Animasi Komputer - LINTAS MATERI">
            <a:extLst>
              <a:ext uri="{FF2B5EF4-FFF2-40B4-BE49-F238E27FC236}">
                <a16:creationId xmlns:a16="http://schemas.microsoft.com/office/drawing/2014/main" id="{D336E31C-FC9D-AF10-B50D-341A96B8D8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902" y="1343202"/>
            <a:ext cx="735013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Persegi Panjang 53">
            <a:extLst>
              <a:ext uri="{FF2B5EF4-FFF2-40B4-BE49-F238E27FC236}">
                <a16:creationId xmlns:a16="http://schemas.microsoft.com/office/drawing/2014/main" id="{B35F82BB-0742-15D9-40CB-4CCB06680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3886" y="2199286"/>
            <a:ext cx="1547886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daftar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SS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gi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daftaran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0E296481-576A-0492-0C8E-A9B0D686FFE2}"/>
              </a:ext>
            </a:extLst>
          </p:cNvPr>
          <p:cNvSpPr/>
          <p:nvPr/>
        </p:nvSpPr>
        <p:spPr>
          <a:xfrm>
            <a:off x="4224115" y="1029124"/>
            <a:ext cx="1232534" cy="1268292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127" name="Picture 16" descr="105 mengetik clipart gratis | Domain publik vektor">
            <a:extLst>
              <a:ext uri="{FF2B5EF4-FFF2-40B4-BE49-F238E27FC236}">
                <a16:creationId xmlns:a16="http://schemas.microsoft.com/office/drawing/2014/main" id="{EE114D93-015F-E02E-E770-83068325F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2908" y="1368568"/>
            <a:ext cx="719137" cy="588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" name="Persegi Panjang 59">
            <a:extLst>
              <a:ext uri="{FF2B5EF4-FFF2-40B4-BE49-F238E27FC236}">
                <a16:creationId xmlns:a16="http://schemas.microsoft.com/office/drawing/2014/main" id="{FA75BE38-C5A4-802C-1F71-E7D0481169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7226" y="2171083"/>
            <a:ext cx="1653034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gisi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ta usaha dan melakukan validasi risiko (KBLI 71201)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086403C5-B1B0-5A21-F753-7F5E10FE181D}"/>
              </a:ext>
            </a:extLst>
          </p:cNvPr>
          <p:cNvSpPr/>
          <p:nvPr/>
        </p:nvSpPr>
        <p:spPr>
          <a:xfrm>
            <a:off x="6129686" y="1049431"/>
            <a:ext cx="1206386" cy="1247985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31" name="Persegi Panjang 63">
            <a:extLst>
              <a:ext uri="{FF2B5EF4-FFF2-40B4-BE49-F238E27FC236}">
                <a16:creationId xmlns:a16="http://schemas.microsoft.com/office/drawing/2014/main" id="{6671566C-DD49-B19A-46BD-55F6FB9CB0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3562" y="2253541"/>
            <a:ext cx="2055489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yata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etuju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sanggup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menuh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yarat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wajib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izin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usaha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F3C1FEAE-5D6A-F2B8-3B82-8263EBF6D4B3}"/>
              </a:ext>
            </a:extLst>
          </p:cNvPr>
          <p:cNvSpPr/>
          <p:nvPr/>
        </p:nvSpPr>
        <p:spPr>
          <a:xfrm>
            <a:off x="7954169" y="1067333"/>
            <a:ext cx="1367482" cy="123008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34" name="Persegi Panjang 66">
            <a:extLst>
              <a:ext uri="{FF2B5EF4-FFF2-40B4-BE49-F238E27FC236}">
                <a16:creationId xmlns:a16="http://schemas.microsoft.com/office/drawing/2014/main" id="{7B71CB18-BBA7-81E8-D557-C19DB9EAF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0523" y="2340569"/>
            <a:ext cx="1916393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SS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laku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ida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ara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tomatis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abila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dak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ngkap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laku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aha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gi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mbali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CA23B49A-20C9-C0CB-E651-D15F161E08CC}"/>
              </a:ext>
            </a:extLst>
          </p:cNvPr>
          <p:cNvSpPr/>
          <p:nvPr/>
        </p:nvSpPr>
        <p:spPr>
          <a:xfrm>
            <a:off x="10072677" y="3697747"/>
            <a:ext cx="1396570" cy="1344031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36" name="Persegi Panjang 71">
            <a:extLst>
              <a:ext uri="{FF2B5EF4-FFF2-40B4-BE49-F238E27FC236}">
                <a16:creationId xmlns:a16="http://schemas.microsoft.com/office/drawing/2014/main" id="{C5CBD0CE-2806-BF3A-7E18-1A26F4F23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6204" y="5064012"/>
            <a:ext cx="210312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mengisi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 data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persyaratan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lisensi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 LSBU 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(</a:t>
            </a:r>
            <a:r>
              <a:rPr kumimoji="0" lang="en-US" altLang="en-US" sz="1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saat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 ini </a:t>
            </a:r>
            <a:r>
              <a:rPr kumimoji="0" lang="en-US" altLang="en-US" sz="1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dilakukan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melalui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l</a:t>
            </a:r>
            <a:r>
              <a:rPr kumimoji="0" lang="en-US" alt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isensijakon.pu.go</a:t>
            </a:r>
            <a:r>
              <a:rPr lang="en-US" alt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.id</a:t>
            </a:r>
            <a:r>
              <a:rPr lang="en-US" altLang="en-US" sz="1200" b="1" dirty="0">
                <a:latin typeface="Arial" panose="020B0604020202020204" pitchFamily="34" charset="0"/>
                <a:cs typeface="Times New Roman" panose="02020603050405020304" pitchFamily="18" charset="0"/>
              </a:rPr>
              <a:t>)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110052C-5555-9B4F-1DF6-2D706B8E2B26}"/>
              </a:ext>
            </a:extLst>
          </p:cNvPr>
          <p:cNvSpPr/>
          <p:nvPr/>
        </p:nvSpPr>
        <p:spPr>
          <a:xfrm>
            <a:off x="7808954" y="3657112"/>
            <a:ext cx="1464832" cy="134605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39" name="Persegi Panjang 74">
            <a:extLst>
              <a:ext uri="{FF2B5EF4-FFF2-40B4-BE49-F238E27FC236}">
                <a16:creationId xmlns:a16="http://schemas.microsoft.com/office/drawing/2014/main" id="{D81A9306-2CB5-E111-A92D-157EFFCAE7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1932" y="5055339"/>
            <a:ext cx="1897179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PJK memeriksa kelangapan data, jika tidak lengkap Pelaku Usaha akan diberikan notifikasi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96AE31B5-F3B9-F410-1FF3-B1108ECD049D}"/>
              </a:ext>
            </a:extLst>
          </p:cNvPr>
          <p:cNvSpPr/>
          <p:nvPr/>
        </p:nvSpPr>
        <p:spPr>
          <a:xfrm>
            <a:off x="5667093" y="3594262"/>
            <a:ext cx="1387097" cy="134605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42" name="Persegi Panjang 77">
            <a:extLst>
              <a:ext uri="{FF2B5EF4-FFF2-40B4-BE49-F238E27FC236}">
                <a16:creationId xmlns:a16="http://schemas.microsoft.com/office/drawing/2014/main" id="{22C689FF-17E1-5A6B-DC3D-CBD09B1C9E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2573" y="5067276"/>
            <a:ext cx="2144713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es Penilaian Kelayakan LSBU (Audit Kecukupan dan Audit Lapangan)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4" name="Oval 79">
            <a:extLst>
              <a:ext uri="{FF2B5EF4-FFF2-40B4-BE49-F238E27FC236}">
                <a16:creationId xmlns:a16="http://schemas.microsoft.com/office/drawing/2014/main" id="{9DBDA6E8-A593-6ADB-6ACD-C3CB26C638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211" y="3539149"/>
            <a:ext cx="1316484" cy="127413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70AD47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5" name="Persegi Panjang 80">
            <a:extLst>
              <a:ext uri="{FF2B5EF4-FFF2-40B4-BE49-F238E27FC236}">
                <a16:creationId xmlns:a16="http://schemas.microsoft.com/office/drawing/2014/main" id="{6E937C3B-EB94-CF1A-FD59-930982FCAF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27582" y="4927318"/>
            <a:ext cx="1743075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gunggah</a:t>
            </a:r>
            <a:r>
              <a:rPr lang="en-US" alt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</a:t>
            </a:r>
            <a:r>
              <a:rPr lang="en-US" alt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sensi</a:t>
            </a:r>
            <a:r>
              <a:rPr lang="en-US" alt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lang="en-US" alt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600" b="1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SS</a:t>
            </a:r>
            <a:r>
              <a:rPr lang="en-US" altLang="en-US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kumimoji="0" lang="en-US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ifikasi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kumimoji="0" lang="en-US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etujuan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S</a:t>
            </a: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9FDACD65-18A6-AB26-D296-A48101E3109B}"/>
              </a:ext>
            </a:extLst>
          </p:cNvPr>
          <p:cNvSpPr/>
          <p:nvPr/>
        </p:nvSpPr>
        <p:spPr>
          <a:xfrm>
            <a:off x="185155" y="3476233"/>
            <a:ext cx="1289478" cy="134605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48" name="Persegi Panjang 87">
            <a:extLst>
              <a:ext uri="{FF2B5EF4-FFF2-40B4-BE49-F238E27FC236}">
                <a16:creationId xmlns:a16="http://schemas.microsoft.com/office/drawing/2014/main" id="{1B1C1551-4037-4749-ECFF-A247F8017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503" y="4973485"/>
            <a:ext cx="1350034" cy="738664"/>
          </a:xfrm>
          <a:prstGeom prst="rect">
            <a:avLst/>
          </a:prstGeom>
          <a:solidFill>
            <a:srgbClr val="00B0F0"/>
          </a:solidFill>
          <a:ln w="9525">
            <a:solidFill>
              <a:srgbClr val="FFC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Penerbit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 NIB dan SS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terverifika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 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0" name="Rectangle 7">
            <a:extLst>
              <a:ext uri="{FF2B5EF4-FFF2-40B4-BE49-F238E27FC236}">
                <a16:creationId xmlns:a16="http://schemas.microsoft.com/office/drawing/2014/main" id="{09FFB88C-22DD-1F29-5120-0E236A5E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085" y="2367401"/>
            <a:ext cx="136683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SBU dibentuk oleh Asosiasi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kareditasi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75A4FF24-B132-D001-582A-439EC8BC489A}"/>
              </a:ext>
            </a:extLst>
          </p:cNvPr>
          <p:cNvSpPr/>
          <p:nvPr/>
        </p:nvSpPr>
        <p:spPr>
          <a:xfrm>
            <a:off x="3848039" y="3583125"/>
            <a:ext cx="1277720" cy="134605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53" name="Persegi Panjang 77">
            <a:extLst>
              <a:ext uri="{FF2B5EF4-FFF2-40B4-BE49-F238E27FC236}">
                <a16:creationId xmlns:a16="http://schemas.microsoft.com/office/drawing/2014/main" id="{ECED2E87-2A56-C562-8053-81FC5CEF42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0950" y="4996828"/>
            <a:ext cx="169812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erbitan Lisensi LSBU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EAC2FDA-E30F-DADD-AF98-C98B8E7A1F32}"/>
              </a:ext>
            </a:extLst>
          </p:cNvPr>
          <p:cNvSpPr/>
          <p:nvPr/>
        </p:nvSpPr>
        <p:spPr>
          <a:xfrm>
            <a:off x="9837544" y="1096959"/>
            <a:ext cx="1367482" cy="123008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156" name="Picture 24" descr="Ilustrasi pria dan wanita, penilaian kinerja Bisnis manajemen ...">
            <a:extLst>
              <a:ext uri="{FF2B5EF4-FFF2-40B4-BE49-F238E27FC236}">
                <a16:creationId xmlns:a16="http://schemas.microsoft.com/office/drawing/2014/main" id="{38C0FBEF-34B6-72E3-ABB3-9EB565958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8648" y="1464685"/>
            <a:ext cx="841375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Persegi Panjang 66">
            <a:extLst>
              <a:ext uri="{FF2B5EF4-FFF2-40B4-BE49-F238E27FC236}">
                <a16:creationId xmlns:a16="http://schemas.microsoft.com/office/drawing/2014/main" id="{A7FE1DB6-999B-06E5-2CFC-CE75F4E4E7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8743" y="2358986"/>
            <a:ext cx="178118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OSS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menerbit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 NIB dan SS belum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terverifikasi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60" name="Picture 159">
            <a:extLst>
              <a:ext uri="{FF2B5EF4-FFF2-40B4-BE49-F238E27FC236}">
                <a16:creationId xmlns:a16="http://schemas.microsoft.com/office/drawing/2014/main" id="{C66085C0-4B42-C2A5-820B-1B27A69B33A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845" y="1266541"/>
            <a:ext cx="776687" cy="776687"/>
          </a:xfrm>
          <a:prstGeom prst="rect">
            <a:avLst/>
          </a:prstGeom>
        </p:spPr>
      </p:pic>
      <p:pic>
        <p:nvPicPr>
          <p:cNvPr id="161" name="Picture 160">
            <a:extLst>
              <a:ext uri="{FF2B5EF4-FFF2-40B4-BE49-F238E27FC236}">
                <a16:creationId xmlns:a16="http://schemas.microsoft.com/office/drawing/2014/main" id="{0C7A39CA-D8C8-760A-30DD-632F10E7226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9" t="15054" r="16864" b="24014"/>
          <a:stretch/>
        </p:blipFill>
        <p:spPr>
          <a:xfrm>
            <a:off x="8232873" y="1277840"/>
            <a:ext cx="805956" cy="805956"/>
          </a:xfrm>
          <a:prstGeom prst="rect">
            <a:avLst/>
          </a:prstGeom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72AA6BCD-C35F-5F8C-3B55-D144D747F58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1347" t="25417" r="34921" b="15139"/>
          <a:stretch/>
        </p:blipFill>
        <p:spPr>
          <a:xfrm>
            <a:off x="435887" y="3606691"/>
            <a:ext cx="775356" cy="1092427"/>
          </a:xfrm>
          <a:prstGeom prst="rect">
            <a:avLst/>
          </a:prstGeom>
        </p:spPr>
      </p:pic>
      <p:sp>
        <p:nvSpPr>
          <p:cNvPr id="166" name="Panah: Kanan 10">
            <a:extLst>
              <a:ext uri="{FF2B5EF4-FFF2-40B4-BE49-F238E27FC236}">
                <a16:creationId xmlns:a16="http://schemas.microsoft.com/office/drawing/2014/main" id="{093B40E0-6FC6-DFAF-CFE1-4ED52D9D08DA}"/>
              </a:ext>
            </a:extLst>
          </p:cNvPr>
          <p:cNvSpPr/>
          <p:nvPr/>
        </p:nvSpPr>
        <p:spPr>
          <a:xfrm>
            <a:off x="3637445" y="1386864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67" name="Panah: Kanan 10">
            <a:extLst>
              <a:ext uri="{FF2B5EF4-FFF2-40B4-BE49-F238E27FC236}">
                <a16:creationId xmlns:a16="http://schemas.microsoft.com/office/drawing/2014/main" id="{5BA74FB4-29E6-F503-AD1F-C966C3488490}"/>
              </a:ext>
            </a:extLst>
          </p:cNvPr>
          <p:cNvSpPr/>
          <p:nvPr/>
        </p:nvSpPr>
        <p:spPr>
          <a:xfrm>
            <a:off x="5627142" y="1386864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68" name="Panah: Kanan 10">
            <a:extLst>
              <a:ext uri="{FF2B5EF4-FFF2-40B4-BE49-F238E27FC236}">
                <a16:creationId xmlns:a16="http://schemas.microsoft.com/office/drawing/2014/main" id="{1D36C8F5-7A02-73E2-CDC6-E1D3C5BF4FD7}"/>
              </a:ext>
            </a:extLst>
          </p:cNvPr>
          <p:cNvSpPr/>
          <p:nvPr/>
        </p:nvSpPr>
        <p:spPr>
          <a:xfrm>
            <a:off x="7501190" y="1405915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69" name="Panah: Kanan 10">
            <a:extLst>
              <a:ext uri="{FF2B5EF4-FFF2-40B4-BE49-F238E27FC236}">
                <a16:creationId xmlns:a16="http://schemas.microsoft.com/office/drawing/2014/main" id="{5AE3D3DB-E1D4-F5DB-E999-02C7AE8BD640}"/>
              </a:ext>
            </a:extLst>
          </p:cNvPr>
          <p:cNvSpPr/>
          <p:nvPr/>
        </p:nvSpPr>
        <p:spPr>
          <a:xfrm>
            <a:off x="9379336" y="1395900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70" name="Panah: Kanan 10">
            <a:extLst>
              <a:ext uri="{FF2B5EF4-FFF2-40B4-BE49-F238E27FC236}">
                <a16:creationId xmlns:a16="http://schemas.microsoft.com/office/drawing/2014/main" id="{59EA01C5-CC18-AB86-5357-CABC394B0151}"/>
              </a:ext>
            </a:extLst>
          </p:cNvPr>
          <p:cNvSpPr/>
          <p:nvPr/>
        </p:nvSpPr>
        <p:spPr>
          <a:xfrm rot="9754571">
            <a:off x="11081701" y="4311297"/>
            <a:ext cx="180067" cy="249386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71" name="Panah: Kanan 10">
            <a:extLst>
              <a:ext uri="{FF2B5EF4-FFF2-40B4-BE49-F238E27FC236}">
                <a16:creationId xmlns:a16="http://schemas.microsoft.com/office/drawing/2014/main" id="{6BE3B99F-EBF1-66E3-9104-43AB8CC747D6}"/>
              </a:ext>
            </a:extLst>
          </p:cNvPr>
          <p:cNvSpPr/>
          <p:nvPr/>
        </p:nvSpPr>
        <p:spPr>
          <a:xfrm rot="10800000">
            <a:off x="9389462" y="4075808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72" name="Panah: Kanan 10">
            <a:extLst>
              <a:ext uri="{FF2B5EF4-FFF2-40B4-BE49-F238E27FC236}">
                <a16:creationId xmlns:a16="http://schemas.microsoft.com/office/drawing/2014/main" id="{2E5C7EB1-66CD-92CF-90A5-4524A9F9A2C2}"/>
              </a:ext>
            </a:extLst>
          </p:cNvPr>
          <p:cNvSpPr/>
          <p:nvPr/>
        </p:nvSpPr>
        <p:spPr>
          <a:xfrm rot="10800000">
            <a:off x="7193085" y="4026706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73" name="Panah: Kanan 10">
            <a:extLst>
              <a:ext uri="{FF2B5EF4-FFF2-40B4-BE49-F238E27FC236}">
                <a16:creationId xmlns:a16="http://schemas.microsoft.com/office/drawing/2014/main" id="{CB4F432D-7E2A-0D24-3D1B-B2E78571C2FA}"/>
              </a:ext>
            </a:extLst>
          </p:cNvPr>
          <p:cNvSpPr/>
          <p:nvPr/>
        </p:nvSpPr>
        <p:spPr>
          <a:xfrm rot="10800000">
            <a:off x="5131619" y="4017875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74" name="Panah: Kanan 10">
            <a:extLst>
              <a:ext uri="{FF2B5EF4-FFF2-40B4-BE49-F238E27FC236}">
                <a16:creationId xmlns:a16="http://schemas.microsoft.com/office/drawing/2014/main" id="{DEE20674-0B58-139D-64FD-EBC44BC35A6C}"/>
              </a:ext>
            </a:extLst>
          </p:cNvPr>
          <p:cNvSpPr/>
          <p:nvPr/>
        </p:nvSpPr>
        <p:spPr>
          <a:xfrm rot="10800000">
            <a:off x="3305095" y="3948334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75" name="Panah: Kanan 10">
            <a:extLst>
              <a:ext uri="{FF2B5EF4-FFF2-40B4-BE49-F238E27FC236}">
                <a16:creationId xmlns:a16="http://schemas.microsoft.com/office/drawing/2014/main" id="{B05E914E-3250-9066-451A-2A7511B3855B}"/>
              </a:ext>
            </a:extLst>
          </p:cNvPr>
          <p:cNvSpPr/>
          <p:nvPr/>
        </p:nvSpPr>
        <p:spPr>
          <a:xfrm rot="10800000">
            <a:off x="1457584" y="3905255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183" name="Picture 182">
            <a:extLst>
              <a:ext uri="{FF2B5EF4-FFF2-40B4-BE49-F238E27FC236}">
                <a16:creationId xmlns:a16="http://schemas.microsoft.com/office/drawing/2014/main" id="{34D2939F-60D3-FF4D-7B18-7B89CBA2509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64802" y="3976566"/>
            <a:ext cx="539227" cy="813721"/>
          </a:xfrm>
          <a:prstGeom prst="rect">
            <a:avLst/>
          </a:prstGeom>
        </p:spPr>
      </p:pic>
      <p:sp>
        <p:nvSpPr>
          <p:cNvPr id="184" name="Panah: Kanan 10">
            <a:extLst>
              <a:ext uri="{FF2B5EF4-FFF2-40B4-BE49-F238E27FC236}">
                <a16:creationId xmlns:a16="http://schemas.microsoft.com/office/drawing/2014/main" id="{1FCCD477-8CC9-9548-3780-20AC959EDFBD}"/>
              </a:ext>
            </a:extLst>
          </p:cNvPr>
          <p:cNvSpPr/>
          <p:nvPr/>
        </p:nvSpPr>
        <p:spPr>
          <a:xfrm rot="5400000">
            <a:off x="10601018" y="3215494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46E2EB3E-EBD5-39A3-3834-EE2E4A2FBCC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6998" y="3878249"/>
            <a:ext cx="601490" cy="601490"/>
          </a:xfrm>
          <a:prstGeom prst="rect">
            <a:avLst/>
          </a:prstGeom>
          <a:ln w="3175">
            <a:solidFill>
              <a:srgbClr val="354878"/>
            </a:solidFill>
          </a:ln>
        </p:spPr>
      </p:pic>
      <p:sp>
        <p:nvSpPr>
          <p:cNvPr id="186" name="Persegi Panjang 77">
            <a:extLst>
              <a:ext uri="{FF2B5EF4-FFF2-40B4-BE49-F238E27FC236}">
                <a16:creationId xmlns:a16="http://schemas.microsoft.com/office/drawing/2014/main" id="{BFB19EDF-DD8A-C513-76FE-5415945C27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5708" y="4550570"/>
            <a:ext cx="16981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PJK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88" name="Picture 187">
            <a:extLst>
              <a:ext uri="{FF2B5EF4-FFF2-40B4-BE49-F238E27FC236}">
                <a16:creationId xmlns:a16="http://schemas.microsoft.com/office/drawing/2014/main" id="{530418E4-2FF5-F3D3-CB71-C21F8C3B6E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15419" y="3707284"/>
            <a:ext cx="890444" cy="1057604"/>
          </a:xfrm>
          <a:prstGeom prst="rect">
            <a:avLst/>
          </a:prstGeom>
        </p:spPr>
      </p:pic>
      <p:pic>
        <p:nvPicPr>
          <p:cNvPr id="190" name="Picture 189">
            <a:extLst>
              <a:ext uri="{FF2B5EF4-FFF2-40B4-BE49-F238E27FC236}">
                <a16:creationId xmlns:a16="http://schemas.microsoft.com/office/drawing/2014/main" id="{C5BBC5DE-1487-93D5-642F-A968AFCF6F7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24639" y="3907697"/>
            <a:ext cx="1014189" cy="964716"/>
          </a:xfrm>
          <a:prstGeom prst="rect">
            <a:avLst/>
          </a:prstGeom>
        </p:spPr>
      </p:pic>
      <p:pic>
        <p:nvPicPr>
          <p:cNvPr id="191" name="Picture 190">
            <a:extLst>
              <a:ext uri="{FF2B5EF4-FFF2-40B4-BE49-F238E27FC236}">
                <a16:creationId xmlns:a16="http://schemas.microsoft.com/office/drawing/2014/main" id="{A0A368F5-50FA-9441-EB12-99594D4D812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016" y="3848514"/>
            <a:ext cx="601490" cy="601490"/>
          </a:xfrm>
          <a:prstGeom prst="rect">
            <a:avLst/>
          </a:prstGeom>
          <a:ln w="3175">
            <a:solidFill>
              <a:srgbClr val="354878"/>
            </a:solidFill>
          </a:ln>
        </p:spPr>
      </p:pic>
      <p:sp>
        <p:nvSpPr>
          <p:cNvPr id="192" name="Persegi Panjang 77">
            <a:extLst>
              <a:ext uri="{FF2B5EF4-FFF2-40B4-BE49-F238E27FC236}">
                <a16:creationId xmlns:a16="http://schemas.microsoft.com/office/drawing/2014/main" id="{6F3AF943-C448-3202-CEC4-0FADA50A2C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9842" y="4458757"/>
            <a:ext cx="16981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PR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Persegi Panjang 80">
            <a:extLst>
              <a:ext uri="{FF2B5EF4-FFF2-40B4-BE49-F238E27FC236}">
                <a16:creationId xmlns:a16="http://schemas.microsoft.com/office/drawing/2014/main" id="{BDBC8882-B535-8D99-D3C2-326DC5FCB7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520" y="5717999"/>
            <a:ext cx="15160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telah</a:t>
            </a:r>
            <a:r>
              <a:rPr lang="en-US" altLang="en-US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S </a:t>
            </a:r>
            <a:r>
              <a:rPr lang="en-US" altLang="en-US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bit</a:t>
            </a:r>
            <a:r>
              <a:rPr lang="en-US" altLang="en-US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LSBU </a:t>
            </a:r>
            <a:r>
              <a:rPr lang="en-US" altLang="en-US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an</a:t>
            </a:r>
            <a:r>
              <a:rPr lang="en-US" altLang="en-US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catat</a:t>
            </a:r>
            <a:r>
              <a:rPr lang="en-US" altLang="en-US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i LPJK dan </a:t>
            </a:r>
            <a:r>
              <a:rPr lang="en-US" altLang="en-US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yang</a:t>
            </a:r>
            <a:r>
              <a:rPr lang="en-US" altLang="en-US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da Portal </a:t>
            </a:r>
            <a:r>
              <a:rPr lang="en-US" altLang="en-US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ijinan</a:t>
            </a:r>
            <a:r>
              <a:rPr lang="en-US" altLang="en-US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UPR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Google Shape;94;p13">
            <a:extLst>
              <a:ext uri="{FF2B5EF4-FFF2-40B4-BE49-F238E27FC236}">
                <a16:creationId xmlns:a16="http://schemas.microsoft.com/office/drawing/2014/main" id="{B77409DA-B2DF-8E20-6CDB-7F6385D62CC9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205999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4DFD57CF-C316-5882-1B5B-454B9A574519}"/>
              </a:ext>
            </a:extLst>
          </p:cNvPr>
          <p:cNvSpPr/>
          <p:nvPr/>
        </p:nvSpPr>
        <p:spPr>
          <a:xfrm>
            <a:off x="0" y="815805"/>
            <a:ext cx="11724423" cy="1958009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E856459-608B-5D5A-510A-202D3D2D8D1F}"/>
              </a:ext>
            </a:extLst>
          </p:cNvPr>
          <p:cNvSpPr/>
          <p:nvPr/>
        </p:nvSpPr>
        <p:spPr>
          <a:xfrm>
            <a:off x="-1" y="2775914"/>
            <a:ext cx="11724423" cy="2038626"/>
          </a:xfrm>
          <a:prstGeom prst="rect">
            <a:avLst/>
          </a:prstGeom>
          <a:solidFill>
            <a:schemeClr val="accent1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AE2C418-7F88-DEF4-DE35-9383D92CADA4}"/>
              </a:ext>
            </a:extLst>
          </p:cNvPr>
          <p:cNvSpPr/>
          <p:nvPr/>
        </p:nvSpPr>
        <p:spPr>
          <a:xfrm>
            <a:off x="-1" y="4811139"/>
            <a:ext cx="11724423" cy="1448873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C986132-1521-C9C0-816A-57C4AA1994A1}"/>
              </a:ext>
            </a:extLst>
          </p:cNvPr>
          <p:cNvGraphicFramePr/>
          <p:nvPr/>
        </p:nvGraphicFramePr>
        <p:xfrm>
          <a:off x="858043" y="1108949"/>
          <a:ext cx="1047591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2F94144-52E7-1F37-810C-B993714D68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84700" y="1213324"/>
            <a:ext cx="895350" cy="3385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3EB43D0-B69F-6EAE-1A20-D2632D64F0BD}"/>
              </a:ext>
            </a:extLst>
          </p:cNvPr>
          <p:cNvSpPr txBox="1"/>
          <p:nvPr/>
        </p:nvSpPr>
        <p:spPr>
          <a:xfrm>
            <a:off x="593396" y="1502164"/>
            <a:ext cx="253947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perizinan.pu.go.id/portal/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raphic 8" descr="Construction worker male with solid fill">
            <a:extLst>
              <a:ext uri="{FF2B5EF4-FFF2-40B4-BE49-F238E27FC236}">
                <a16:creationId xmlns:a16="http://schemas.microsoft.com/office/drawing/2014/main" id="{60073001-510E-5626-3966-4D5D1A06A9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109" y="1834837"/>
            <a:ext cx="664932" cy="66493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101301B-54D5-E433-2F11-A011636E7B33}"/>
              </a:ext>
            </a:extLst>
          </p:cNvPr>
          <p:cNvSpPr txBox="1"/>
          <p:nvPr/>
        </p:nvSpPr>
        <p:spPr>
          <a:xfrm>
            <a:off x="77109" y="2449141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ctagon 10">
            <a:extLst>
              <a:ext uri="{FF2B5EF4-FFF2-40B4-BE49-F238E27FC236}">
                <a16:creationId xmlns:a16="http://schemas.microsoft.com/office/drawing/2014/main" id="{41A3E24B-E20C-1992-84EB-5332FF1A923A}"/>
              </a:ext>
            </a:extLst>
          </p:cNvPr>
          <p:cNvSpPr/>
          <p:nvPr/>
        </p:nvSpPr>
        <p:spPr>
          <a:xfrm>
            <a:off x="761541" y="2067009"/>
            <a:ext cx="266700" cy="28575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ctagon 11">
            <a:extLst>
              <a:ext uri="{FF2B5EF4-FFF2-40B4-BE49-F238E27FC236}">
                <a16:creationId xmlns:a16="http://schemas.microsoft.com/office/drawing/2014/main" id="{B8C759F2-7198-CA3B-94C3-CF81EBB12A2E}"/>
              </a:ext>
            </a:extLst>
          </p:cNvPr>
          <p:cNvSpPr/>
          <p:nvPr/>
        </p:nvSpPr>
        <p:spPr>
          <a:xfrm>
            <a:off x="2949054" y="206700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06E9E7-DC44-710D-0417-2A16217FFBED}"/>
              </a:ext>
            </a:extLst>
          </p:cNvPr>
          <p:cNvSpPr txBox="1"/>
          <p:nvPr/>
        </p:nvSpPr>
        <p:spPr>
          <a:xfrm>
            <a:off x="3051625" y="948166"/>
            <a:ext cx="13738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m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a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m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laka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mo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P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F18675-1E27-6B19-A4BA-8D405877ECBA}"/>
              </a:ext>
            </a:extLst>
          </p:cNvPr>
          <p:cNvSpPr txBox="1"/>
          <p:nvPr/>
        </p:nvSpPr>
        <p:spPr>
          <a:xfrm>
            <a:off x="7408981" y="1089916"/>
            <a:ext cx="2431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b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rj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S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osi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e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s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hli)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B05989-48F1-79C8-557A-C396A2C0211B}"/>
              </a:ext>
            </a:extLst>
          </p:cNvPr>
          <p:cNvSpPr txBox="1"/>
          <p:nvPr/>
        </p:nvSpPr>
        <p:spPr>
          <a:xfrm>
            <a:off x="9682895" y="751085"/>
            <a:ext cx="243199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W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jazah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alam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e-SIMPAN)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x4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ctagon 15">
            <a:extLst>
              <a:ext uri="{FF2B5EF4-FFF2-40B4-BE49-F238E27FC236}">
                <a16:creationId xmlns:a16="http://schemas.microsoft.com/office/drawing/2014/main" id="{B8DEF9FF-09D4-BF3F-7B85-5AA36CD4C86A}"/>
              </a:ext>
            </a:extLst>
          </p:cNvPr>
          <p:cNvSpPr/>
          <p:nvPr/>
        </p:nvSpPr>
        <p:spPr>
          <a:xfrm>
            <a:off x="5060382" y="2094486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ctagon 16">
            <a:extLst>
              <a:ext uri="{FF2B5EF4-FFF2-40B4-BE49-F238E27FC236}">
                <a16:creationId xmlns:a16="http://schemas.microsoft.com/office/drawing/2014/main" id="{12A6F1F4-2912-697D-FA7B-D30156A6C034}"/>
              </a:ext>
            </a:extLst>
          </p:cNvPr>
          <p:cNvSpPr/>
          <p:nvPr/>
        </p:nvSpPr>
        <p:spPr>
          <a:xfrm>
            <a:off x="7294748" y="2061763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ctagon 17">
            <a:extLst>
              <a:ext uri="{FF2B5EF4-FFF2-40B4-BE49-F238E27FC236}">
                <a16:creationId xmlns:a16="http://schemas.microsoft.com/office/drawing/2014/main" id="{ED58DCEB-7FF8-D31E-E306-38A8669D915B}"/>
              </a:ext>
            </a:extLst>
          </p:cNvPr>
          <p:cNvSpPr/>
          <p:nvPr/>
        </p:nvSpPr>
        <p:spPr>
          <a:xfrm>
            <a:off x="9637815" y="202352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ctagon 18">
            <a:extLst>
              <a:ext uri="{FF2B5EF4-FFF2-40B4-BE49-F238E27FC236}">
                <a16:creationId xmlns:a16="http://schemas.microsoft.com/office/drawing/2014/main" id="{7FCB9D98-1BFA-B4B8-E842-DDD0FD1B4191}"/>
              </a:ext>
            </a:extLst>
          </p:cNvPr>
          <p:cNvSpPr/>
          <p:nvPr/>
        </p:nvSpPr>
        <p:spPr>
          <a:xfrm>
            <a:off x="11183258" y="3675407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ctagon 19">
            <a:extLst>
              <a:ext uri="{FF2B5EF4-FFF2-40B4-BE49-F238E27FC236}">
                <a16:creationId xmlns:a16="http://schemas.microsoft.com/office/drawing/2014/main" id="{D16712EB-E36E-167A-D56B-34A54CC8ADF9}"/>
              </a:ext>
            </a:extLst>
          </p:cNvPr>
          <p:cNvSpPr/>
          <p:nvPr/>
        </p:nvSpPr>
        <p:spPr>
          <a:xfrm>
            <a:off x="8958897" y="3656872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ctagon 20">
            <a:extLst>
              <a:ext uri="{FF2B5EF4-FFF2-40B4-BE49-F238E27FC236}">
                <a16:creationId xmlns:a16="http://schemas.microsoft.com/office/drawing/2014/main" id="{21487F08-1D51-26E2-61B1-AD3B9D325092}"/>
              </a:ext>
            </a:extLst>
          </p:cNvPr>
          <p:cNvSpPr/>
          <p:nvPr/>
        </p:nvSpPr>
        <p:spPr>
          <a:xfrm>
            <a:off x="6723626" y="3673161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ctagon 21">
            <a:extLst>
              <a:ext uri="{FF2B5EF4-FFF2-40B4-BE49-F238E27FC236}">
                <a16:creationId xmlns:a16="http://schemas.microsoft.com/office/drawing/2014/main" id="{4A12B840-E07D-3A94-4173-DA9CD9F8FA13}"/>
              </a:ext>
            </a:extLst>
          </p:cNvPr>
          <p:cNvSpPr/>
          <p:nvPr/>
        </p:nvSpPr>
        <p:spPr>
          <a:xfrm>
            <a:off x="4493810" y="3679764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ctagon 22">
            <a:extLst>
              <a:ext uri="{FF2B5EF4-FFF2-40B4-BE49-F238E27FC236}">
                <a16:creationId xmlns:a16="http://schemas.microsoft.com/office/drawing/2014/main" id="{47644C28-B928-27A9-1AC9-153908BB93DC}"/>
              </a:ext>
            </a:extLst>
          </p:cNvPr>
          <p:cNvSpPr/>
          <p:nvPr/>
        </p:nvSpPr>
        <p:spPr>
          <a:xfrm>
            <a:off x="2269449" y="3681935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ctagon 23">
            <a:extLst>
              <a:ext uri="{FF2B5EF4-FFF2-40B4-BE49-F238E27FC236}">
                <a16:creationId xmlns:a16="http://schemas.microsoft.com/office/drawing/2014/main" id="{10B49DF4-DEFA-76D7-9DBB-D38E6D1A631F}"/>
              </a:ext>
            </a:extLst>
          </p:cNvPr>
          <p:cNvSpPr/>
          <p:nvPr/>
        </p:nvSpPr>
        <p:spPr>
          <a:xfrm>
            <a:off x="647264" y="5253441"/>
            <a:ext cx="372729" cy="276999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ctagon 24">
            <a:extLst>
              <a:ext uri="{FF2B5EF4-FFF2-40B4-BE49-F238E27FC236}">
                <a16:creationId xmlns:a16="http://schemas.microsoft.com/office/drawing/2014/main" id="{3739D1BF-3C12-FE68-CB03-D704F8753BE7}"/>
              </a:ext>
            </a:extLst>
          </p:cNvPr>
          <p:cNvSpPr/>
          <p:nvPr/>
        </p:nvSpPr>
        <p:spPr>
          <a:xfrm>
            <a:off x="2871625" y="525574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ctagon 25">
            <a:extLst>
              <a:ext uri="{FF2B5EF4-FFF2-40B4-BE49-F238E27FC236}">
                <a16:creationId xmlns:a16="http://schemas.microsoft.com/office/drawing/2014/main" id="{9AD9DFF0-5BA8-BA46-5289-7B2B7F9DEAD1}"/>
              </a:ext>
            </a:extLst>
          </p:cNvPr>
          <p:cNvSpPr/>
          <p:nvPr/>
        </p:nvSpPr>
        <p:spPr>
          <a:xfrm>
            <a:off x="5103825" y="525574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" name="Graphic 26" descr="Construction worker male with solid fill">
            <a:extLst>
              <a:ext uri="{FF2B5EF4-FFF2-40B4-BE49-F238E27FC236}">
                <a16:creationId xmlns:a16="http://schemas.microsoft.com/office/drawing/2014/main" id="{3B267722-A340-2FC0-B591-63921EB4CB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20672" y="5131600"/>
            <a:ext cx="664932" cy="6649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15C20E02-450E-7A5A-7B7E-2A7A198BC805}"/>
              </a:ext>
            </a:extLst>
          </p:cNvPr>
          <p:cNvSpPr txBox="1"/>
          <p:nvPr/>
        </p:nvSpPr>
        <p:spPr>
          <a:xfrm>
            <a:off x="10943489" y="5711037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ES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Picture 34" descr="Text&#10;&#10;Description automatically generated">
            <a:extLst>
              <a:ext uri="{FF2B5EF4-FFF2-40B4-BE49-F238E27FC236}">
                <a16:creationId xmlns:a16="http://schemas.microsoft.com/office/drawing/2014/main" id="{41A870EF-D465-67CB-6F72-EE196A778A6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0591" y="4904243"/>
            <a:ext cx="1629436" cy="104472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F62A0AE-DB47-CC27-4E1E-11A625746D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2895" y="4544027"/>
            <a:ext cx="895350" cy="338553"/>
          </a:xfrm>
          <a:prstGeom prst="rect">
            <a:avLst/>
          </a:prstGeom>
        </p:spPr>
      </p:pic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6494049B-09CE-31EC-C83C-EF71B6B6F8AE}"/>
              </a:ext>
            </a:extLst>
          </p:cNvPr>
          <p:cNvCxnSpPr>
            <a:cxnSpLocks/>
            <a:stCxn id="21" idx="7"/>
            <a:endCxn id="18" idx="2"/>
          </p:cNvCxnSpPr>
          <p:nvPr/>
        </p:nvCxnSpPr>
        <p:spPr>
          <a:xfrm rot="5400000" flipH="1" flipV="1">
            <a:off x="7775552" y="1535251"/>
            <a:ext cx="1361633" cy="2914189"/>
          </a:xfrm>
          <a:prstGeom prst="bentConnector3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2E1F4A89-816B-51BA-7942-9CA804790D1F}"/>
              </a:ext>
            </a:extLst>
          </p:cNvPr>
          <p:cNvSpPr txBox="1"/>
          <p:nvPr/>
        </p:nvSpPr>
        <p:spPr>
          <a:xfrm>
            <a:off x="6860606" y="3970299"/>
            <a:ext cx="10369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85D6300-9E76-912F-E4AE-B5DD3C1E851E}"/>
              </a:ext>
            </a:extLst>
          </p:cNvPr>
          <p:cNvSpPr txBox="1"/>
          <p:nvPr/>
        </p:nvSpPr>
        <p:spPr>
          <a:xfrm>
            <a:off x="8017976" y="2737261"/>
            <a:ext cx="114742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651A472-1471-FB1C-7614-722087D47DE8}"/>
              </a:ext>
            </a:extLst>
          </p:cNvPr>
          <p:cNvSpPr txBox="1"/>
          <p:nvPr/>
        </p:nvSpPr>
        <p:spPr>
          <a:xfrm>
            <a:off x="2362285" y="4920083"/>
            <a:ext cx="958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Kompeten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F881AACC-2C07-31C0-11DA-627A8057D1FA}"/>
              </a:ext>
            </a:extLst>
          </p:cNvPr>
          <p:cNvCxnSpPr>
            <a:cxnSpLocks/>
            <a:stCxn id="24" idx="2"/>
            <a:endCxn id="17" idx="2"/>
          </p:cNvCxnSpPr>
          <p:nvPr/>
        </p:nvCxnSpPr>
        <p:spPr>
          <a:xfrm rot="5400000" flipH="1" flipV="1">
            <a:off x="2664290" y="624335"/>
            <a:ext cx="3180677" cy="6631533"/>
          </a:xfrm>
          <a:prstGeom prst="bentConnector3">
            <a:avLst>
              <a:gd name="adj1" fmla="val -15937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17EAA493-D6CD-5C9B-1A2C-A354631BAD25}"/>
              </a:ext>
            </a:extLst>
          </p:cNvPr>
          <p:cNvCxnSpPr>
            <a:cxnSpLocks/>
            <a:stCxn id="22" idx="7"/>
            <a:endCxn id="17" idx="3"/>
          </p:cNvCxnSpPr>
          <p:nvPr/>
        </p:nvCxnSpPr>
        <p:spPr>
          <a:xfrm rot="5400000" flipH="1" flipV="1">
            <a:off x="5409279" y="1709943"/>
            <a:ext cx="1330001" cy="2609642"/>
          </a:xfrm>
          <a:prstGeom prst="bentConnector3">
            <a:avLst>
              <a:gd name="adj1" fmla="val 57473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A52DC893-0390-89AE-7618-F65665902FD8}"/>
              </a:ext>
            </a:extLst>
          </p:cNvPr>
          <p:cNvSpPr txBox="1"/>
          <p:nvPr/>
        </p:nvSpPr>
        <p:spPr>
          <a:xfrm>
            <a:off x="5141563" y="2873340"/>
            <a:ext cx="17190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Hari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kukan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bayaran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A6D408B-3D0C-EE6B-5305-2631DD84D5C1}"/>
              </a:ext>
            </a:extLst>
          </p:cNvPr>
          <p:cNvSpPr txBox="1"/>
          <p:nvPr/>
        </p:nvSpPr>
        <p:spPr>
          <a:xfrm>
            <a:off x="4760510" y="3374806"/>
            <a:ext cx="6158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Bayar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BA3F22C-4AF6-1F94-513E-59A9B258C9BE}"/>
              </a:ext>
            </a:extLst>
          </p:cNvPr>
          <p:cNvSpPr txBox="1"/>
          <p:nvPr/>
        </p:nvSpPr>
        <p:spPr>
          <a:xfrm>
            <a:off x="10799442" y="2878219"/>
            <a:ext cx="72025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3CCAFC6-69DF-190B-8275-16E388C8B7A6}"/>
              </a:ext>
            </a:extLst>
          </p:cNvPr>
          <p:cNvSpPr txBox="1"/>
          <p:nvPr/>
        </p:nvSpPr>
        <p:spPr>
          <a:xfrm>
            <a:off x="461883" y="4307367"/>
            <a:ext cx="12590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omendasi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or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BA)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8EEB6B0-6C6B-040E-B88B-A4CDE7C938D9}"/>
              </a:ext>
            </a:extLst>
          </p:cNvPr>
          <p:cNvSpPr txBox="1"/>
          <p:nvPr/>
        </p:nvSpPr>
        <p:spPr>
          <a:xfrm>
            <a:off x="804326" y="2723773"/>
            <a:ext cx="2431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l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panga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wancara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6C4BA26-771B-0980-B287-DEF87342E820}"/>
              </a:ext>
            </a:extLst>
          </p:cNvPr>
          <p:cNvSpPr txBox="1"/>
          <p:nvPr/>
        </p:nvSpPr>
        <p:spPr>
          <a:xfrm>
            <a:off x="3132875" y="4275571"/>
            <a:ext cx="127255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nk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Reg. BNSP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Reg. LPJK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9FAEE6F-CE16-ECB6-6510-15D7640C6C09}"/>
              </a:ext>
            </a:extLst>
          </p:cNvPr>
          <p:cNvSpPr txBox="1"/>
          <p:nvPr/>
        </p:nvSpPr>
        <p:spPr>
          <a:xfrm>
            <a:off x="3026602" y="2849772"/>
            <a:ext cx="1711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ifik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lu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rtal, Email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a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. HP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1D68F03-9DC7-0206-BF86-2A731D7647B1}"/>
              </a:ext>
            </a:extLst>
          </p:cNvPr>
          <p:cNvSpPr txBox="1"/>
          <p:nvPr/>
        </p:nvSpPr>
        <p:spPr>
          <a:xfrm>
            <a:off x="228152" y="74239"/>
            <a:ext cx="10088665" cy="4918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 Regular" charset="0"/>
                <a:ea typeface="+mn-ea"/>
                <a:cs typeface="+mn-cs"/>
              </a:rPr>
              <a:t>ALUR PERMOHONAN SKK KONSTRUKSI BARU</a:t>
            </a:r>
            <a:endParaRPr kumimoji="0" lang="en-US" sz="2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4472C4"/>
              </a:highlight>
              <a:uLnTx/>
              <a:uFillTx/>
              <a:latin typeface="Century Gothic Regular" charset="0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0B183A8-3996-CCD8-60CB-F41AB0747F0A}"/>
              </a:ext>
            </a:extLst>
          </p:cNvPr>
          <p:cNvSpPr txBox="1"/>
          <p:nvPr/>
        </p:nvSpPr>
        <p:spPr>
          <a:xfrm>
            <a:off x="2269449" y="5983867"/>
            <a:ext cx="2460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lum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ten</a:t>
            </a:r>
            <a:endParaRPr kumimoji="0" lang="id-ID" sz="12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Octagon 80">
            <a:extLst>
              <a:ext uri="{FF2B5EF4-FFF2-40B4-BE49-F238E27FC236}">
                <a16:creationId xmlns:a16="http://schemas.microsoft.com/office/drawing/2014/main" id="{E7683943-CF3D-8061-665D-2F3CC56CF6B6}"/>
              </a:ext>
            </a:extLst>
          </p:cNvPr>
          <p:cNvSpPr/>
          <p:nvPr/>
        </p:nvSpPr>
        <p:spPr>
          <a:xfrm>
            <a:off x="7315168" y="525276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Google Shape;94;p13">
            <a:extLst>
              <a:ext uri="{FF2B5EF4-FFF2-40B4-BE49-F238E27FC236}">
                <a16:creationId xmlns:a16="http://schemas.microsoft.com/office/drawing/2014/main" id="{3E305322-65C0-4123-D7AE-86804BD8FC3B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54335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66" y="6817662"/>
            <a:ext cx="12192000" cy="5053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96295" y="3268103"/>
            <a:ext cx="4065179" cy="3206236"/>
          </a:xfrm>
          <a:prstGeom prst="rect">
            <a:avLst/>
          </a:prstGeom>
          <a:noFill/>
          <a:ln w="317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</a:endParaRPr>
          </a:p>
        </p:txBody>
      </p:sp>
      <p:sp>
        <p:nvSpPr>
          <p:cNvPr id="6" name="Rounded Rectangle 14"/>
          <p:cNvSpPr/>
          <p:nvPr/>
        </p:nvSpPr>
        <p:spPr>
          <a:xfrm>
            <a:off x="285136" y="3427914"/>
            <a:ext cx="11906864" cy="297107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rgbClr val="FFFF00"/>
                </a:solidFill>
                <a:sym typeface="+mn-ea"/>
              </a:rPr>
              <a:t>API SIJK</a:t>
            </a:r>
          </a:p>
        </p:txBody>
      </p:sp>
      <p:sp>
        <p:nvSpPr>
          <p:cNvPr id="7" name="Rounded Rectangle 14"/>
          <p:cNvSpPr/>
          <p:nvPr/>
        </p:nvSpPr>
        <p:spPr>
          <a:xfrm>
            <a:off x="196296" y="1235919"/>
            <a:ext cx="649876" cy="489445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ea"/>
              </a:rPr>
              <a:t>TKK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6243484" y="3935217"/>
            <a:ext cx="905069" cy="402593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DB SIMPAN</a:t>
            </a:r>
            <a:endParaRPr lang="id-ID" sz="1200" dirty="0">
              <a:solidFill>
                <a:prstClr val="white"/>
              </a:solidFill>
            </a:endParaRPr>
          </a:p>
        </p:txBody>
      </p:sp>
      <p:sp>
        <p:nvSpPr>
          <p:cNvPr id="9" name="Rounded Rectangle 14"/>
          <p:cNvSpPr/>
          <p:nvPr/>
        </p:nvSpPr>
        <p:spPr>
          <a:xfrm>
            <a:off x="4300028" y="1013308"/>
            <a:ext cx="7713972" cy="21248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200" b="1" dirty="0">
              <a:solidFill>
                <a:prstClr val="black"/>
              </a:solidFill>
              <a:sym typeface="+mn-ea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37104" y="1191925"/>
            <a:ext cx="917632" cy="5932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prstClr val="black"/>
                </a:solidFill>
              </a:rPr>
              <a:t>Verifikasi</a:t>
            </a:r>
            <a:r>
              <a:rPr lang="en-US" sz="1000" dirty="0">
                <a:solidFill>
                  <a:prstClr val="black"/>
                </a:solidFill>
              </a:rPr>
              <a:t> &amp; </a:t>
            </a:r>
            <a:r>
              <a:rPr lang="en-US" sz="1000" dirty="0" err="1">
                <a:solidFill>
                  <a:prstClr val="black"/>
                </a:solidFill>
              </a:rPr>
              <a:t>Validasi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  <a:r>
              <a:rPr lang="en-US" sz="1000" dirty="0" err="1">
                <a:solidFill>
                  <a:prstClr val="black"/>
                </a:solidFill>
              </a:rPr>
              <a:t>Permohonan</a:t>
            </a:r>
            <a:endParaRPr lang="id-ID" sz="1000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25"/>
          <p:cNvCxnSpPr>
            <a:stCxn id="10" idx="3"/>
            <a:endCxn id="12" idx="1"/>
          </p:cNvCxnSpPr>
          <p:nvPr/>
        </p:nvCxnSpPr>
        <p:spPr>
          <a:xfrm flipV="1">
            <a:off x="5354736" y="1488306"/>
            <a:ext cx="321494" cy="260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676230" y="1191405"/>
            <a:ext cx="917632" cy="5938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solidFill>
                  <a:prstClr val="black"/>
                </a:solidFill>
              </a:rPr>
              <a:t>Melaksanakan</a:t>
            </a:r>
            <a:r>
              <a:rPr lang="en-US" sz="900" dirty="0">
                <a:solidFill>
                  <a:prstClr val="black"/>
                </a:solidFill>
              </a:rPr>
              <a:t> </a:t>
            </a:r>
            <a:r>
              <a:rPr lang="en-US" sz="900" dirty="0" err="1">
                <a:solidFill>
                  <a:prstClr val="black"/>
                </a:solidFill>
              </a:rPr>
              <a:t>Pra</a:t>
            </a:r>
            <a:r>
              <a:rPr lang="en-US" sz="900" dirty="0">
                <a:solidFill>
                  <a:prstClr val="black"/>
                </a:solidFill>
              </a:rPr>
              <a:t> </a:t>
            </a:r>
            <a:r>
              <a:rPr lang="en-US" sz="900" dirty="0" err="1">
                <a:solidFill>
                  <a:prstClr val="black"/>
                </a:solidFill>
              </a:rPr>
              <a:t>Asesmen</a:t>
            </a:r>
            <a:endParaRPr lang="id-ID" sz="900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011954" y="1188874"/>
            <a:ext cx="990441" cy="6123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prstClr val="black"/>
                </a:solidFill>
              </a:rPr>
              <a:t>Melaksanakan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  <a:r>
              <a:rPr lang="en-US" sz="1000" dirty="0" err="1">
                <a:solidFill>
                  <a:prstClr val="black"/>
                </a:solidFill>
              </a:rPr>
              <a:t>Asesmen</a:t>
            </a:r>
            <a:endParaRPr lang="id-ID" sz="1000" dirty="0">
              <a:solidFill>
                <a:prstClr val="black"/>
              </a:solidFill>
            </a:endParaRPr>
          </a:p>
        </p:txBody>
      </p:sp>
      <p:cxnSp>
        <p:nvCxnSpPr>
          <p:cNvPr id="14" name="Straight Arrow Connector 25"/>
          <p:cNvCxnSpPr>
            <a:stCxn id="12" idx="3"/>
            <a:endCxn id="53" idx="1"/>
          </p:cNvCxnSpPr>
          <p:nvPr/>
        </p:nvCxnSpPr>
        <p:spPr>
          <a:xfrm>
            <a:off x="6593862" y="1488306"/>
            <a:ext cx="288298" cy="0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74786" y="2327402"/>
            <a:ext cx="1322067" cy="7722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prstClr val="black"/>
                </a:solidFill>
              </a:rPr>
              <a:t>Pengajuan Permohonan No. Blanko, No. Sertifikat, dan No. Registrasi</a:t>
            </a:r>
            <a:endParaRPr lang="id-ID" sz="1050">
              <a:solidFill>
                <a:prstClr val="black"/>
              </a:solidFill>
            </a:endParaRPr>
          </a:p>
        </p:txBody>
      </p:sp>
      <p:cxnSp>
        <p:nvCxnSpPr>
          <p:cNvPr id="17" name="Straight Arrow Connector 25"/>
          <p:cNvCxnSpPr>
            <a:stCxn id="13" idx="3"/>
            <a:endCxn id="24" idx="1"/>
          </p:cNvCxnSpPr>
          <p:nvPr/>
        </p:nvCxnSpPr>
        <p:spPr>
          <a:xfrm>
            <a:off x="9002395" y="1495030"/>
            <a:ext cx="224341" cy="4489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10655736" y="2408414"/>
            <a:ext cx="1041833" cy="6188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prstClr val="black"/>
                </a:solidFill>
              </a:rPr>
              <a:t>Penerbitan</a:t>
            </a:r>
            <a:r>
              <a:rPr lang="en-US" sz="1000" dirty="0">
                <a:solidFill>
                  <a:prstClr val="black"/>
                </a:solidFill>
              </a:rPr>
              <a:t> SKK </a:t>
            </a:r>
            <a:r>
              <a:rPr lang="en-US" sz="1000" dirty="0" err="1">
                <a:solidFill>
                  <a:prstClr val="black"/>
                </a:solidFill>
              </a:rPr>
              <a:t>Konstruksi</a:t>
            </a:r>
            <a:r>
              <a:rPr lang="en-US" sz="1000" dirty="0">
                <a:solidFill>
                  <a:prstClr val="black"/>
                </a:solidFill>
              </a:rPr>
              <a:t> (E-</a:t>
            </a:r>
            <a:r>
              <a:rPr lang="en-US" sz="1000" dirty="0" err="1">
                <a:solidFill>
                  <a:prstClr val="black"/>
                </a:solidFill>
              </a:rPr>
              <a:t>Sertifikat</a:t>
            </a:r>
            <a:r>
              <a:rPr lang="en-US" sz="1000" dirty="0"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20" name="TextBox 48"/>
          <p:cNvSpPr txBox="1">
            <a:spLocks noChangeArrowheads="1"/>
          </p:cNvSpPr>
          <p:nvPr/>
        </p:nvSpPr>
        <p:spPr bwMode="auto">
          <a:xfrm>
            <a:off x="7252925" y="2594375"/>
            <a:ext cx="1160466" cy="33855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LSP</a:t>
            </a:r>
            <a:endParaRPr lang="en-US" altLang="id-ID" sz="1400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676847" y="1191405"/>
            <a:ext cx="1041860" cy="58659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>
                <a:solidFill>
                  <a:prstClr val="black"/>
                </a:solidFill>
              </a:rPr>
              <a:t>Permohonan</a:t>
            </a:r>
            <a:r>
              <a:rPr lang="en-US" sz="1050" dirty="0">
                <a:solidFill>
                  <a:prstClr val="black"/>
                </a:solidFill>
              </a:rPr>
              <a:t> SKK </a:t>
            </a:r>
            <a:r>
              <a:rPr lang="en-US" sz="1050" dirty="0" err="1">
                <a:solidFill>
                  <a:prstClr val="black"/>
                </a:solidFill>
              </a:rPr>
              <a:t>Perijinan</a:t>
            </a:r>
            <a:r>
              <a:rPr lang="en-US" sz="1050" dirty="0">
                <a:solidFill>
                  <a:prstClr val="black"/>
                </a:solidFill>
              </a:rPr>
              <a:t> PUPR</a:t>
            </a:r>
            <a:endParaRPr lang="id-ID" sz="1050" dirty="0">
              <a:solidFill>
                <a:prstClr val="black"/>
              </a:solidFill>
            </a:endParaRPr>
          </a:p>
        </p:txBody>
      </p:sp>
      <p:cxnSp>
        <p:nvCxnSpPr>
          <p:cNvPr id="22" name="Straight Arrow Connector 25"/>
          <p:cNvCxnSpPr>
            <a:stCxn id="51" idx="3"/>
            <a:endCxn id="10" idx="1"/>
          </p:cNvCxnSpPr>
          <p:nvPr/>
        </p:nvCxnSpPr>
        <p:spPr>
          <a:xfrm>
            <a:off x="4105722" y="1480707"/>
            <a:ext cx="331382" cy="7859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9226736" y="1188874"/>
            <a:ext cx="1005257" cy="6212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>
                <a:solidFill>
                  <a:prstClr val="black"/>
                </a:solidFill>
              </a:rPr>
              <a:t>Membuat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  <a:r>
              <a:rPr lang="en-US" sz="1050" dirty="0" err="1">
                <a:solidFill>
                  <a:prstClr val="black"/>
                </a:solidFill>
              </a:rPr>
              <a:t>Laporan</a:t>
            </a:r>
            <a:endParaRPr lang="id-ID" sz="1050" dirty="0">
              <a:solidFill>
                <a:prstClr val="black"/>
              </a:solidFill>
            </a:endParaRPr>
          </a:p>
        </p:txBody>
      </p:sp>
      <p:cxnSp>
        <p:nvCxnSpPr>
          <p:cNvPr id="25" name="Connector: Elbow 24"/>
          <p:cNvCxnSpPr/>
          <p:nvPr/>
        </p:nvCxnSpPr>
        <p:spPr>
          <a:xfrm>
            <a:off x="823690" y="1480642"/>
            <a:ext cx="870366" cy="3994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/>
          <p:cNvCxnSpPr>
            <a:stCxn id="21" idx="2"/>
            <a:endCxn id="27" idx="1"/>
          </p:cNvCxnSpPr>
          <p:nvPr/>
        </p:nvCxnSpPr>
        <p:spPr>
          <a:xfrm rot="5400000">
            <a:off x="751126" y="2463254"/>
            <a:ext cx="2131907" cy="761397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lowchart: Magnetic Disk 26"/>
          <p:cNvSpPr/>
          <p:nvPr/>
        </p:nvSpPr>
        <p:spPr>
          <a:xfrm>
            <a:off x="983845" y="3909906"/>
            <a:ext cx="905069" cy="402593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DB SIKI</a:t>
            </a:r>
            <a:endParaRPr lang="id-ID" sz="1200" dirty="0">
              <a:solidFill>
                <a:prstClr val="white"/>
              </a:solidFill>
            </a:endParaRPr>
          </a:p>
        </p:txBody>
      </p:sp>
      <p:sp>
        <p:nvSpPr>
          <p:cNvPr id="28" name="Flowchart: Magnetic Disk 27"/>
          <p:cNvSpPr/>
          <p:nvPr/>
        </p:nvSpPr>
        <p:spPr>
          <a:xfrm>
            <a:off x="2916559" y="3918239"/>
            <a:ext cx="905069" cy="402593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DB SIMPAN</a:t>
            </a:r>
            <a:endParaRPr lang="id-ID" sz="1200" dirty="0">
              <a:solidFill>
                <a:prstClr val="white"/>
              </a:solidFill>
            </a:endParaRPr>
          </a:p>
        </p:txBody>
      </p:sp>
      <p:cxnSp>
        <p:nvCxnSpPr>
          <p:cNvPr id="29" name="Connector: Elbow 28"/>
          <p:cNvCxnSpPr>
            <a:stCxn id="21" idx="2"/>
            <a:endCxn id="28" idx="1"/>
          </p:cNvCxnSpPr>
          <p:nvPr/>
        </p:nvCxnSpPr>
        <p:spPr>
          <a:xfrm rot="16200000" flipH="1">
            <a:off x="1713315" y="2262460"/>
            <a:ext cx="2140240" cy="1171317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5"/>
          <p:cNvCxnSpPr>
            <a:stCxn id="28" idx="2"/>
            <a:endCxn id="27" idx="4"/>
          </p:cNvCxnSpPr>
          <p:nvPr/>
        </p:nvCxnSpPr>
        <p:spPr>
          <a:xfrm flipH="1" flipV="1">
            <a:off x="1888914" y="4111203"/>
            <a:ext cx="1027645" cy="8333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/>
          <p:cNvCxnSpPr>
            <a:stCxn id="8" idx="1"/>
            <a:endCxn id="24" idx="2"/>
          </p:cNvCxnSpPr>
          <p:nvPr/>
        </p:nvCxnSpPr>
        <p:spPr>
          <a:xfrm rot="5400000" flipH="1" flipV="1">
            <a:off x="7150166" y="1356018"/>
            <a:ext cx="2125053" cy="3033346"/>
          </a:xfrm>
          <a:prstGeom prst="bentConnector3">
            <a:avLst>
              <a:gd name="adj1" fmla="val 81016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lowchart: Magnetic Disk 31"/>
          <p:cNvSpPr/>
          <p:nvPr/>
        </p:nvSpPr>
        <p:spPr>
          <a:xfrm>
            <a:off x="10123759" y="5294288"/>
            <a:ext cx="905069" cy="402593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DB SIKI</a:t>
            </a:r>
            <a:endParaRPr lang="id-ID" sz="1200" dirty="0">
              <a:solidFill>
                <a:prstClr val="white"/>
              </a:solidFill>
            </a:endParaRPr>
          </a:p>
        </p:txBody>
      </p:sp>
      <p:cxnSp>
        <p:nvCxnSpPr>
          <p:cNvPr id="33" name="Connector: Elbow 32"/>
          <p:cNvCxnSpPr>
            <a:stCxn id="48" idx="0"/>
          </p:cNvCxnSpPr>
          <p:nvPr/>
        </p:nvCxnSpPr>
        <p:spPr>
          <a:xfrm rot="5400000" flipH="1" flipV="1">
            <a:off x="8461746" y="3284263"/>
            <a:ext cx="1239275" cy="175519"/>
          </a:xfrm>
          <a:prstGeom prst="bentConnector3">
            <a:avLst>
              <a:gd name="adj1" fmla="val 99708"/>
            </a:avLst>
          </a:prstGeom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226247" y="4925189"/>
            <a:ext cx="1160465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prstClr val="black"/>
                </a:solidFill>
              </a:rPr>
              <a:t>TKK </a:t>
            </a:r>
            <a:r>
              <a:rPr lang="en-US" sz="1000" b="1" dirty="0" err="1">
                <a:solidFill>
                  <a:prstClr val="black"/>
                </a:solidFill>
              </a:rPr>
              <a:t>Subklasifikasi</a:t>
            </a:r>
            <a:r>
              <a:rPr lang="en-US" sz="1000" b="1" dirty="0">
                <a:solidFill>
                  <a:prstClr val="black"/>
                </a:solidFill>
              </a:rPr>
              <a:t> Lama</a:t>
            </a:r>
            <a:endParaRPr lang="id-ID" sz="1000" b="1" dirty="0">
              <a:solidFill>
                <a:prstClr val="black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788824" y="4927505"/>
            <a:ext cx="1160465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err="1">
                <a:solidFill>
                  <a:prstClr val="black"/>
                </a:solidFill>
              </a:rPr>
              <a:t>Pengalaman</a:t>
            </a:r>
            <a:endParaRPr lang="id-ID" sz="1100" b="1" dirty="0">
              <a:solidFill>
                <a:prstClr val="black"/>
              </a:solidFill>
            </a:endParaRPr>
          </a:p>
        </p:txBody>
      </p:sp>
      <p:cxnSp>
        <p:nvCxnSpPr>
          <p:cNvPr id="36" name="Straight Arrow Connector 25"/>
          <p:cNvCxnSpPr>
            <a:stCxn id="35" idx="0"/>
            <a:endCxn id="28" idx="3"/>
          </p:cNvCxnSpPr>
          <p:nvPr/>
        </p:nvCxnSpPr>
        <p:spPr>
          <a:xfrm flipV="1">
            <a:off x="3369057" y="4320832"/>
            <a:ext cx="37" cy="606673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115785" y="4925189"/>
            <a:ext cx="1160465" cy="39557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err="1">
                <a:solidFill>
                  <a:prstClr val="black"/>
                </a:solidFill>
              </a:rPr>
              <a:t>Pengalaman</a:t>
            </a:r>
            <a:r>
              <a:rPr lang="en-US" sz="1100" b="1" dirty="0">
                <a:solidFill>
                  <a:prstClr val="black"/>
                </a:solidFill>
              </a:rPr>
              <a:t> </a:t>
            </a:r>
            <a:r>
              <a:rPr lang="en-US" sz="1100" b="1" dirty="0" err="1">
                <a:solidFill>
                  <a:prstClr val="black"/>
                </a:solidFill>
              </a:rPr>
              <a:t>Terverifikasi</a:t>
            </a:r>
            <a:endParaRPr lang="id-ID" sz="1100" b="1" dirty="0">
              <a:solidFill>
                <a:prstClr val="black"/>
              </a:solidFill>
            </a:endParaRPr>
          </a:p>
        </p:txBody>
      </p:sp>
      <p:cxnSp>
        <p:nvCxnSpPr>
          <p:cNvPr id="38" name="Straight Arrow Connector 25"/>
          <p:cNvCxnSpPr>
            <a:stCxn id="37" idx="0"/>
            <a:endCxn id="8" idx="3"/>
          </p:cNvCxnSpPr>
          <p:nvPr/>
        </p:nvCxnSpPr>
        <p:spPr>
          <a:xfrm flipV="1">
            <a:off x="6696018" y="4337810"/>
            <a:ext cx="1" cy="587379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25"/>
          <p:cNvCxnSpPr/>
          <p:nvPr/>
        </p:nvCxnSpPr>
        <p:spPr>
          <a:xfrm flipH="1" flipV="1">
            <a:off x="10559582" y="4930387"/>
            <a:ext cx="3438" cy="368837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1436380" y="4925189"/>
            <a:ext cx="1160465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prstClr val="black"/>
                </a:solidFill>
              </a:rPr>
              <a:t>PKB</a:t>
            </a:r>
            <a:endParaRPr lang="id-ID" sz="1100" b="1" dirty="0">
              <a:solidFill>
                <a:prstClr val="black"/>
              </a:solidFill>
            </a:endParaRPr>
          </a:p>
        </p:txBody>
      </p:sp>
      <p:cxnSp>
        <p:nvCxnSpPr>
          <p:cNvPr id="41" name="Connector: Elbow 40"/>
          <p:cNvCxnSpPr>
            <a:stCxn id="27" idx="3"/>
            <a:endCxn id="34" idx="0"/>
          </p:cNvCxnSpPr>
          <p:nvPr/>
        </p:nvCxnSpPr>
        <p:spPr>
          <a:xfrm rot="5400000">
            <a:off x="815085" y="4303894"/>
            <a:ext cx="612690" cy="629900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/>
          <p:cNvCxnSpPr>
            <a:stCxn id="27" idx="3"/>
            <a:endCxn id="40" idx="0"/>
          </p:cNvCxnSpPr>
          <p:nvPr/>
        </p:nvCxnSpPr>
        <p:spPr>
          <a:xfrm rot="16200000" flipH="1">
            <a:off x="1420151" y="4328727"/>
            <a:ext cx="612690" cy="580233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6115785" y="5481555"/>
            <a:ext cx="1160465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Data </a:t>
            </a:r>
            <a:r>
              <a:rPr lang="en-US" sz="1050" b="1" dirty="0" err="1">
                <a:solidFill>
                  <a:prstClr val="black"/>
                </a:solidFill>
              </a:rPr>
              <a:t>Pengalaman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Terverifikasi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hasil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Sertifikasi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26248" y="5427407"/>
            <a:ext cx="1160464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Data </a:t>
            </a:r>
            <a:r>
              <a:rPr lang="en-US" sz="1050" b="1" dirty="0" err="1">
                <a:solidFill>
                  <a:prstClr val="black"/>
                </a:solidFill>
              </a:rPr>
              <a:t>Referensi</a:t>
            </a:r>
            <a:r>
              <a:rPr lang="en-US" sz="1050" b="1" dirty="0">
                <a:solidFill>
                  <a:prstClr val="black"/>
                </a:solidFill>
              </a:rPr>
              <a:t> TKK (Data Personal, </a:t>
            </a:r>
            <a:r>
              <a:rPr lang="en-US" sz="1050" b="1" dirty="0" err="1">
                <a:solidFill>
                  <a:prstClr val="black"/>
                </a:solidFill>
              </a:rPr>
              <a:t>Klasifikasi</a:t>
            </a:r>
            <a:r>
              <a:rPr lang="en-US" sz="1050" b="1" dirty="0">
                <a:solidFill>
                  <a:prstClr val="black"/>
                </a:solidFill>
              </a:rPr>
              <a:t>/</a:t>
            </a:r>
            <a:r>
              <a:rPr lang="en-US" sz="1050" b="1" dirty="0" err="1">
                <a:solidFill>
                  <a:prstClr val="black"/>
                </a:solidFill>
              </a:rPr>
              <a:t>Subklasifikasi</a:t>
            </a:r>
            <a:r>
              <a:rPr lang="en-US" sz="1050" b="1" dirty="0">
                <a:solidFill>
                  <a:prstClr val="black"/>
                </a:solidFill>
              </a:rPr>
              <a:t>, </a:t>
            </a:r>
            <a:r>
              <a:rPr lang="en-US" sz="1050" b="1" dirty="0" err="1">
                <a:solidFill>
                  <a:prstClr val="black"/>
                </a:solidFill>
              </a:rPr>
              <a:t>Kualifikasi</a:t>
            </a:r>
            <a:r>
              <a:rPr lang="en-US" sz="1050" b="1" dirty="0"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788824" y="5427407"/>
            <a:ext cx="1160465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Data </a:t>
            </a:r>
            <a:r>
              <a:rPr lang="en-US" sz="1050" b="1" dirty="0" err="1">
                <a:solidFill>
                  <a:prstClr val="black"/>
                </a:solidFill>
              </a:rPr>
              <a:t>Referensi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Pengalaman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Lampau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51260" y="1862117"/>
            <a:ext cx="1840062" cy="626454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000" dirty="0">
                <a:solidFill>
                  <a:prstClr val="white"/>
                </a:solidFill>
              </a:rPr>
              <a:t>1. </a:t>
            </a:r>
            <a:r>
              <a:rPr lang="en-US" sz="1000" dirty="0" err="1">
                <a:solidFill>
                  <a:prstClr val="white"/>
                </a:solidFill>
              </a:rPr>
              <a:t>Permohonan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ru</a:t>
            </a:r>
            <a:endParaRPr lang="en-US" sz="1000" dirty="0">
              <a:solidFill>
                <a:prstClr val="white"/>
              </a:solidFill>
            </a:endParaRPr>
          </a:p>
          <a:p>
            <a:pPr algn="just"/>
            <a:r>
              <a:rPr lang="en-US" sz="1000" dirty="0">
                <a:solidFill>
                  <a:prstClr val="white"/>
                </a:solidFill>
              </a:rPr>
              <a:t>2.PermohonanPerpanjangan</a:t>
            </a:r>
          </a:p>
          <a:p>
            <a:pPr algn="just"/>
            <a:r>
              <a:rPr lang="en-US" sz="1000" dirty="0">
                <a:solidFill>
                  <a:prstClr val="white"/>
                </a:solidFill>
              </a:rPr>
              <a:t>3. </a:t>
            </a:r>
            <a:r>
              <a:rPr lang="en-US" sz="1000" dirty="0" err="1">
                <a:solidFill>
                  <a:prstClr val="white"/>
                </a:solidFill>
              </a:rPr>
              <a:t>Permohonan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Perubahan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441324" y="5427407"/>
            <a:ext cx="1160464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err="1">
                <a:solidFill>
                  <a:prstClr val="black"/>
                </a:solidFill>
              </a:rPr>
              <a:t>Pemenuhan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Kredita</a:t>
            </a:r>
            <a:r>
              <a:rPr lang="en-US" sz="1050" b="1" dirty="0">
                <a:solidFill>
                  <a:prstClr val="black"/>
                </a:solidFill>
              </a:rPr>
              <a:t> SKPK pada Proses </a:t>
            </a:r>
            <a:r>
              <a:rPr lang="en-US" sz="1050" b="1" dirty="0" err="1">
                <a:solidFill>
                  <a:prstClr val="black"/>
                </a:solidFill>
              </a:rPr>
              <a:t>Perpanjangan</a:t>
            </a:r>
            <a:r>
              <a:rPr lang="en-US" sz="1050" b="1" dirty="0">
                <a:solidFill>
                  <a:prstClr val="black"/>
                </a:solidFill>
              </a:rPr>
              <a:t> SKK</a:t>
            </a:r>
          </a:p>
        </p:txBody>
      </p:sp>
      <p:sp>
        <p:nvSpPr>
          <p:cNvPr id="48" name="Rectangle 47"/>
          <p:cNvSpPr/>
          <p:nvPr/>
        </p:nvSpPr>
        <p:spPr>
          <a:xfrm>
            <a:off x="8413391" y="3991659"/>
            <a:ext cx="1160465" cy="39557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prstClr val="black"/>
                </a:solidFill>
              </a:rPr>
              <a:t>BNSP</a:t>
            </a:r>
            <a:endParaRPr lang="id-ID" sz="1100" b="1" dirty="0">
              <a:solidFill>
                <a:prstClr val="black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8382524" y="5778791"/>
            <a:ext cx="2870081" cy="71821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err="1">
                <a:solidFill>
                  <a:prstClr val="black"/>
                </a:solidFill>
              </a:rPr>
              <a:t>Pencatatan</a:t>
            </a:r>
            <a:r>
              <a:rPr lang="en-US" sz="1050" b="1" dirty="0">
                <a:solidFill>
                  <a:prstClr val="black"/>
                </a:solidFill>
              </a:rPr>
              <a:t>/</a:t>
            </a:r>
            <a:r>
              <a:rPr lang="en-US" sz="1050" b="1" dirty="0" err="1">
                <a:solidFill>
                  <a:prstClr val="black"/>
                </a:solidFill>
              </a:rPr>
              <a:t>Registrasi</a:t>
            </a:r>
            <a:r>
              <a:rPr lang="en-US" sz="1050" b="1" dirty="0">
                <a:solidFill>
                  <a:prstClr val="black"/>
                </a:solidFill>
              </a:rPr>
              <a:t> SKK </a:t>
            </a:r>
            <a:r>
              <a:rPr lang="en-US" sz="1050" b="1" dirty="0" err="1">
                <a:solidFill>
                  <a:prstClr val="black"/>
                </a:solidFill>
              </a:rPr>
              <a:t>Konstruksi</a:t>
            </a:r>
            <a:r>
              <a:rPr lang="en-US" sz="1050" b="1" dirty="0">
                <a:solidFill>
                  <a:prstClr val="black"/>
                </a:solidFill>
              </a:rPr>
              <a:t> Hasil </a:t>
            </a:r>
            <a:r>
              <a:rPr lang="en-US" sz="1050" b="1" dirty="0" err="1">
                <a:solidFill>
                  <a:prstClr val="black"/>
                </a:solidFill>
              </a:rPr>
              <a:t>Sertifikasi</a:t>
            </a:r>
            <a:endParaRPr lang="en-US" sz="1050" b="1" dirty="0">
              <a:solidFill>
                <a:prstClr val="black"/>
              </a:solidFill>
            </a:endParaRPr>
          </a:p>
        </p:txBody>
      </p:sp>
      <p:cxnSp>
        <p:nvCxnSpPr>
          <p:cNvPr id="50" name="Connector: Elbow 49"/>
          <p:cNvCxnSpPr>
            <a:stCxn id="21" idx="0"/>
            <a:endCxn id="18" idx="3"/>
          </p:cNvCxnSpPr>
          <p:nvPr/>
        </p:nvCxnSpPr>
        <p:spPr>
          <a:xfrm rot="16200000" flipH="1">
            <a:off x="6184461" y="-2795279"/>
            <a:ext cx="1526424" cy="9499792"/>
          </a:xfrm>
          <a:prstGeom prst="bentConnector4">
            <a:avLst>
              <a:gd name="adj1" fmla="val -32402"/>
              <a:gd name="adj2" fmla="val 104105"/>
            </a:avLst>
          </a:prstGeom>
          <a:ln w="38100">
            <a:solidFill>
              <a:srgbClr val="00B05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3027073" y="1187410"/>
            <a:ext cx="1078649" cy="58659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>
                <a:solidFill>
                  <a:prstClr val="black"/>
                </a:solidFill>
              </a:rPr>
              <a:t>Permohonan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  <a:r>
              <a:rPr lang="en-US" sz="1050" dirty="0" err="1">
                <a:solidFill>
                  <a:prstClr val="black"/>
                </a:solidFill>
              </a:rPr>
              <a:t>Sesuai</a:t>
            </a:r>
            <a:r>
              <a:rPr lang="en-US" sz="1050" dirty="0">
                <a:solidFill>
                  <a:prstClr val="black"/>
                </a:solidFill>
              </a:rPr>
              <a:t> LSP</a:t>
            </a:r>
            <a:endParaRPr lang="id-ID" sz="1050" dirty="0">
              <a:solidFill>
                <a:prstClr val="black"/>
              </a:solidFill>
            </a:endParaRPr>
          </a:p>
        </p:txBody>
      </p:sp>
      <p:cxnSp>
        <p:nvCxnSpPr>
          <p:cNvPr id="52" name="Straight Arrow Connector 25"/>
          <p:cNvCxnSpPr>
            <a:stCxn id="21" idx="3"/>
            <a:endCxn id="51" idx="1"/>
          </p:cNvCxnSpPr>
          <p:nvPr/>
        </p:nvCxnSpPr>
        <p:spPr>
          <a:xfrm flipV="1">
            <a:off x="2718707" y="1480707"/>
            <a:ext cx="308366" cy="3995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6882160" y="1191405"/>
            <a:ext cx="917632" cy="5938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solidFill>
                  <a:prstClr val="black"/>
                </a:solidFill>
              </a:rPr>
              <a:t>Melakukan</a:t>
            </a:r>
            <a:r>
              <a:rPr lang="en-US" sz="900" dirty="0">
                <a:solidFill>
                  <a:prstClr val="black"/>
                </a:solidFill>
              </a:rPr>
              <a:t> </a:t>
            </a:r>
            <a:r>
              <a:rPr lang="en-US" sz="900" dirty="0" err="1">
                <a:solidFill>
                  <a:prstClr val="black"/>
                </a:solidFill>
              </a:rPr>
              <a:t>Pembayaran</a:t>
            </a:r>
            <a:endParaRPr lang="id-ID" sz="900" dirty="0">
              <a:solidFill>
                <a:prstClr val="black"/>
              </a:solidFill>
            </a:endParaRPr>
          </a:p>
        </p:txBody>
      </p:sp>
      <p:sp>
        <p:nvSpPr>
          <p:cNvPr id="54" name="TextBox 48"/>
          <p:cNvSpPr txBox="1">
            <a:spLocks noChangeArrowheads="1"/>
          </p:cNvSpPr>
          <p:nvPr/>
        </p:nvSpPr>
        <p:spPr bwMode="auto">
          <a:xfrm>
            <a:off x="2739800" y="919182"/>
            <a:ext cx="1160466" cy="33855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LPJK</a:t>
            </a:r>
            <a:endParaRPr lang="en-US" altLang="id-ID" sz="1400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5" name="TextBox 48"/>
          <p:cNvSpPr txBox="1">
            <a:spLocks noChangeArrowheads="1"/>
          </p:cNvSpPr>
          <p:nvPr/>
        </p:nvSpPr>
        <p:spPr bwMode="auto">
          <a:xfrm>
            <a:off x="1915103" y="915125"/>
            <a:ext cx="1160466" cy="33855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PUPR</a:t>
            </a:r>
            <a:endParaRPr lang="en-US" altLang="id-ID" sz="1400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cxnSp>
        <p:nvCxnSpPr>
          <p:cNvPr id="56" name="Straight Arrow Connector 25"/>
          <p:cNvCxnSpPr>
            <a:stCxn id="53" idx="3"/>
            <a:endCxn id="13" idx="1"/>
          </p:cNvCxnSpPr>
          <p:nvPr/>
        </p:nvCxnSpPr>
        <p:spPr>
          <a:xfrm>
            <a:off x="7799792" y="1488306"/>
            <a:ext cx="212162" cy="6724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25"/>
          <p:cNvCxnSpPr>
            <a:stCxn id="15" idx="3"/>
            <a:endCxn id="18" idx="1"/>
          </p:cNvCxnSpPr>
          <p:nvPr/>
        </p:nvCxnSpPr>
        <p:spPr>
          <a:xfrm>
            <a:off x="10496853" y="2713508"/>
            <a:ext cx="158883" cy="4321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10426299" y="1190545"/>
            <a:ext cx="1115096" cy="6212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>
                <a:solidFill>
                  <a:prstClr val="black"/>
                </a:solidFill>
              </a:rPr>
              <a:t>Penetapan</a:t>
            </a:r>
            <a:r>
              <a:rPr lang="en-US" sz="1050" dirty="0">
                <a:solidFill>
                  <a:prstClr val="black"/>
                </a:solidFill>
              </a:rPr>
              <a:t> Keputusan</a:t>
            </a:r>
            <a:endParaRPr lang="id-ID" sz="1050" dirty="0">
              <a:solidFill>
                <a:prstClr val="black"/>
              </a:solidFill>
            </a:endParaRPr>
          </a:p>
        </p:txBody>
      </p:sp>
      <p:cxnSp>
        <p:nvCxnSpPr>
          <p:cNvPr id="59" name="Straight Arrow Connector 25"/>
          <p:cNvCxnSpPr>
            <a:stCxn id="24" idx="3"/>
            <a:endCxn id="58" idx="1"/>
          </p:cNvCxnSpPr>
          <p:nvPr/>
        </p:nvCxnSpPr>
        <p:spPr>
          <a:xfrm>
            <a:off x="10231993" y="1499519"/>
            <a:ext cx="194306" cy="1671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/>
          <p:cNvCxnSpPr>
            <a:stCxn id="15" idx="0"/>
            <a:endCxn id="58" idx="2"/>
          </p:cNvCxnSpPr>
          <p:nvPr/>
        </p:nvCxnSpPr>
        <p:spPr>
          <a:xfrm rot="5400000" flipH="1" flipV="1">
            <a:off x="10152050" y="1495606"/>
            <a:ext cx="515567" cy="1148027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983845" y="604353"/>
            <a:ext cx="61010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 err="1">
                <a:solidFill>
                  <a:prstClr val="black"/>
                </a:solidFill>
              </a:rPr>
              <a:t>Notifikasi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dirty="0" err="1">
                <a:solidFill>
                  <a:prstClr val="black"/>
                </a:solidFill>
              </a:rPr>
              <a:t>Penerbitan</a:t>
            </a:r>
            <a:r>
              <a:rPr lang="en-US" sz="1200" dirty="0">
                <a:solidFill>
                  <a:prstClr val="black"/>
                </a:solidFill>
              </a:rPr>
              <a:t> dan </a:t>
            </a:r>
            <a:r>
              <a:rPr lang="en-US" sz="1200" dirty="0" err="1">
                <a:solidFill>
                  <a:prstClr val="black"/>
                </a:solidFill>
              </a:rPr>
              <a:t>Url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dirty="0" err="1">
                <a:solidFill>
                  <a:prstClr val="black"/>
                </a:solidFill>
              </a:rPr>
              <a:t>Pengunduhan</a:t>
            </a:r>
            <a:r>
              <a:rPr lang="en-US" sz="1200" dirty="0">
                <a:solidFill>
                  <a:prstClr val="black"/>
                </a:solidFill>
              </a:rPr>
              <a:t> E-</a:t>
            </a:r>
            <a:r>
              <a:rPr lang="en-US" sz="1200" dirty="0" err="1">
                <a:solidFill>
                  <a:prstClr val="black"/>
                </a:solidFill>
              </a:rPr>
              <a:t>Sertifikat</a:t>
            </a:r>
            <a:endParaRPr lang="id-ID" sz="1200" dirty="0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020389" y="646743"/>
            <a:ext cx="61010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Belum </a:t>
            </a:r>
            <a:r>
              <a:rPr lang="en-US" sz="1200" dirty="0" err="1">
                <a:solidFill>
                  <a:prstClr val="black"/>
                </a:solidFill>
              </a:rPr>
              <a:t>Kompeten</a:t>
            </a:r>
            <a:endParaRPr lang="id-ID" sz="1200" dirty="0">
              <a:solidFill>
                <a:prstClr val="black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506965" y="1970339"/>
            <a:ext cx="2838929" cy="279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 err="1">
                <a:solidFill>
                  <a:prstClr val="black"/>
                </a:solidFill>
              </a:rPr>
              <a:t>Pencatatan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dirty="0" err="1">
                <a:solidFill>
                  <a:prstClr val="black"/>
                </a:solidFill>
              </a:rPr>
              <a:t>Pengalaman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dirty="0" err="1">
                <a:solidFill>
                  <a:prstClr val="black"/>
                </a:solidFill>
              </a:rPr>
              <a:t>Profesional</a:t>
            </a:r>
            <a:endParaRPr lang="id-ID" sz="1200" dirty="0">
              <a:solidFill>
                <a:prstClr val="black"/>
              </a:solidFill>
            </a:endParaRPr>
          </a:p>
        </p:txBody>
      </p:sp>
      <p:cxnSp>
        <p:nvCxnSpPr>
          <p:cNvPr id="193" name="Connector: Elbow 192"/>
          <p:cNvCxnSpPr>
            <a:stCxn id="51" idx="0"/>
            <a:endCxn id="58" idx="0"/>
          </p:cNvCxnSpPr>
          <p:nvPr/>
        </p:nvCxnSpPr>
        <p:spPr>
          <a:xfrm rot="16200000" flipH="1">
            <a:off x="7273554" y="-2519747"/>
            <a:ext cx="3135" cy="7417449"/>
          </a:xfrm>
          <a:prstGeom prst="bentConnector3">
            <a:avLst>
              <a:gd name="adj1" fmla="val -9560447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Rectangle 193"/>
          <p:cNvSpPr/>
          <p:nvPr/>
        </p:nvSpPr>
        <p:spPr>
          <a:xfrm>
            <a:off x="8192984" y="4391686"/>
            <a:ext cx="1606922" cy="996312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prstClr val="black"/>
                </a:solidFill>
              </a:rPr>
              <a:t>Memberikan No. Blanko, No. Sertifikat, dan No. Registrasi setelah menerima laporan pelaksanaan asesmen dari LSP</a:t>
            </a:r>
            <a:endParaRPr lang="id-ID" sz="1000" dirty="0">
              <a:solidFill>
                <a:prstClr val="black"/>
              </a:solidFill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9911628" y="4196566"/>
            <a:ext cx="1340977" cy="76649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prstClr val="black"/>
                </a:solidFill>
              </a:rPr>
              <a:t>Pencatatan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  <a:r>
              <a:rPr lang="en-US" sz="1000">
                <a:solidFill>
                  <a:prstClr val="black"/>
                </a:solidFill>
              </a:rPr>
              <a:t>SKK Konstruksi, Membentuk No. Registrasi dan Generate QRCode </a:t>
            </a:r>
            <a:endParaRPr lang="id-ID" sz="1000" dirty="0">
              <a:solidFill>
                <a:prstClr val="black"/>
              </a:solidFill>
            </a:endParaRPr>
          </a:p>
        </p:txBody>
      </p:sp>
      <p:cxnSp>
        <p:nvCxnSpPr>
          <p:cNvPr id="196" name="Connector: Elbow 63"/>
          <p:cNvCxnSpPr/>
          <p:nvPr/>
        </p:nvCxnSpPr>
        <p:spPr>
          <a:xfrm rot="16200000" flipV="1">
            <a:off x="9699894" y="3247721"/>
            <a:ext cx="1096953" cy="746297"/>
          </a:xfrm>
          <a:prstGeom prst="bentConnector3">
            <a:avLst>
              <a:gd name="adj1" fmla="val 77201"/>
            </a:avLst>
          </a:prstGeom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 Placeholder 1"/>
          <p:cNvSpPr txBox="1"/>
          <p:nvPr/>
        </p:nvSpPr>
        <p:spPr>
          <a:xfrm>
            <a:off x="0" y="43942"/>
            <a:ext cx="7391510" cy="5748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354878"/>
                </a:solidFill>
                <a:latin typeface="Century Gothic" panose="020B0502020202020204" charset="0"/>
              </a:rPr>
              <a:t>INTEGRASI PENGAJUAN PERMOHONAN SKK</a:t>
            </a:r>
          </a:p>
        </p:txBody>
      </p:sp>
      <p:pic>
        <p:nvPicPr>
          <p:cNvPr id="2" name="Picture 1" descr="A blue letter u with white text&#10;&#10;AI-generated content may be incorrect.">
            <a:extLst>
              <a:ext uri="{FF2B5EF4-FFF2-40B4-BE49-F238E27FC236}">
                <a16:creationId xmlns:a16="http://schemas.microsoft.com/office/drawing/2014/main" id="{8DCA4B56-3DA8-442E-01FB-39D26B532C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2634" y="61399"/>
            <a:ext cx="2098515" cy="447333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ACAA05-D3B3-46DF-8854-2520811ACC26}"/>
              </a:ext>
            </a:extLst>
          </p:cNvPr>
          <p:cNvSpPr/>
          <p:nvPr/>
        </p:nvSpPr>
        <p:spPr>
          <a:xfrm>
            <a:off x="813093" y="4000285"/>
            <a:ext cx="10313711" cy="2790338"/>
          </a:xfrm>
          <a:prstGeom prst="rect">
            <a:avLst/>
          </a:prstGeom>
          <a:noFill/>
          <a:ln w="317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</a:endParaRPr>
          </a:p>
        </p:txBody>
      </p:sp>
      <p:sp>
        <p:nvSpPr>
          <p:cNvPr id="141" name="Rounded Rectangle 14">
            <a:extLst>
              <a:ext uri="{FF2B5EF4-FFF2-40B4-BE49-F238E27FC236}">
                <a16:creationId xmlns:a16="http://schemas.microsoft.com/office/drawing/2014/main" id="{9604D534-178D-4EDF-92F7-D27F325277D9}"/>
              </a:ext>
            </a:extLst>
          </p:cNvPr>
          <p:cNvSpPr/>
          <p:nvPr/>
        </p:nvSpPr>
        <p:spPr>
          <a:xfrm>
            <a:off x="3201949" y="3614965"/>
            <a:ext cx="7924855" cy="278678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rgbClr val="FFFF00"/>
                </a:solidFill>
                <a:sym typeface="+mn-ea"/>
              </a:rPr>
              <a:t>API SIJK</a:t>
            </a:r>
          </a:p>
        </p:txBody>
      </p:sp>
      <p:sp>
        <p:nvSpPr>
          <p:cNvPr id="6" name="Rounded Rectangle 14">
            <a:extLst>
              <a:ext uri="{FF2B5EF4-FFF2-40B4-BE49-F238E27FC236}">
                <a16:creationId xmlns:a16="http://schemas.microsoft.com/office/drawing/2014/main" id="{C6C4E3B8-CE3E-4F97-82E6-E38BD80CF313}"/>
              </a:ext>
            </a:extLst>
          </p:cNvPr>
          <p:cNvSpPr/>
          <p:nvPr/>
        </p:nvSpPr>
        <p:spPr>
          <a:xfrm>
            <a:off x="0" y="47410"/>
            <a:ext cx="6428944" cy="53593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altLang="ko-KR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GRASI PERMOHONAN SBU</a:t>
            </a:r>
          </a:p>
        </p:txBody>
      </p:sp>
      <p:sp>
        <p:nvSpPr>
          <p:cNvPr id="38" name="Rounded Rectangle 14">
            <a:extLst>
              <a:ext uri="{FF2B5EF4-FFF2-40B4-BE49-F238E27FC236}">
                <a16:creationId xmlns:a16="http://schemas.microsoft.com/office/drawing/2014/main" id="{D10CA37A-BA64-42B0-BFAC-8ACAE1AE1C2C}"/>
              </a:ext>
            </a:extLst>
          </p:cNvPr>
          <p:cNvSpPr/>
          <p:nvPr/>
        </p:nvSpPr>
        <p:spPr>
          <a:xfrm>
            <a:off x="182612" y="1467873"/>
            <a:ext cx="563456" cy="489445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ea"/>
              </a:rPr>
              <a:t>BUJK</a:t>
            </a:r>
            <a:endParaRPr lang="en-US" sz="1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+mn-ea"/>
            </a:endParaRPr>
          </a:p>
        </p:txBody>
      </p:sp>
      <p:sp>
        <p:nvSpPr>
          <p:cNvPr id="90" name="Rounded Rectangle 14">
            <a:extLst>
              <a:ext uri="{FF2B5EF4-FFF2-40B4-BE49-F238E27FC236}">
                <a16:creationId xmlns:a16="http://schemas.microsoft.com/office/drawing/2014/main" id="{4E5479DE-0263-441C-99C5-7B27E09BC754}"/>
              </a:ext>
            </a:extLst>
          </p:cNvPr>
          <p:cNvSpPr/>
          <p:nvPr/>
        </p:nvSpPr>
        <p:spPr>
          <a:xfrm>
            <a:off x="4703750" y="1218019"/>
            <a:ext cx="6933193" cy="1900571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200" b="1" dirty="0">
              <a:solidFill>
                <a:prstClr val="black"/>
              </a:solidFill>
              <a:sym typeface="+mn-ea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1AB5BD5-7B25-48E7-86CD-72D3FBB4D8BD}"/>
              </a:ext>
            </a:extLst>
          </p:cNvPr>
          <p:cNvSpPr/>
          <p:nvPr/>
        </p:nvSpPr>
        <p:spPr>
          <a:xfrm>
            <a:off x="5260997" y="1425095"/>
            <a:ext cx="748020" cy="593281"/>
          </a:xfrm>
          <a:prstGeom prst="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prstClr val="black"/>
                </a:solidFill>
              </a:rPr>
              <a:t>Tinjauan</a:t>
            </a:r>
            <a:endParaRPr lang="id-ID" sz="1000" dirty="0">
              <a:solidFill>
                <a:prstClr val="black"/>
              </a:solidFill>
            </a:endParaRPr>
          </a:p>
        </p:txBody>
      </p:sp>
      <p:sp>
        <p:nvSpPr>
          <p:cNvPr id="101" name="TextBox 48">
            <a:extLst>
              <a:ext uri="{FF2B5EF4-FFF2-40B4-BE49-F238E27FC236}">
                <a16:creationId xmlns:a16="http://schemas.microsoft.com/office/drawing/2014/main" id="{F56D486D-D434-4EE4-A867-0FB40EF36A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73332" y="2836917"/>
            <a:ext cx="1160466" cy="33855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600" b="1">
                <a:solidFill>
                  <a:prstClr val="black"/>
                </a:solidFill>
                <a:ea typeface="MS PGothic" panose="020B0600070205080204" pitchFamily="34" charset="-128"/>
              </a:rPr>
              <a:t>LSBU</a:t>
            </a:r>
            <a:endParaRPr lang="en-US" altLang="id-ID" sz="1400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4AFBAF8-5C62-4CF8-A5EE-E4C6376EC0FF}"/>
              </a:ext>
            </a:extLst>
          </p:cNvPr>
          <p:cNvSpPr/>
          <p:nvPr/>
        </p:nvSpPr>
        <p:spPr>
          <a:xfrm>
            <a:off x="2097253" y="1120818"/>
            <a:ext cx="1104697" cy="118003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err="1">
                <a:solidFill>
                  <a:prstClr val="black"/>
                </a:solidFill>
              </a:rPr>
              <a:t>Permohonan</a:t>
            </a:r>
            <a:r>
              <a:rPr lang="en-US" sz="1200" b="1">
                <a:solidFill>
                  <a:prstClr val="black"/>
                </a:solidFill>
              </a:rPr>
              <a:t> SBUPerijinan PUPR</a:t>
            </a:r>
          </a:p>
        </p:txBody>
      </p:sp>
      <p:cxnSp>
        <p:nvCxnSpPr>
          <p:cNvPr id="106" name="Straight Arrow Connector 25">
            <a:extLst>
              <a:ext uri="{FF2B5EF4-FFF2-40B4-BE49-F238E27FC236}">
                <a16:creationId xmlns:a16="http://schemas.microsoft.com/office/drawing/2014/main" id="{A8C0EC64-8A7D-4A21-97A7-0F8A402A1F3C}"/>
              </a:ext>
            </a:extLst>
          </p:cNvPr>
          <p:cNvCxnSpPr>
            <a:cxnSpLocks/>
            <a:stCxn id="56" idx="3"/>
            <a:endCxn id="91" idx="1"/>
          </p:cNvCxnSpPr>
          <p:nvPr/>
        </p:nvCxnSpPr>
        <p:spPr>
          <a:xfrm flipV="1">
            <a:off x="4526129" y="1721736"/>
            <a:ext cx="734868" cy="1513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276E77C1-FB2C-4256-AB33-918D0D8FA73D}"/>
              </a:ext>
            </a:extLst>
          </p:cNvPr>
          <p:cNvCxnSpPr>
            <a:cxnSpLocks/>
            <a:stCxn id="104" idx="2"/>
            <a:endCxn id="36" idx="1"/>
          </p:cNvCxnSpPr>
          <p:nvPr/>
        </p:nvCxnSpPr>
        <p:spPr>
          <a:xfrm rot="16200000" flipH="1">
            <a:off x="2426387" y="2524069"/>
            <a:ext cx="1797653" cy="1351222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lowchart: Magnetic Disk 35">
            <a:extLst>
              <a:ext uri="{FF2B5EF4-FFF2-40B4-BE49-F238E27FC236}">
                <a16:creationId xmlns:a16="http://schemas.microsoft.com/office/drawing/2014/main" id="{6526FD56-6DD5-4E9E-A55D-94A43F65D76C}"/>
              </a:ext>
            </a:extLst>
          </p:cNvPr>
          <p:cNvSpPr/>
          <p:nvPr/>
        </p:nvSpPr>
        <p:spPr>
          <a:xfrm>
            <a:off x="3548289" y="4098507"/>
            <a:ext cx="905069" cy="49637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DB SIKI</a:t>
            </a:r>
            <a:endParaRPr lang="id-ID" sz="1200" dirty="0">
              <a:solidFill>
                <a:prstClr val="white"/>
              </a:solidFill>
            </a:endParaRPr>
          </a:p>
        </p:txBody>
      </p:sp>
      <p:sp>
        <p:nvSpPr>
          <p:cNvPr id="39" name="Flowchart: Magnetic Disk 38">
            <a:extLst>
              <a:ext uri="{FF2B5EF4-FFF2-40B4-BE49-F238E27FC236}">
                <a16:creationId xmlns:a16="http://schemas.microsoft.com/office/drawing/2014/main" id="{6D137D94-DC2A-4088-84BA-83CB5EF4B869}"/>
              </a:ext>
            </a:extLst>
          </p:cNvPr>
          <p:cNvSpPr/>
          <p:nvPr/>
        </p:nvSpPr>
        <p:spPr>
          <a:xfrm>
            <a:off x="6389552" y="4098508"/>
            <a:ext cx="974810" cy="496375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DB SIMPAN</a:t>
            </a:r>
            <a:endParaRPr lang="id-ID" sz="1200" dirty="0">
              <a:solidFill>
                <a:prstClr val="white"/>
              </a:solidFill>
            </a:endParaRPr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E3AFFC7C-D6C6-4C33-B17B-F02D5945A018}"/>
              </a:ext>
            </a:extLst>
          </p:cNvPr>
          <p:cNvCxnSpPr>
            <a:cxnSpLocks/>
            <a:stCxn id="104" idx="2"/>
            <a:endCxn id="39" idx="1"/>
          </p:cNvCxnSpPr>
          <p:nvPr/>
        </p:nvCxnSpPr>
        <p:spPr>
          <a:xfrm rot="16200000" flipH="1">
            <a:off x="3864452" y="1086003"/>
            <a:ext cx="1797654" cy="4227355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25">
            <a:extLst>
              <a:ext uri="{FF2B5EF4-FFF2-40B4-BE49-F238E27FC236}">
                <a16:creationId xmlns:a16="http://schemas.microsoft.com/office/drawing/2014/main" id="{8204172C-08CF-4CE4-B63E-AFC3C5BAA36E}"/>
              </a:ext>
            </a:extLst>
          </p:cNvPr>
          <p:cNvCxnSpPr>
            <a:cxnSpLocks/>
            <a:stCxn id="39" idx="2"/>
            <a:endCxn id="36" idx="4"/>
          </p:cNvCxnSpPr>
          <p:nvPr/>
        </p:nvCxnSpPr>
        <p:spPr>
          <a:xfrm flipH="1" flipV="1">
            <a:off x="4453358" y="4346695"/>
            <a:ext cx="1936194" cy="1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6DA89EF4-DC24-4DDE-9903-7AB708EB8A81}"/>
              </a:ext>
            </a:extLst>
          </p:cNvPr>
          <p:cNvSpPr/>
          <p:nvPr/>
        </p:nvSpPr>
        <p:spPr>
          <a:xfrm>
            <a:off x="3412843" y="5178310"/>
            <a:ext cx="1160465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prstClr val="black"/>
                </a:solidFill>
              </a:rPr>
              <a:t>PJBU, PJTBU, PJSKBU</a:t>
            </a:r>
            <a:endParaRPr lang="id-ID" sz="1000" b="1" dirty="0">
              <a:solidFill>
                <a:prstClr val="black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EA7F6AA-4B4A-41C5-85F6-49E0C6D6D130}"/>
              </a:ext>
            </a:extLst>
          </p:cNvPr>
          <p:cNvSpPr/>
          <p:nvPr/>
        </p:nvSpPr>
        <p:spPr>
          <a:xfrm>
            <a:off x="6239123" y="5106989"/>
            <a:ext cx="1249886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err="1">
                <a:solidFill>
                  <a:prstClr val="black"/>
                </a:solidFill>
              </a:rPr>
              <a:t>Pengalaman</a:t>
            </a:r>
            <a:endParaRPr lang="id-ID" sz="1100" b="1" dirty="0">
              <a:solidFill>
                <a:prstClr val="black"/>
              </a:solidFill>
            </a:endParaRPr>
          </a:p>
        </p:txBody>
      </p:sp>
      <p:cxnSp>
        <p:nvCxnSpPr>
          <p:cNvPr id="80" name="Straight Arrow Connector 25">
            <a:extLst>
              <a:ext uri="{FF2B5EF4-FFF2-40B4-BE49-F238E27FC236}">
                <a16:creationId xmlns:a16="http://schemas.microsoft.com/office/drawing/2014/main" id="{488D29E8-B554-4BDD-A5A4-DEA4392EEC2C}"/>
              </a:ext>
            </a:extLst>
          </p:cNvPr>
          <p:cNvCxnSpPr>
            <a:cxnSpLocks/>
            <a:stCxn id="78" idx="0"/>
            <a:endCxn id="39" idx="3"/>
          </p:cNvCxnSpPr>
          <p:nvPr/>
        </p:nvCxnSpPr>
        <p:spPr>
          <a:xfrm flipV="1">
            <a:off x="6864066" y="4594883"/>
            <a:ext cx="12891" cy="512106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05261E76-2057-4D7F-8B13-4795ADA0AFEE}"/>
              </a:ext>
            </a:extLst>
          </p:cNvPr>
          <p:cNvCxnSpPr>
            <a:cxnSpLocks/>
            <a:stCxn id="36" idx="3"/>
            <a:endCxn id="74" idx="0"/>
          </p:cNvCxnSpPr>
          <p:nvPr/>
        </p:nvCxnSpPr>
        <p:spPr>
          <a:xfrm rot="5400000">
            <a:off x="3705237" y="4882722"/>
            <a:ext cx="583427" cy="7748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E543DAA1-3D87-4151-B626-2CCF67265886}"/>
              </a:ext>
            </a:extLst>
          </p:cNvPr>
          <p:cNvSpPr/>
          <p:nvPr/>
        </p:nvSpPr>
        <p:spPr>
          <a:xfrm>
            <a:off x="3268257" y="5680528"/>
            <a:ext cx="1435493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Data </a:t>
            </a:r>
            <a:r>
              <a:rPr lang="en-US" sz="1050" b="1" dirty="0" err="1">
                <a:solidFill>
                  <a:prstClr val="black"/>
                </a:solidFill>
              </a:rPr>
              <a:t>Referensi</a:t>
            </a:r>
            <a:r>
              <a:rPr lang="en-US" sz="1050" b="1" dirty="0">
                <a:solidFill>
                  <a:prstClr val="black"/>
                </a:solidFill>
              </a:rPr>
              <a:t> TKK (Data Personal, </a:t>
            </a:r>
            <a:r>
              <a:rPr lang="en-US" sz="1050" b="1" dirty="0" err="1">
                <a:solidFill>
                  <a:prstClr val="black"/>
                </a:solidFill>
              </a:rPr>
              <a:t>Klasifikasi</a:t>
            </a:r>
            <a:r>
              <a:rPr lang="en-US" sz="1050" b="1" dirty="0">
                <a:solidFill>
                  <a:prstClr val="black"/>
                </a:solidFill>
              </a:rPr>
              <a:t>/</a:t>
            </a:r>
            <a:r>
              <a:rPr lang="en-US" sz="1050" b="1" dirty="0" err="1">
                <a:solidFill>
                  <a:prstClr val="black"/>
                </a:solidFill>
              </a:rPr>
              <a:t>Subklasifikasi</a:t>
            </a:r>
            <a:r>
              <a:rPr lang="en-US" sz="1050" b="1">
                <a:solidFill>
                  <a:prstClr val="black"/>
                </a:solidFill>
              </a:rPr>
              <a:t>, Kualifikasi, Jenjang)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5ACDD8B-CF1E-4241-91A8-635E494FF661}"/>
              </a:ext>
            </a:extLst>
          </p:cNvPr>
          <p:cNvSpPr/>
          <p:nvPr/>
        </p:nvSpPr>
        <p:spPr>
          <a:xfrm>
            <a:off x="5819315" y="5619095"/>
            <a:ext cx="2147286" cy="109147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>
                <a:solidFill>
                  <a:prstClr val="black"/>
                </a:solidFill>
              </a:rPr>
              <a:t>- Data </a:t>
            </a:r>
            <a:r>
              <a:rPr lang="en-US" sz="1050" b="1" dirty="0" err="1">
                <a:solidFill>
                  <a:prstClr val="black"/>
                </a:solidFill>
              </a:rPr>
              <a:t>Referensi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err="1">
                <a:solidFill>
                  <a:prstClr val="black"/>
                </a:solidFill>
              </a:rPr>
              <a:t>Pengalaman</a:t>
            </a:r>
            <a:r>
              <a:rPr lang="en-US" sz="1050" b="1">
                <a:solidFill>
                  <a:prstClr val="black"/>
                </a:solidFill>
              </a:rPr>
              <a:t> Lampau</a:t>
            </a:r>
          </a:p>
          <a:p>
            <a:pPr algn="ctr"/>
            <a:r>
              <a:rPr lang="en-US" sz="1050" b="1">
                <a:solidFill>
                  <a:prstClr val="black"/>
                </a:solidFill>
              </a:rPr>
              <a:t>- Data Pengalaman Terverifikasi hasil Sertifikasi</a:t>
            </a:r>
          </a:p>
          <a:p>
            <a:pPr algn="ctr"/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DC6C742-2E64-43A7-9E8B-5492218BAE6E}"/>
              </a:ext>
            </a:extLst>
          </p:cNvPr>
          <p:cNvSpPr/>
          <p:nvPr/>
        </p:nvSpPr>
        <p:spPr>
          <a:xfrm>
            <a:off x="200934" y="2093506"/>
            <a:ext cx="1712548" cy="626454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000" dirty="0">
                <a:solidFill>
                  <a:prstClr val="white"/>
                </a:solidFill>
              </a:rPr>
              <a:t>1. </a:t>
            </a:r>
            <a:r>
              <a:rPr lang="en-US" sz="1000" dirty="0" err="1">
                <a:solidFill>
                  <a:prstClr val="white"/>
                </a:solidFill>
              </a:rPr>
              <a:t>Permohonan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ru</a:t>
            </a:r>
            <a:endParaRPr lang="en-US" sz="1000" dirty="0">
              <a:solidFill>
                <a:prstClr val="white"/>
              </a:solidFill>
            </a:endParaRPr>
          </a:p>
          <a:p>
            <a:pPr algn="just"/>
            <a:r>
              <a:rPr lang="en-US" sz="1000" dirty="0">
                <a:solidFill>
                  <a:prstClr val="white"/>
                </a:solidFill>
              </a:rPr>
              <a:t>2.Permohonan </a:t>
            </a:r>
            <a:r>
              <a:rPr lang="en-US" sz="1000" dirty="0" err="1">
                <a:solidFill>
                  <a:prstClr val="white"/>
                </a:solidFill>
              </a:rPr>
              <a:t>Perpanjangan</a:t>
            </a:r>
            <a:endParaRPr lang="en-US" sz="1000" dirty="0">
              <a:solidFill>
                <a:prstClr val="white"/>
              </a:solidFill>
            </a:endParaRPr>
          </a:p>
          <a:p>
            <a:pPr algn="just"/>
            <a:r>
              <a:rPr lang="en-US" sz="1000" dirty="0">
                <a:solidFill>
                  <a:prstClr val="white"/>
                </a:solidFill>
              </a:rPr>
              <a:t>3. </a:t>
            </a:r>
            <a:r>
              <a:rPr lang="en-US" sz="1000" dirty="0" err="1">
                <a:solidFill>
                  <a:prstClr val="white"/>
                </a:solidFill>
              </a:rPr>
              <a:t>Permohonan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Perubahan</a:t>
            </a:r>
            <a:endParaRPr lang="en-US" sz="1000" dirty="0">
              <a:solidFill>
                <a:prstClr val="white"/>
              </a:solidFill>
            </a:endParaRPr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1D94EAD8-1125-4528-A643-BA99931954CD}"/>
              </a:ext>
            </a:extLst>
          </p:cNvPr>
          <p:cNvCxnSpPr>
            <a:cxnSpLocks/>
            <a:stCxn id="151" idx="3"/>
            <a:endCxn id="71" idx="1"/>
          </p:cNvCxnSpPr>
          <p:nvPr/>
        </p:nvCxnSpPr>
        <p:spPr>
          <a:xfrm>
            <a:off x="4524525" y="2376163"/>
            <a:ext cx="1041325" cy="264330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399489BD-6DA4-4A55-95A9-1E97C47C923A}"/>
              </a:ext>
            </a:extLst>
          </p:cNvPr>
          <p:cNvSpPr/>
          <p:nvPr/>
        </p:nvSpPr>
        <p:spPr>
          <a:xfrm>
            <a:off x="3447480" y="1429952"/>
            <a:ext cx="1078649" cy="58659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>
                <a:solidFill>
                  <a:prstClr val="black"/>
                </a:solidFill>
              </a:rPr>
              <a:t>Permohonan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  <a:r>
              <a:rPr lang="en-US" sz="1050" err="1">
                <a:solidFill>
                  <a:prstClr val="black"/>
                </a:solidFill>
              </a:rPr>
              <a:t>Sesuai</a:t>
            </a:r>
            <a:r>
              <a:rPr lang="en-US" sz="1050">
                <a:solidFill>
                  <a:prstClr val="black"/>
                </a:solidFill>
              </a:rPr>
              <a:t> LSBU</a:t>
            </a:r>
            <a:endParaRPr lang="id-ID" sz="1050" dirty="0">
              <a:solidFill>
                <a:prstClr val="black"/>
              </a:solidFill>
            </a:endParaRPr>
          </a:p>
        </p:txBody>
      </p:sp>
      <p:cxnSp>
        <p:nvCxnSpPr>
          <p:cNvPr id="59" name="Straight Arrow Connector 25">
            <a:extLst>
              <a:ext uri="{FF2B5EF4-FFF2-40B4-BE49-F238E27FC236}">
                <a16:creationId xmlns:a16="http://schemas.microsoft.com/office/drawing/2014/main" id="{D76E68AB-ECED-4255-99C5-BAE2D88BDA42}"/>
              </a:ext>
            </a:extLst>
          </p:cNvPr>
          <p:cNvCxnSpPr>
            <a:cxnSpLocks/>
            <a:stCxn id="104" idx="3"/>
            <a:endCxn id="56" idx="1"/>
          </p:cNvCxnSpPr>
          <p:nvPr/>
        </p:nvCxnSpPr>
        <p:spPr>
          <a:xfrm>
            <a:off x="3201950" y="1710836"/>
            <a:ext cx="245530" cy="12413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C1FF458D-2D0B-4214-AD4A-77803CB2F4DF}"/>
              </a:ext>
            </a:extLst>
          </p:cNvPr>
          <p:cNvSpPr/>
          <p:nvPr/>
        </p:nvSpPr>
        <p:spPr>
          <a:xfrm>
            <a:off x="8723073" y="1399912"/>
            <a:ext cx="962717" cy="593801"/>
          </a:xfrm>
          <a:prstGeom prst="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prstClr val="black"/>
                </a:solidFill>
              </a:rPr>
              <a:t>Melakukan Pembayaran</a:t>
            </a:r>
          </a:p>
          <a:p>
            <a:pPr algn="ctr"/>
            <a:r>
              <a:rPr lang="en-US" sz="900" i="1">
                <a:solidFill>
                  <a:prstClr val="black"/>
                </a:solidFill>
              </a:rPr>
              <a:t>(Start Asessment)</a:t>
            </a:r>
            <a:endParaRPr lang="id-ID" sz="900" i="1">
              <a:solidFill>
                <a:prstClr val="black"/>
              </a:solidFill>
            </a:endParaRPr>
          </a:p>
        </p:txBody>
      </p:sp>
      <p:sp>
        <p:nvSpPr>
          <p:cNvPr id="87" name="TextBox 48">
            <a:extLst>
              <a:ext uri="{FF2B5EF4-FFF2-40B4-BE49-F238E27FC236}">
                <a16:creationId xmlns:a16="http://schemas.microsoft.com/office/drawing/2014/main" id="{FF0445C7-3768-418C-8D2F-D849F24F0B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722" y="883098"/>
            <a:ext cx="666660" cy="5847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600" b="1">
                <a:solidFill>
                  <a:prstClr val="black"/>
                </a:solidFill>
                <a:ea typeface="MS PGothic" panose="020B0600070205080204" pitchFamily="34" charset="-128"/>
              </a:rPr>
              <a:t>LPJK/SIKI</a:t>
            </a:r>
            <a:endParaRPr lang="en-US" altLang="id-ID" sz="1400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88" name="TextBox 48">
            <a:extLst>
              <a:ext uri="{FF2B5EF4-FFF2-40B4-BE49-F238E27FC236}">
                <a16:creationId xmlns:a16="http://schemas.microsoft.com/office/drawing/2014/main" id="{0E36BC04-1280-41BA-B0AF-BA78800195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9108" y="807578"/>
            <a:ext cx="1379611" cy="33855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600" b="1">
                <a:solidFill>
                  <a:prstClr val="black"/>
                </a:solidFill>
                <a:ea typeface="MS PGothic" panose="020B0600070205080204" pitchFamily="34" charset="-128"/>
              </a:rPr>
              <a:t>PUPR/UMKU</a:t>
            </a:r>
            <a:endParaRPr lang="en-US" altLang="id-ID" sz="1400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B651714D-F018-4032-B000-DC8CACB7F5F5}"/>
              </a:ext>
            </a:extLst>
          </p:cNvPr>
          <p:cNvCxnSpPr>
            <a:cxnSpLocks/>
            <a:stCxn id="71" idx="3"/>
          </p:cNvCxnSpPr>
          <p:nvPr/>
        </p:nvCxnSpPr>
        <p:spPr>
          <a:xfrm flipV="1">
            <a:off x="7115340" y="2637575"/>
            <a:ext cx="2713223" cy="2918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Box 169">
            <a:extLst>
              <a:ext uri="{FF2B5EF4-FFF2-40B4-BE49-F238E27FC236}">
                <a16:creationId xmlns:a16="http://schemas.microsoft.com/office/drawing/2014/main" id="{B8F9D518-E2EA-416E-BC8D-543F7F5FBE92}"/>
              </a:ext>
            </a:extLst>
          </p:cNvPr>
          <p:cNvSpPr txBox="1"/>
          <p:nvPr/>
        </p:nvSpPr>
        <p:spPr>
          <a:xfrm>
            <a:off x="5420323" y="822750"/>
            <a:ext cx="61010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>
                <a:solidFill>
                  <a:prstClr val="black"/>
                </a:solidFill>
              </a:rPr>
              <a:t>Belum Kompeten/Proses Banding</a:t>
            </a:r>
            <a:endParaRPr lang="id-ID" sz="1200" dirty="0">
              <a:solidFill>
                <a:prstClr val="black"/>
              </a:solidFill>
            </a:endParaRPr>
          </a:p>
        </p:txBody>
      </p:sp>
      <p:cxnSp>
        <p:nvCxnSpPr>
          <p:cNvPr id="175" name="Connector: Elbow 174">
            <a:extLst>
              <a:ext uri="{FF2B5EF4-FFF2-40B4-BE49-F238E27FC236}">
                <a16:creationId xmlns:a16="http://schemas.microsoft.com/office/drawing/2014/main" id="{06F790EF-9E65-4D88-B057-5F030378BD4C}"/>
              </a:ext>
            </a:extLst>
          </p:cNvPr>
          <p:cNvCxnSpPr>
            <a:cxnSpLocks/>
            <a:stCxn id="56" idx="0"/>
            <a:endCxn id="244" idx="3"/>
          </p:cNvCxnSpPr>
          <p:nvPr/>
        </p:nvCxnSpPr>
        <p:spPr>
          <a:xfrm rot="16200000" flipH="1">
            <a:off x="6833898" y="-1417142"/>
            <a:ext cx="1209795" cy="6903983"/>
          </a:xfrm>
          <a:prstGeom prst="bentConnector4">
            <a:avLst>
              <a:gd name="adj1" fmla="val -28443"/>
              <a:gd name="adj2" fmla="val 105263"/>
            </a:avLst>
          </a:prstGeom>
          <a:ln w="38100">
            <a:solidFill>
              <a:srgbClr val="C00000"/>
            </a:solidFill>
            <a:prstDash val="sys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14">
            <a:extLst>
              <a:ext uri="{FF2B5EF4-FFF2-40B4-BE49-F238E27FC236}">
                <a16:creationId xmlns:a16="http://schemas.microsoft.com/office/drawing/2014/main" id="{D10CA37A-BA64-42B0-BFAC-8ACAE1AE1C2C}"/>
              </a:ext>
            </a:extLst>
          </p:cNvPr>
          <p:cNvSpPr/>
          <p:nvPr/>
        </p:nvSpPr>
        <p:spPr>
          <a:xfrm>
            <a:off x="1079644" y="1467873"/>
            <a:ext cx="515789" cy="479543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ea"/>
              </a:rPr>
              <a:t>OSS</a:t>
            </a:r>
          </a:p>
        </p:txBody>
      </p:sp>
      <p:cxnSp>
        <p:nvCxnSpPr>
          <p:cNvPr id="8" name="Straight Arrow Connector 7"/>
          <p:cNvCxnSpPr>
            <a:stCxn id="38" idx="3"/>
          </p:cNvCxnSpPr>
          <p:nvPr/>
        </p:nvCxnSpPr>
        <p:spPr>
          <a:xfrm>
            <a:off x="746068" y="1712596"/>
            <a:ext cx="341587" cy="70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D21D7B31-79B8-40E4-ACC1-80064E475A1B}"/>
              </a:ext>
            </a:extLst>
          </p:cNvPr>
          <p:cNvSpPr/>
          <p:nvPr/>
        </p:nvSpPr>
        <p:spPr>
          <a:xfrm>
            <a:off x="5565850" y="2369875"/>
            <a:ext cx="1549490" cy="541235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prstClr val="black"/>
                </a:solidFill>
              </a:rPr>
              <a:t>Membuat Laporan dan data teknis</a:t>
            </a:r>
          </a:p>
          <a:p>
            <a:pPr algn="ctr"/>
            <a:r>
              <a:rPr lang="en-US" sz="1000">
                <a:solidFill>
                  <a:prstClr val="black"/>
                </a:solidFill>
              </a:rPr>
              <a:t>Permohonan Pencatatan 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8" name="Flowchart: Magnetic Disk 107">
            <a:extLst>
              <a:ext uri="{FF2B5EF4-FFF2-40B4-BE49-F238E27FC236}">
                <a16:creationId xmlns:a16="http://schemas.microsoft.com/office/drawing/2014/main" id="{6D137D94-DC2A-4088-84BA-83CB5EF4B869}"/>
              </a:ext>
            </a:extLst>
          </p:cNvPr>
          <p:cNvSpPr/>
          <p:nvPr/>
        </p:nvSpPr>
        <p:spPr>
          <a:xfrm>
            <a:off x="9646568" y="4098508"/>
            <a:ext cx="905069" cy="45170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prstClr val="white"/>
                </a:solidFill>
              </a:rPr>
              <a:t>DB SIMPK</a:t>
            </a:r>
            <a:endParaRPr lang="id-ID" sz="1200" dirty="0">
              <a:solidFill>
                <a:prstClr val="white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0EA7F6AA-4B4A-41C5-85F6-49E0C6D6D130}"/>
              </a:ext>
            </a:extLst>
          </p:cNvPr>
          <p:cNvSpPr/>
          <p:nvPr/>
        </p:nvSpPr>
        <p:spPr>
          <a:xfrm>
            <a:off x="9518833" y="5156886"/>
            <a:ext cx="1160465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prstClr val="black"/>
                </a:solidFill>
              </a:rPr>
              <a:t>Peralatan</a:t>
            </a:r>
            <a:endParaRPr lang="id-ID" sz="1100" b="1" dirty="0">
              <a:solidFill>
                <a:prstClr val="black"/>
              </a:solidFill>
            </a:endParaRPr>
          </a:p>
        </p:txBody>
      </p:sp>
      <p:cxnSp>
        <p:nvCxnSpPr>
          <p:cNvPr id="110" name="Straight Arrow Connector 25">
            <a:extLst>
              <a:ext uri="{FF2B5EF4-FFF2-40B4-BE49-F238E27FC236}">
                <a16:creationId xmlns:a16="http://schemas.microsoft.com/office/drawing/2014/main" id="{488D29E8-B554-4BDD-A5A4-DEA4392EEC2C}"/>
              </a:ext>
            </a:extLst>
          </p:cNvPr>
          <p:cNvCxnSpPr>
            <a:cxnSpLocks/>
            <a:stCxn id="109" idx="0"/>
            <a:endCxn id="108" idx="3"/>
          </p:cNvCxnSpPr>
          <p:nvPr/>
        </p:nvCxnSpPr>
        <p:spPr>
          <a:xfrm flipV="1">
            <a:off x="10099066" y="4550214"/>
            <a:ext cx="37" cy="606672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55ACDD8B-CF1E-4241-91A8-635E494FF661}"/>
              </a:ext>
            </a:extLst>
          </p:cNvPr>
          <p:cNvSpPr/>
          <p:nvPr/>
        </p:nvSpPr>
        <p:spPr>
          <a:xfrm>
            <a:off x="9518833" y="5656788"/>
            <a:ext cx="1160465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Data </a:t>
            </a:r>
            <a:r>
              <a:rPr lang="en-US" sz="1050" b="1" err="1">
                <a:solidFill>
                  <a:prstClr val="black"/>
                </a:solidFill>
              </a:rPr>
              <a:t>Referensi</a:t>
            </a:r>
            <a:r>
              <a:rPr lang="en-US" sz="1050" b="1">
                <a:solidFill>
                  <a:prstClr val="black"/>
                </a:solidFill>
              </a:rPr>
              <a:t> Peralatan</a:t>
            </a:r>
            <a:endParaRPr lang="en-US" sz="1050" b="1" dirty="0">
              <a:solidFill>
                <a:prstClr val="black"/>
              </a:solidFill>
            </a:endParaRPr>
          </a:p>
        </p:txBody>
      </p:sp>
      <p:cxnSp>
        <p:nvCxnSpPr>
          <p:cNvPr id="114" name="Straight Arrow Connector 25">
            <a:extLst>
              <a:ext uri="{FF2B5EF4-FFF2-40B4-BE49-F238E27FC236}">
                <a16:creationId xmlns:a16="http://schemas.microsoft.com/office/drawing/2014/main" id="{8204172C-08CF-4CE4-B63E-AFC3C5BAA36E}"/>
              </a:ext>
            </a:extLst>
          </p:cNvPr>
          <p:cNvCxnSpPr>
            <a:cxnSpLocks/>
            <a:stCxn id="108" idx="2"/>
            <a:endCxn id="39" idx="4"/>
          </p:cNvCxnSpPr>
          <p:nvPr/>
        </p:nvCxnSpPr>
        <p:spPr>
          <a:xfrm flipH="1">
            <a:off x="7364362" y="4324361"/>
            <a:ext cx="2282206" cy="22335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Elbow Connector 121"/>
          <p:cNvCxnSpPr>
            <a:stCxn id="104" idx="2"/>
            <a:endCxn id="108" idx="1"/>
          </p:cNvCxnSpPr>
          <p:nvPr/>
        </p:nvCxnSpPr>
        <p:spPr>
          <a:xfrm rot="16200000" flipH="1">
            <a:off x="5475525" y="-525070"/>
            <a:ext cx="1797654" cy="7449501"/>
          </a:xfrm>
          <a:prstGeom prst="bentConnector3">
            <a:avLst/>
          </a:prstGeom>
          <a:ln w="38100">
            <a:solidFill>
              <a:srgbClr val="00206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>
            <a:extLst>
              <a:ext uri="{FF2B5EF4-FFF2-40B4-BE49-F238E27FC236}">
                <a16:creationId xmlns:a16="http://schemas.microsoft.com/office/drawing/2014/main" id="{399489BD-6DA4-4A55-95A9-1E97C47C923A}"/>
              </a:ext>
            </a:extLst>
          </p:cNvPr>
          <p:cNvSpPr/>
          <p:nvPr/>
        </p:nvSpPr>
        <p:spPr>
          <a:xfrm>
            <a:off x="3445876" y="2082866"/>
            <a:ext cx="1078649" cy="58659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prstClr val="black"/>
                </a:solidFill>
              </a:rPr>
              <a:t>Penerbitan SBUKonstruksi (E-Sertifikat)</a:t>
            </a:r>
            <a:endParaRPr lang="en-US" sz="1050" dirty="0">
              <a:solidFill>
                <a:prstClr val="black"/>
              </a:solidFill>
            </a:endParaRPr>
          </a:p>
        </p:txBody>
      </p:sp>
      <p:cxnSp>
        <p:nvCxnSpPr>
          <p:cNvPr id="160" name="Connector: Elbow 104">
            <a:extLst>
              <a:ext uri="{FF2B5EF4-FFF2-40B4-BE49-F238E27FC236}">
                <a16:creationId xmlns:a16="http://schemas.microsoft.com/office/drawing/2014/main" id="{1D94EAD8-1125-4528-A643-BA99931954CD}"/>
              </a:ext>
            </a:extLst>
          </p:cNvPr>
          <p:cNvCxnSpPr>
            <a:cxnSpLocks/>
            <a:endCxn id="151" idx="2"/>
          </p:cNvCxnSpPr>
          <p:nvPr/>
        </p:nvCxnSpPr>
        <p:spPr>
          <a:xfrm>
            <a:off x="2772007" y="2302657"/>
            <a:ext cx="1213194" cy="366803"/>
          </a:xfrm>
          <a:prstGeom prst="bentConnector4">
            <a:avLst>
              <a:gd name="adj1" fmla="val 1601"/>
              <a:gd name="adj2" fmla="val 162322"/>
            </a:avLst>
          </a:prstGeom>
          <a:ln w="38100">
            <a:solidFill>
              <a:srgbClr val="00206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Flowchart: Magnetic Disk 177">
            <a:extLst>
              <a:ext uri="{FF2B5EF4-FFF2-40B4-BE49-F238E27FC236}">
                <a16:creationId xmlns:a16="http://schemas.microsoft.com/office/drawing/2014/main" id="{6526FD56-6DD5-4E9E-A55D-94A43F65D76C}"/>
              </a:ext>
            </a:extLst>
          </p:cNvPr>
          <p:cNvSpPr/>
          <p:nvPr/>
        </p:nvSpPr>
        <p:spPr>
          <a:xfrm>
            <a:off x="1242619" y="4098507"/>
            <a:ext cx="905069" cy="55075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prstClr val="white"/>
                </a:solidFill>
              </a:rPr>
              <a:t>DB OSS</a:t>
            </a:r>
            <a:endParaRPr lang="id-ID" sz="1200" dirty="0">
              <a:solidFill>
                <a:prstClr val="white"/>
              </a:solidFill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6DA89EF4-DC24-4DDE-9903-7AB708EB8A81}"/>
              </a:ext>
            </a:extLst>
          </p:cNvPr>
          <p:cNvSpPr/>
          <p:nvPr/>
        </p:nvSpPr>
        <p:spPr>
          <a:xfrm>
            <a:off x="1107173" y="5232690"/>
            <a:ext cx="1160465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prstClr val="black"/>
                </a:solidFill>
              </a:rPr>
              <a:t>Data Administrasi</a:t>
            </a:r>
            <a:endParaRPr lang="id-ID" sz="1000" b="1" dirty="0">
              <a:solidFill>
                <a:prstClr val="black"/>
              </a:solidFill>
            </a:endParaRPr>
          </a:p>
        </p:txBody>
      </p:sp>
      <p:cxnSp>
        <p:nvCxnSpPr>
          <p:cNvPr id="180" name="Connector: Elbow 114">
            <a:extLst>
              <a:ext uri="{FF2B5EF4-FFF2-40B4-BE49-F238E27FC236}">
                <a16:creationId xmlns:a16="http://schemas.microsoft.com/office/drawing/2014/main" id="{05261E76-2057-4D7F-8B13-4795ADA0AFEE}"/>
              </a:ext>
            </a:extLst>
          </p:cNvPr>
          <p:cNvCxnSpPr>
            <a:cxnSpLocks/>
            <a:stCxn id="178" idx="3"/>
            <a:endCxn id="179" idx="0"/>
          </p:cNvCxnSpPr>
          <p:nvPr/>
        </p:nvCxnSpPr>
        <p:spPr>
          <a:xfrm rot="5400000">
            <a:off x="1399567" y="4937102"/>
            <a:ext cx="583427" cy="7748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E543DAA1-3D87-4151-B626-2CCF67265886}"/>
              </a:ext>
            </a:extLst>
          </p:cNvPr>
          <p:cNvSpPr/>
          <p:nvPr/>
        </p:nvSpPr>
        <p:spPr>
          <a:xfrm>
            <a:off x="1022701" y="5717790"/>
            <a:ext cx="1274489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>
              <a:buFontTx/>
              <a:buChar char="-"/>
            </a:pPr>
            <a:r>
              <a:rPr lang="en-US" sz="1050" b="1">
                <a:solidFill>
                  <a:prstClr val="black"/>
                </a:solidFill>
              </a:rPr>
              <a:t>Identitas Perusahaan</a:t>
            </a:r>
          </a:p>
          <a:p>
            <a:pPr marL="171450" indent="-171450" algn="ctr">
              <a:buFontTx/>
              <a:buChar char="-"/>
            </a:pPr>
            <a:r>
              <a:rPr lang="en-US" sz="1050" b="1">
                <a:solidFill>
                  <a:prstClr val="black"/>
                </a:solidFill>
              </a:rPr>
              <a:t>Akte Pendirian</a:t>
            </a:r>
          </a:p>
          <a:p>
            <a:pPr marL="171450" indent="-171450" algn="ctr">
              <a:buFontTx/>
              <a:buChar char="-"/>
            </a:pPr>
            <a:r>
              <a:rPr lang="en-US" sz="1050" b="1">
                <a:solidFill>
                  <a:prstClr val="black"/>
                </a:solidFill>
              </a:rPr>
              <a:t>Saham</a:t>
            </a:r>
            <a:endParaRPr lang="en-US" sz="1050" b="1" dirty="0">
              <a:solidFill>
                <a:prstClr val="black"/>
              </a:solidFill>
            </a:endParaRPr>
          </a:p>
        </p:txBody>
      </p:sp>
      <p:cxnSp>
        <p:nvCxnSpPr>
          <p:cNvPr id="186" name="Elbow Connector 185"/>
          <p:cNvCxnSpPr>
            <a:stCxn id="104" idx="2"/>
          </p:cNvCxnSpPr>
          <p:nvPr/>
        </p:nvCxnSpPr>
        <p:spPr>
          <a:xfrm rot="5400000">
            <a:off x="1273166" y="2730686"/>
            <a:ext cx="1806268" cy="946605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25">
            <a:extLst>
              <a:ext uri="{FF2B5EF4-FFF2-40B4-BE49-F238E27FC236}">
                <a16:creationId xmlns:a16="http://schemas.microsoft.com/office/drawing/2014/main" id="{D76E68AB-ECED-4255-99C5-BAE2D88BDA42}"/>
              </a:ext>
            </a:extLst>
          </p:cNvPr>
          <p:cNvCxnSpPr>
            <a:cxnSpLocks/>
          </p:cNvCxnSpPr>
          <p:nvPr/>
        </p:nvCxnSpPr>
        <p:spPr>
          <a:xfrm flipH="1">
            <a:off x="1588168" y="1819175"/>
            <a:ext cx="471638" cy="1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Flowchart: Decision 202"/>
          <p:cNvSpPr/>
          <p:nvPr/>
        </p:nvSpPr>
        <p:spPr>
          <a:xfrm>
            <a:off x="6280398" y="1395606"/>
            <a:ext cx="991678" cy="667904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7" name="TextBox 206"/>
          <p:cNvSpPr txBox="1"/>
          <p:nvPr/>
        </p:nvSpPr>
        <p:spPr>
          <a:xfrm>
            <a:off x="6428944" y="1606448"/>
            <a:ext cx="7035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prstClr val="black"/>
                </a:solidFill>
              </a:rPr>
              <a:t>Lengkap</a:t>
            </a:r>
          </a:p>
        </p:txBody>
      </p:sp>
      <p:cxnSp>
        <p:nvCxnSpPr>
          <p:cNvPr id="209" name="Straight Arrow Connector 25">
            <a:extLst>
              <a:ext uri="{FF2B5EF4-FFF2-40B4-BE49-F238E27FC236}">
                <a16:creationId xmlns:a16="http://schemas.microsoft.com/office/drawing/2014/main" id="{791382A1-6430-4716-90C9-BDB9D41DAA23}"/>
              </a:ext>
            </a:extLst>
          </p:cNvPr>
          <p:cNvCxnSpPr>
            <a:cxnSpLocks/>
          </p:cNvCxnSpPr>
          <p:nvPr/>
        </p:nvCxnSpPr>
        <p:spPr>
          <a:xfrm>
            <a:off x="7269417" y="1733090"/>
            <a:ext cx="212162" cy="6724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Arrow Connector 25">
            <a:extLst>
              <a:ext uri="{FF2B5EF4-FFF2-40B4-BE49-F238E27FC236}">
                <a16:creationId xmlns:a16="http://schemas.microsoft.com/office/drawing/2014/main" id="{791382A1-6430-4716-90C9-BDB9D41DAA23}"/>
              </a:ext>
            </a:extLst>
          </p:cNvPr>
          <p:cNvCxnSpPr>
            <a:cxnSpLocks/>
          </p:cNvCxnSpPr>
          <p:nvPr/>
        </p:nvCxnSpPr>
        <p:spPr>
          <a:xfrm>
            <a:off x="6009017" y="1715072"/>
            <a:ext cx="275709" cy="0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B8F9D518-E2EA-416E-BC8D-543F7F5FBE92}"/>
              </a:ext>
            </a:extLst>
          </p:cNvPr>
          <p:cNvSpPr txBox="1"/>
          <p:nvPr/>
        </p:nvSpPr>
        <p:spPr>
          <a:xfrm>
            <a:off x="1927830" y="635476"/>
            <a:ext cx="61010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>
                <a:solidFill>
                  <a:prstClr val="black"/>
                </a:solidFill>
              </a:rPr>
              <a:t>Tidak lengkap</a:t>
            </a:r>
            <a:endParaRPr lang="id-ID" sz="1200" dirty="0">
              <a:solidFill>
                <a:prstClr val="black"/>
              </a:solidFill>
            </a:endParaRPr>
          </a:p>
        </p:txBody>
      </p:sp>
      <p:grpSp>
        <p:nvGrpSpPr>
          <p:cNvPr id="231" name="Group 230"/>
          <p:cNvGrpSpPr/>
          <p:nvPr/>
        </p:nvGrpSpPr>
        <p:grpSpPr>
          <a:xfrm>
            <a:off x="3792423" y="883922"/>
            <a:ext cx="3035018" cy="531040"/>
            <a:chOff x="3224531" y="951299"/>
            <a:chExt cx="2579791" cy="531040"/>
          </a:xfrm>
        </p:grpSpPr>
        <p:cxnSp>
          <p:nvCxnSpPr>
            <p:cNvPr id="226" name="Straight Connector 225"/>
            <p:cNvCxnSpPr/>
            <p:nvPr/>
          </p:nvCxnSpPr>
          <p:spPr>
            <a:xfrm flipV="1">
              <a:off x="5801470" y="951299"/>
              <a:ext cx="2852" cy="502487"/>
            </a:xfrm>
            <a:prstGeom prst="line">
              <a:avLst/>
            </a:prstGeom>
            <a:ln w="38100"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/>
            <p:cNvCxnSpPr/>
            <p:nvPr/>
          </p:nvCxnSpPr>
          <p:spPr>
            <a:xfrm flipH="1">
              <a:off x="3224531" y="979852"/>
              <a:ext cx="2446701" cy="0"/>
            </a:xfrm>
            <a:prstGeom prst="line">
              <a:avLst/>
            </a:prstGeom>
            <a:ln w="38100"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Arrow Connector 229"/>
            <p:cNvCxnSpPr/>
            <p:nvPr/>
          </p:nvCxnSpPr>
          <p:spPr>
            <a:xfrm>
              <a:off x="3262352" y="1095161"/>
              <a:ext cx="0" cy="387178"/>
            </a:xfrm>
            <a:prstGeom prst="straightConnector1">
              <a:avLst/>
            </a:prstGeom>
            <a:ln w="38100">
              <a:solidFill>
                <a:srgbClr val="C0000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3" name="Rectangle 232">
            <a:extLst>
              <a:ext uri="{FF2B5EF4-FFF2-40B4-BE49-F238E27FC236}">
                <a16:creationId xmlns:a16="http://schemas.microsoft.com/office/drawing/2014/main" id="{C1FF458D-2D0B-4214-AD4A-77803CB2F4DF}"/>
              </a:ext>
            </a:extLst>
          </p:cNvPr>
          <p:cNvSpPr/>
          <p:nvPr/>
        </p:nvSpPr>
        <p:spPr>
          <a:xfrm>
            <a:off x="7481579" y="1411702"/>
            <a:ext cx="1076222" cy="593801"/>
          </a:xfrm>
          <a:prstGeom prst="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prstClr val="black"/>
                </a:solidFill>
              </a:rPr>
              <a:t>Penerbitan Invoice dan Perjanjian Sertifikasi</a:t>
            </a:r>
            <a:endParaRPr lang="id-ID" sz="900" dirty="0">
              <a:solidFill>
                <a:prstClr val="black"/>
              </a:solidFill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AFC36F5B-04D2-467D-BD3A-479A79B30ECA}"/>
              </a:ext>
            </a:extLst>
          </p:cNvPr>
          <p:cNvSpPr/>
          <p:nvPr/>
        </p:nvSpPr>
        <p:spPr>
          <a:xfrm>
            <a:off x="9862951" y="1396058"/>
            <a:ext cx="1228753" cy="612312"/>
          </a:xfrm>
          <a:prstGeom prst="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prstClr val="black"/>
                </a:solidFill>
              </a:rPr>
              <a:t>Penunjukkan Asesor dan Melaksanakan Asesmen</a:t>
            </a:r>
          </a:p>
        </p:txBody>
      </p:sp>
      <p:sp>
        <p:nvSpPr>
          <p:cNvPr id="244" name="Flowchart: Decision 243">
            <a:extLst>
              <a:ext uri="{FF2B5EF4-FFF2-40B4-BE49-F238E27FC236}">
                <a16:creationId xmlns:a16="http://schemas.microsoft.com/office/drawing/2014/main" id="{475167E5-1F27-46DE-8BF1-5479132379D1}"/>
              </a:ext>
            </a:extLst>
          </p:cNvPr>
          <p:cNvSpPr/>
          <p:nvPr/>
        </p:nvSpPr>
        <p:spPr>
          <a:xfrm>
            <a:off x="9826940" y="2318584"/>
            <a:ext cx="1063848" cy="642326"/>
          </a:xfrm>
          <a:prstGeom prst="flowChartDecision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50" dirty="0">
              <a:solidFill>
                <a:prstClr val="black"/>
              </a:solidFill>
            </a:endParaRPr>
          </a:p>
        </p:txBody>
      </p:sp>
      <p:cxnSp>
        <p:nvCxnSpPr>
          <p:cNvPr id="248" name="Straight Arrow Connector 25">
            <a:extLst>
              <a:ext uri="{FF2B5EF4-FFF2-40B4-BE49-F238E27FC236}">
                <a16:creationId xmlns:a16="http://schemas.microsoft.com/office/drawing/2014/main" id="{791382A1-6430-4716-90C9-BDB9D41DAA23}"/>
              </a:ext>
            </a:extLst>
          </p:cNvPr>
          <p:cNvCxnSpPr>
            <a:cxnSpLocks/>
          </p:cNvCxnSpPr>
          <p:nvPr/>
        </p:nvCxnSpPr>
        <p:spPr>
          <a:xfrm flipV="1">
            <a:off x="9690035" y="1718735"/>
            <a:ext cx="172915" cy="3909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5">
            <a:extLst>
              <a:ext uri="{FF2B5EF4-FFF2-40B4-BE49-F238E27FC236}">
                <a16:creationId xmlns:a16="http://schemas.microsoft.com/office/drawing/2014/main" id="{791382A1-6430-4716-90C9-BDB9D41DAA23}"/>
              </a:ext>
            </a:extLst>
          </p:cNvPr>
          <p:cNvCxnSpPr>
            <a:cxnSpLocks/>
          </p:cNvCxnSpPr>
          <p:nvPr/>
        </p:nvCxnSpPr>
        <p:spPr>
          <a:xfrm>
            <a:off x="8562046" y="1721476"/>
            <a:ext cx="172915" cy="3245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TextBox 257"/>
          <p:cNvSpPr txBox="1"/>
          <p:nvPr/>
        </p:nvSpPr>
        <p:spPr>
          <a:xfrm>
            <a:off x="10012334" y="2418676"/>
            <a:ext cx="8784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prstClr val="black"/>
                </a:solidFill>
              </a:rPr>
              <a:t>Penetapan Keputusan</a:t>
            </a:r>
            <a:endParaRPr lang="id-ID" sz="1000">
              <a:solidFill>
                <a:prstClr val="black"/>
              </a:solidFill>
            </a:endParaRPr>
          </a:p>
        </p:txBody>
      </p:sp>
      <p:cxnSp>
        <p:nvCxnSpPr>
          <p:cNvPr id="267" name="Straight Arrow Connector 25">
            <a:extLst>
              <a:ext uri="{FF2B5EF4-FFF2-40B4-BE49-F238E27FC236}">
                <a16:creationId xmlns:a16="http://schemas.microsoft.com/office/drawing/2014/main" id="{D76E68AB-ECED-4255-99C5-BAE2D88BDA42}"/>
              </a:ext>
            </a:extLst>
          </p:cNvPr>
          <p:cNvCxnSpPr>
            <a:cxnSpLocks/>
          </p:cNvCxnSpPr>
          <p:nvPr/>
        </p:nvCxnSpPr>
        <p:spPr>
          <a:xfrm flipH="1" flipV="1">
            <a:off x="3211575" y="1883904"/>
            <a:ext cx="220988" cy="13528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Arrow Connector 25">
            <a:extLst>
              <a:ext uri="{FF2B5EF4-FFF2-40B4-BE49-F238E27FC236}">
                <a16:creationId xmlns:a16="http://schemas.microsoft.com/office/drawing/2014/main" id="{D76E68AB-ECED-4255-99C5-BAE2D88BDA42}"/>
              </a:ext>
            </a:extLst>
          </p:cNvPr>
          <p:cNvCxnSpPr>
            <a:cxnSpLocks/>
          </p:cNvCxnSpPr>
          <p:nvPr/>
        </p:nvCxnSpPr>
        <p:spPr>
          <a:xfrm flipH="1">
            <a:off x="750975" y="1809549"/>
            <a:ext cx="288553" cy="2394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TextBox 271">
            <a:extLst>
              <a:ext uri="{FF2B5EF4-FFF2-40B4-BE49-F238E27FC236}">
                <a16:creationId xmlns:a16="http://schemas.microsoft.com/office/drawing/2014/main" id="{B8F9D518-E2EA-416E-BC8D-543F7F5FBE92}"/>
              </a:ext>
            </a:extLst>
          </p:cNvPr>
          <p:cNvSpPr txBox="1"/>
          <p:nvPr/>
        </p:nvSpPr>
        <p:spPr>
          <a:xfrm>
            <a:off x="8420490" y="1987896"/>
            <a:ext cx="168544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 i="1">
                <a:solidFill>
                  <a:prstClr val="black"/>
                </a:solidFill>
              </a:rPr>
              <a:t>-</a:t>
            </a:r>
            <a:r>
              <a:rPr lang="en-US" sz="900">
                <a:solidFill>
                  <a:prstClr val="black"/>
                </a:solidFill>
              </a:rPr>
              <a:t> (&lt;7 Hari Kerja)</a:t>
            </a:r>
            <a:r>
              <a:rPr lang="en-US" sz="900" i="1">
                <a:solidFill>
                  <a:prstClr val="black"/>
                </a:solidFill>
              </a:rPr>
              <a:t> </a:t>
            </a:r>
          </a:p>
          <a:p>
            <a:pPr algn="ctr"/>
            <a:r>
              <a:rPr lang="en-US" sz="900" i="1">
                <a:solidFill>
                  <a:prstClr val="black"/>
                </a:solidFill>
              </a:rPr>
              <a:t>Email/ Payment Gateway</a:t>
            </a:r>
          </a:p>
          <a:p>
            <a:pPr algn="ctr"/>
            <a:r>
              <a:rPr lang="en-US" sz="900" i="1">
                <a:solidFill>
                  <a:prstClr val="black"/>
                </a:solidFill>
              </a:rPr>
              <a:t>- Notifikasi ke SIKI dan UMKU</a:t>
            </a:r>
            <a:endParaRPr lang="id-ID" sz="900" i="1" dirty="0">
              <a:solidFill>
                <a:prstClr val="black"/>
              </a:solidFill>
            </a:endParaRPr>
          </a:p>
        </p:txBody>
      </p:sp>
      <p:cxnSp>
        <p:nvCxnSpPr>
          <p:cNvPr id="277" name="Connector: Elbow 104">
            <a:extLst>
              <a:ext uri="{FF2B5EF4-FFF2-40B4-BE49-F238E27FC236}">
                <a16:creationId xmlns:a16="http://schemas.microsoft.com/office/drawing/2014/main" id="{1D94EAD8-1125-4528-A643-BA99931954C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876756" y="2933320"/>
            <a:ext cx="535499" cy="2505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Arrow Connector 306"/>
          <p:cNvCxnSpPr>
            <a:endCxn id="244" idx="0"/>
          </p:cNvCxnSpPr>
          <p:nvPr/>
        </p:nvCxnSpPr>
        <p:spPr>
          <a:xfrm>
            <a:off x="10357651" y="2024386"/>
            <a:ext cx="1213" cy="294198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Arrow Connector 338"/>
          <p:cNvCxnSpPr/>
          <p:nvPr/>
        </p:nvCxnSpPr>
        <p:spPr>
          <a:xfrm>
            <a:off x="1610350" y="1710903"/>
            <a:ext cx="478332" cy="239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4FB9A880-6295-4F14-A155-EAA7AB3293E9}"/>
              </a:ext>
            </a:extLst>
          </p:cNvPr>
          <p:cNvSpPr txBox="1"/>
          <p:nvPr/>
        </p:nvSpPr>
        <p:spPr>
          <a:xfrm>
            <a:off x="212520" y="2774582"/>
            <a:ext cx="140868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B 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dirty="0" err="1">
                <a:solidFill>
                  <a:prstClr val="black"/>
                </a:solidFill>
                <a:latin typeface="Calibri"/>
              </a:rPr>
              <a:t>Sertifikat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000" dirty="0" err="1">
                <a:solidFill>
                  <a:prstClr val="black"/>
                </a:solidFill>
                <a:latin typeface="Calibri"/>
              </a:rPr>
              <a:t>Standar</a:t>
            </a:r>
            <a:endParaRPr lang="en-US" sz="1000" dirty="0">
              <a:solidFill>
                <a:prstClr val="black"/>
              </a:solidFill>
              <a:latin typeface="Calibri"/>
            </a:endParaRP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MKU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BU</a:t>
            </a:r>
            <a:endParaRPr kumimoji="0" lang="id-ID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Google Shape;94;p13">
            <a:extLst>
              <a:ext uri="{FF2B5EF4-FFF2-40B4-BE49-F238E27FC236}">
                <a16:creationId xmlns:a16="http://schemas.microsoft.com/office/drawing/2014/main" id="{80ABC4CA-8D0C-9FE4-DA74-CD341BA9E21E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910554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ext, logo&#10;&#10;Description automatically generated">
            <a:extLst>
              <a:ext uri="{FF2B5EF4-FFF2-40B4-BE49-F238E27FC236}">
                <a16:creationId xmlns:a16="http://schemas.microsoft.com/office/drawing/2014/main" id="{98F27504-C8FF-E7B3-C944-4B80D9C727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953" y="33619"/>
            <a:ext cx="1615921" cy="614684"/>
          </a:xfrm>
          <a:prstGeom prst="rect">
            <a:avLst/>
          </a:prstGeom>
        </p:spPr>
      </p:pic>
      <p:sp>
        <p:nvSpPr>
          <p:cNvPr id="45" name="Title 1">
            <a:extLst>
              <a:ext uri="{FF2B5EF4-FFF2-40B4-BE49-F238E27FC236}">
                <a16:creationId xmlns:a16="http://schemas.microsoft.com/office/drawing/2014/main" id="{BCC8793A-06CE-C340-94EB-6000CBDDE35B}"/>
              </a:ext>
            </a:extLst>
          </p:cNvPr>
          <p:cNvSpPr txBox="1">
            <a:spLocks/>
          </p:cNvSpPr>
          <p:nvPr/>
        </p:nvSpPr>
        <p:spPr>
          <a:xfrm>
            <a:off x="2919315" y="1"/>
            <a:ext cx="6782059" cy="902153"/>
          </a:xfrm>
          <a:prstGeom prst="rect">
            <a:avLst/>
          </a:prstGeom>
          <a:solidFill>
            <a:srgbClr val="FFFF00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en-US" sz="2300" b="1" dirty="0">
                <a:solidFill>
                  <a:srgbClr val="1E3267"/>
                </a:solidFill>
                <a:latin typeface="Century Gothic" panose="020B0502020202020204" pitchFamily="34" charset="0"/>
              </a:rPr>
              <a:t>TABEL KODIFIKASI STATUS SESUAI DENGAN </a:t>
            </a:r>
            <a:r>
              <a:rPr lang="en-US" sz="2300" dirty="0">
                <a:solidFill>
                  <a:srgbClr val="1E3267"/>
                </a:solidFill>
                <a:latin typeface="Century Gothic" panose="020B0502020202020204" pitchFamily="34" charset="0"/>
              </a:rPr>
              <a:t>URUTAN PROSES SERTIFIKASI</a:t>
            </a:r>
          </a:p>
        </p:txBody>
      </p:sp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61E66C4C-3B6F-4486-BBA3-3B15E9124825}"/>
              </a:ext>
            </a:extLst>
          </p:cNvPr>
          <p:cNvGraphicFramePr>
            <a:graphicFrameLocks noGrp="1"/>
          </p:cNvGraphicFramePr>
          <p:nvPr/>
        </p:nvGraphicFramePr>
        <p:xfrm>
          <a:off x="1319914" y="1026353"/>
          <a:ext cx="9285980" cy="4618178"/>
        </p:xfrm>
        <a:graphic>
          <a:graphicData uri="http://schemas.openxmlformats.org/drawingml/2006/table">
            <a:tbl>
              <a:tblPr firstRow="1" firstCol="1" bandRow="1"/>
              <a:tblGrid>
                <a:gridCol w="588497">
                  <a:extLst>
                    <a:ext uri="{9D8B030D-6E8A-4147-A177-3AD203B41FA5}">
                      <a16:colId xmlns:a16="http://schemas.microsoft.com/office/drawing/2014/main" val="877962903"/>
                    </a:ext>
                  </a:extLst>
                </a:gridCol>
                <a:gridCol w="803105">
                  <a:extLst>
                    <a:ext uri="{9D8B030D-6E8A-4147-A177-3AD203B41FA5}">
                      <a16:colId xmlns:a16="http://schemas.microsoft.com/office/drawing/2014/main" val="940204930"/>
                    </a:ext>
                  </a:extLst>
                </a:gridCol>
                <a:gridCol w="1755807">
                  <a:extLst>
                    <a:ext uri="{9D8B030D-6E8A-4147-A177-3AD203B41FA5}">
                      <a16:colId xmlns:a16="http://schemas.microsoft.com/office/drawing/2014/main" val="2148030482"/>
                    </a:ext>
                  </a:extLst>
                </a:gridCol>
                <a:gridCol w="6138571">
                  <a:extLst>
                    <a:ext uri="{9D8B030D-6E8A-4147-A177-3AD203B41FA5}">
                      <a16:colId xmlns:a16="http://schemas.microsoft.com/office/drawing/2014/main" val="3828202353"/>
                    </a:ext>
                  </a:extLst>
                </a:gridCol>
              </a:tblGrid>
              <a:tr h="364131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NO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4878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KODE STATUS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4878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KETERANGAN STATUS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4878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NJELASAN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4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226223"/>
                  </a:ext>
                </a:extLst>
              </a:tr>
              <a:tr h="359049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1</a:t>
                      </a:r>
                      <a:endParaRPr lang="en-US" sz="1100" b="1" dirty="0">
                        <a:solidFill>
                          <a:sysClr val="windowText" lastClr="000000"/>
                        </a:solidFill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20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Validasi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tugas LSP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/LSBU</a:t>
                      </a: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melakukan pengecekkan terhadap permohonan izin tersebut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9646"/>
                  </a:ext>
                </a:extLst>
              </a:tr>
              <a:tr h="544756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2</a:t>
                      </a:r>
                      <a:endParaRPr lang="en-US" sz="1100" b="1" dirty="0">
                        <a:solidFill>
                          <a:sysClr val="windowText" lastClr="000000"/>
                        </a:solidFill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10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okumen lengkap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okumen permohonan izin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inyatakan</a:t>
                      </a: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lengkap dan benar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oleh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tugas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LSP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/LSBU</a:t>
                      </a: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yang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lanjutnya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k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isampaik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rmohon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mbayar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(invoice)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769742"/>
                  </a:ext>
                </a:extLst>
              </a:tr>
              <a:tr h="440295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3</a:t>
                      </a:r>
                      <a:endParaRPr lang="en-US" sz="1100" b="1" dirty="0">
                        <a:solidFill>
                          <a:sysClr val="windowText" lastClr="000000"/>
                        </a:solidFill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11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okumen tidak lengkap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okumen permohonan izin belum lengkap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dan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ikembalik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ke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laku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usaha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935442"/>
                  </a:ext>
                </a:extLst>
              </a:tr>
              <a:tr h="440295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4</a:t>
                      </a:r>
                      <a:endParaRPr lang="en-US" sz="1100" b="1" dirty="0">
                        <a:solidFill>
                          <a:sysClr val="windowText" lastClr="000000"/>
                        </a:solidFill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30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Verifikasi pembayaran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tugas LSP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/LSBU</a:t>
                      </a: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melakukan verifikasi pembayaran terhadap Pelaku Usaha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195766"/>
                  </a:ext>
                </a:extLst>
              </a:tr>
              <a:tr h="544756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5</a:t>
                      </a:r>
                      <a:endParaRPr lang="en-US" sz="1100" b="1" dirty="0">
                        <a:solidFill>
                          <a:sysClr val="windowText" lastClr="000000"/>
                        </a:solidFill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31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Konfirmasi pembayaran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tugas LSP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/LSBU</a:t>
                      </a: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melakukan konfirmasi pembayaran terhadap Pelaku Usaha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termasuk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urat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rjanji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rtifikasi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,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lanjutnya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k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ilakuk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proses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sesme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oleh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sesor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9635425"/>
                  </a:ext>
                </a:extLst>
              </a:tr>
              <a:tr h="395949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6</a:t>
                      </a:r>
                      <a:endParaRPr lang="en-US" sz="1100" b="1" dirty="0">
                        <a:solidFill>
                          <a:sysClr val="windowText" lastClr="000000"/>
                        </a:solidFill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50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isetujui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LSP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/LSBU</a:t>
                      </a: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menyetujui permohonan Izin Usaha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telah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melalui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proses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sesme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(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rekomendasi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sesor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)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675025"/>
                  </a:ext>
                </a:extLst>
              </a:tr>
              <a:tr h="464267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7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F39F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70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F39F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nghentian</a:t>
                      </a:r>
                      <a:r>
                        <a:rPr lang="en-US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100" b="1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mentara</a:t>
                      </a:r>
                      <a:r>
                        <a:rPr lang="en-US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100" b="1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kegiatan</a:t>
                      </a:r>
                      <a:r>
                        <a:rPr lang="en-US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100" b="1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berusaha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F39F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tugas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menghentik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mentara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kegiat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berusaha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,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pabila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izi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tersebut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bermasalah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F3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625758"/>
                  </a:ext>
                </a:extLst>
              </a:tr>
              <a:tr h="395949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8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90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itolak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LSP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/LSBU</a:t>
                      </a:r>
                      <a:r>
                        <a:rPr lang="id-ID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menolak permohonan Izin Usaha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telah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melalui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proses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sesme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(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rekomendasi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sesor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),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ilakuk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bagi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rmohon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telah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status 10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486919"/>
                  </a:ext>
                </a:extLst>
              </a:tr>
              <a:tr h="208162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8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91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ncabutan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rtifikat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icabut</a:t>
                      </a:r>
                      <a:endParaRPr lang="en-US" sz="1200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705797"/>
                  </a:ext>
                </a:extLst>
              </a:tr>
              <a:tr h="208162"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ysClr val="windowText" lastClr="000000"/>
                          </a:solidFill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9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92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mbatalan</a:t>
                      </a:r>
                      <a:endParaRPr lang="en-US" sz="1100" b="1" dirty="0">
                        <a:effectLst/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3714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7429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1144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4859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185737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22885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2600325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2971800" algn="l" defTabSz="742950" rtl="0" eaLnBrk="1" latinLnBrk="0" hangingPunct="1">
                        <a:defRPr sz="1463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jus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rmohon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ibatalk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khusus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bagi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permohonan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belum</a:t>
                      </a:r>
                      <a:r>
                        <a:rPr lang="en-US" sz="1200" dirty="0">
                          <a:effectLst/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 status 10</a:t>
                      </a:r>
                    </a:p>
                  </a:txBody>
                  <a:tcPr marL="51286" marR="51286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42362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5E13BE3-A7AE-B532-B78F-05E69E7DE216}"/>
              </a:ext>
            </a:extLst>
          </p:cNvPr>
          <p:cNvSpPr txBox="1"/>
          <p:nvPr/>
        </p:nvSpPr>
        <p:spPr>
          <a:xfrm>
            <a:off x="219952" y="6075428"/>
            <a:ext cx="61626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latin typeface="Gill Sans MT" panose="020B0502020104020203" pitchFamily="34" charset="0"/>
              </a:rPr>
              <a:t>Khusus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kolektif</a:t>
            </a:r>
            <a:r>
              <a:rPr lang="en-US" sz="1400" dirty="0">
                <a:latin typeface="Gill Sans MT" panose="020B0502020104020203" pitchFamily="34" charset="0"/>
              </a:rPr>
              <a:t> SKK :  status 30 – invoice </a:t>
            </a:r>
            <a:r>
              <a:rPr lang="en-US" sz="1400" dirty="0" err="1">
                <a:latin typeface="Gill Sans MT" panose="020B0502020104020203" pitchFamily="34" charset="0"/>
              </a:rPr>
              <a:t>tahap</a:t>
            </a:r>
            <a:r>
              <a:rPr lang="en-US" sz="1400" dirty="0">
                <a:latin typeface="Gill Sans MT" panose="020B0502020104020203" pitchFamily="34" charset="0"/>
              </a:rPr>
              <a:t> 1, status 32 – </a:t>
            </a:r>
            <a:r>
              <a:rPr lang="en-US" sz="1400" dirty="0" err="1">
                <a:latin typeface="Gill Sans MT" panose="020B0502020104020203" pitchFamily="34" charset="0"/>
              </a:rPr>
              <a:t>pembayaran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tahap</a:t>
            </a:r>
            <a:r>
              <a:rPr lang="en-US" sz="1400" dirty="0">
                <a:latin typeface="Gill Sans MT" panose="020B0502020104020203" pitchFamily="34" charset="0"/>
              </a:rPr>
              <a:t> 1</a:t>
            </a:r>
          </a:p>
          <a:p>
            <a:r>
              <a:rPr lang="en-US" sz="1400" dirty="0">
                <a:latin typeface="Gill Sans MT" panose="020B0502020104020203" pitchFamily="34" charset="0"/>
              </a:rPr>
              <a:t>                                 status 31 – invoice </a:t>
            </a:r>
            <a:r>
              <a:rPr lang="en-US" sz="1400" dirty="0" err="1">
                <a:latin typeface="Gill Sans MT" panose="020B0502020104020203" pitchFamily="34" charset="0"/>
              </a:rPr>
              <a:t>tahap</a:t>
            </a:r>
            <a:r>
              <a:rPr lang="en-US" sz="1400" dirty="0">
                <a:latin typeface="Gill Sans MT" panose="020B0502020104020203" pitchFamily="34" charset="0"/>
              </a:rPr>
              <a:t> 2, status 33 – </a:t>
            </a:r>
            <a:r>
              <a:rPr lang="en-US" sz="1400" dirty="0" err="1">
                <a:latin typeface="Gill Sans MT" panose="020B0502020104020203" pitchFamily="34" charset="0"/>
              </a:rPr>
              <a:t>pembayaran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tahap</a:t>
            </a:r>
            <a:r>
              <a:rPr lang="en-US" sz="1400" dirty="0">
                <a:latin typeface="Gill Sans MT" panose="020B0502020104020203" pitchFamily="34" charset="0"/>
              </a:rPr>
              <a:t> 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AABD66-39FF-CC2D-F35F-5F7A3B336AAF}"/>
              </a:ext>
            </a:extLst>
          </p:cNvPr>
          <p:cNvSpPr txBox="1"/>
          <p:nvPr/>
        </p:nvSpPr>
        <p:spPr>
          <a:xfrm>
            <a:off x="6474572" y="6022581"/>
            <a:ext cx="5057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latin typeface="Gill Sans MT" panose="020B0502020104020203" pitchFamily="34" charset="0"/>
              </a:rPr>
              <a:t>Khusus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Perubahan</a:t>
            </a:r>
            <a:r>
              <a:rPr lang="en-US" sz="1400" dirty="0">
                <a:latin typeface="Gill Sans MT" panose="020B0502020104020203" pitchFamily="34" charset="0"/>
              </a:rPr>
              <a:t>:  status 101 – </a:t>
            </a:r>
            <a:r>
              <a:rPr lang="en-US" sz="1400" dirty="0" err="1">
                <a:latin typeface="Gill Sans MT" panose="020B0502020104020203" pitchFamily="34" charset="0"/>
              </a:rPr>
              <a:t>Perubahan</a:t>
            </a:r>
            <a:r>
              <a:rPr lang="en-US" sz="1400" dirty="0">
                <a:latin typeface="Gill Sans MT" panose="020B0502020104020203" pitchFamily="34" charset="0"/>
              </a:rPr>
              <a:t> SBU </a:t>
            </a:r>
            <a:r>
              <a:rPr lang="en-US" sz="1400" dirty="0" err="1">
                <a:latin typeface="Gill Sans MT" panose="020B0502020104020203" pitchFamily="34" charset="0"/>
              </a:rPr>
              <a:t>melalui</a:t>
            </a:r>
            <a:r>
              <a:rPr lang="en-US" sz="1400" dirty="0">
                <a:latin typeface="Gill Sans MT" panose="020B0502020104020203" pitchFamily="34" charset="0"/>
              </a:rPr>
              <a:t> </a:t>
            </a:r>
            <a:r>
              <a:rPr lang="en-US" sz="1400" dirty="0" err="1">
                <a:latin typeface="Gill Sans MT" panose="020B0502020104020203" pitchFamily="34" charset="0"/>
              </a:rPr>
              <a:t>Asesmen</a:t>
            </a:r>
            <a:endParaRPr lang="en-US" sz="1400" dirty="0">
              <a:latin typeface="Gill Sans MT" panose="020B0502020104020203" pitchFamily="34" charset="0"/>
            </a:endParaRPr>
          </a:p>
          <a:p>
            <a:r>
              <a:rPr lang="en-US" sz="1400" dirty="0">
                <a:latin typeface="Gill Sans MT" panose="020B0502020104020203" pitchFamily="34" charset="0"/>
              </a:rPr>
              <a:t>                             status 102 – </a:t>
            </a:r>
            <a:r>
              <a:rPr lang="en-US" sz="1400" dirty="0" err="1">
                <a:latin typeface="Gill Sans MT" panose="020B0502020104020203" pitchFamily="34" charset="0"/>
              </a:rPr>
              <a:t>Perubahan</a:t>
            </a:r>
            <a:r>
              <a:rPr lang="en-US" sz="1400" dirty="0">
                <a:latin typeface="Gill Sans MT" panose="020B0502020104020203" pitchFamily="34" charset="0"/>
              </a:rPr>
              <a:t> SBU/SKK non </a:t>
            </a:r>
            <a:r>
              <a:rPr lang="en-US" sz="1400" dirty="0" err="1">
                <a:latin typeface="Gill Sans MT" panose="020B0502020104020203" pitchFamily="34" charset="0"/>
              </a:rPr>
              <a:t>Asesmen</a:t>
            </a:r>
            <a:endParaRPr lang="en-US" sz="1400" dirty="0">
              <a:latin typeface="Gill Sans MT" panose="020B0502020104020203" pitchFamily="34" charset="0"/>
            </a:endParaRPr>
          </a:p>
        </p:txBody>
      </p:sp>
      <p:pic>
        <p:nvPicPr>
          <p:cNvPr id="12" name="Google Shape;94;p13">
            <a:extLst>
              <a:ext uri="{FF2B5EF4-FFF2-40B4-BE49-F238E27FC236}">
                <a16:creationId xmlns:a16="http://schemas.microsoft.com/office/drawing/2014/main" id="{FFF86987-DE31-F17F-7130-3AF5443E2F3B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252705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TextBox 109"/>
          <p:cNvSpPr txBox="1"/>
          <p:nvPr/>
        </p:nvSpPr>
        <p:spPr>
          <a:xfrm>
            <a:off x="271412" y="125692"/>
            <a:ext cx="101205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23">
              <a:tabLst>
                <a:tab pos="347671" algn="l"/>
              </a:tabLst>
              <a:defRPr/>
            </a:pPr>
            <a:r>
              <a:rPr lang="en-US" sz="2400" b="1" dirty="0">
                <a:solidFill>
                  <a:srgbClr val="0E4F83"/>
                </a:solidFill>
                <a:latin typeface="Century Gothic"/>
              </a:rPr>
              <a:t>PENGEMBANGAN KEPROFESIAN BERKELANJUTAN</a:t>
            </a:r>
            <a:endParaRPr lang="en-US" sz="2400" dirty="0">
              <a:solidFill>
                <a:srgbClr val="0E4F83"/>
              </a:solidFill>
              <a:latin typeface="Century Gothic"/>
            </a:endParaRPr>
          </a:p>
        </p:txBody>
      </p:sp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57154957-68AB-414D-8F5B-A49D3A261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2F0A64-36F3-5E02-38E3-8C52A6CB868C}"/>
              </a:ext>
            </a:extLst>
          </p:cNvPr>
          <p:cNvSpPr/>
          <p:nvPr/>
        </p:nvSpPr>
        <p:spPr>
          <a:xfrm rot="5400000">
            <a:off x="2583990" y="2086001"/>
            <a:ext cx="2169507" cy="20178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0BDA95-0EED-BF3E-FBC7-F30362770D22}"/>
              </a:ext>
            </a:extLst>
          </p:cNvPr>
          <p:cNvSpPr/>
          <p:nvPr/>
        </p:nvSpPr>
        <p:spPr>
          <a:xfrm rot="5400000">
            <a:off x="4819331" y="2086001"/>
            <a:ext cx="2169506" cy="2017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A07100-62FA-189B-46F6-12972943092E}"/>
              </a:ext>
            </a:extLst>
          </p:cNvPr>
          <p:cNvSpPr/>
          <p:nvPr/>
        </p:nvSpPr>
        <p:spPr>
          <a:xfrm rot="5400000">
            <a:off x="7032290" y="2086004"/>
            <a:ext cx="2169507" cy="201788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59EC191-0595-3DFB-3F33-5131D91F2C8D}"/>
              </a:ext>
            </a:extLst>
          </p:cNvPr>
          <p:cNvGrpSpPr/>
          <p:nvPr/>
        </p:nvGrpSpPr>
        <p:grpSpPr>
          <a:xfrm>
            <a:off x="3363208" y="1775679"/>
            <a:ext cx="613064" cy="613064"/>
            <a:chOff x="645658" y="2456893"/>
            <a:chExt cx="613064" cy="613064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4D86D80-A036-9010-7DC8-17783586D8AA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accent1">
                <a:lumMod val="7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318252D-26D0-1E83-741E-60ACB193D101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C4B66A0-0088-5744-6F31-FFA6A792DF19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DF822D52-C2A3-9092-4F7F-F0C7D2D26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B15FB6FD-9621-4C5D-531C-5F27A1082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E6F3942-6D31-CB86-96F8-037516BCC0C6}"/>
              </a:ext>
            </a:extLst>
          </p:cNvPr>
          <p:cNvGrpSpPr/>
          <p:nvPr/>
        </p:nvGrpSpPr>
        <p:grpSpPr>
          <a:xfrm>
            <a:off x="5598548" y="1705487"/>
            <a:ext cx="613064" cy="613064"/>
            <a:chOff x="645658" y="2456893"/>
            <a:chExt cx="613064" cy="613064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5F08770-A8D5-FF89-506F-1D1731425267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4D2B077-A400-FB02-7165-4D6B361CDFC0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1E15D66-27B5-5583-4468-835FFC95E5F4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8857F848-2A08-D825-F1CD-8539473516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" name="Freeform 13">
                <a:extLst>
                  <a:ext uri="{FF2B5EF4-FFF2-40B4-BE49-F238E27FC236}">
                    <a16:creationId xmlns:a16="http://schemas.microsoft.com/office/drawing/2014/main" id="{B1A6EE21-FF81-3F55-A09C-AA3343EA3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6D0B81A-0712-F90E-6C70-7FD2BE3694FE}"/>
              </a:ext>
            </a:extLst>
          </p:cNvPr>
          <p:cNvGrpSpPr/>
          <p:nvPr/>
        </p:nvGrpSpPr>
        <p:grpSpPr>
          <a:xfrm>
            <a:off x="7811508" y="1775680"/>
            <a:ext cx="613064" cy="613064"/>
            <a:chOff x="645658" y="2456893"/>
            <a:chExt cx="613064" cy="613064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48C19CF4-1FC7-341B-D82C-F22A41030DDD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accent1">
                <a:lumMod val="7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BC3083F-505F-AE93-B8EE-A51CD4C2CB54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BF717E-C1FE-0C93-A627-C45106FF3FB0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26" name="Freeform 12">
                <a:extLst>
                  <a:ext uri="{FF2B5EF4-FFF2-40B4-BE49-F238E27FC236}">
                    <a16:creationId xmlns:a16="http://schemas.microsoft.com/office/drawing/2014/main" id="{5E1C98DF-B996-46B2-D49A-241F03869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Freeform 13">
                <a:extLst>
                  <a:ext uri="{FF2B5EF4-FFF2-40B4-BE49-F238E27FC236}">
                    <a16:creationId xmlns:a16="http://schemas.microsoft.com/office/drawing/2014/main" id="{4195E055-13FF-5762-9D51-59241A4E5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995682B3-4FAA-E327-0176-0365C758EDCD}"/>
              </a:ext>
            </a:extLst>
          </p:cNvPr>
          <p:cNvSpPr txBox="1"/>
          <p:nvPr/>
        </p:nvSpPr>
        <p:spPr>
          <a:xfrm>
            <a:off x="2871655" y="3337516"/>
            <a:ext cx="159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Pengaju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PKB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935980D-D72F-9147-D221-99CD310E2245}"/>
              </a:ext>
            </a:extLst>
          </p:cNvPr>
          <p:cNvSpPr txBox="1"/>
          <p:nvPr/>
        </p:nvSpPr>
        <p:spPr>
          <a:xfrm>
            <a:off x="7319955" y="3337517"/>
            <a:ext cx="159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Pelapor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PKB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81B8A0-4AB7-78B1-1F19-722F29406E10}"/>
              </a:ext>
            </a:extLst>
          </p:cNvPr>
          <p:cNvSpPr txBox="1"/>
          <p:nvPr/>
        </p:nvSpPr>
        <p:spPr>
          <a:xfrm>
            <a:off x="5106995" y="3318837"/>
            <a:ext cx="159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Pelaksana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PKB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5FF7150-ED08-19C8-EBF6-4FD36924FBC1}"/>
              </a:ext>
            </a:extLst>
          </p:cNvPr>
          <p:cNvSpPr/>
          <p:nvPr/>
        </p:nvSpPr>
        <p:spPr>
          <a:xfrm rot="5400000">
            <a:off x="365275" y="2085998"/>
            <a:ext cx="2169506" cy="2017880"/>
          </a:xfrm>
          <a:prstGeom prst="rect">
            <a:avLst/>
          </a:prstGeom>
          <a:solidFill>
            <a:srgbClr val="08517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7DD311C-80CB-E2AF-12EF-8382C11DFBD1}"/>
              </a:ext>
            </a:extLst>
          </p:cNvPr>
          <p:cNvGrpSpPr/>
          <p:nvPr/>
        </p:nvGrpSpPr>
        <p:grpSpPr>
          <a:xfrm>
            <a:off x="1144492" y="1705484"/>
            <a:ext cx="613064" cy="613064"/>
            <a:chOff x="645658" y="2456893"/>
            <a:chExt cx="613064" cy="61306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F6ED084-49F5-0E4C-6633-BBE97FA952A8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BC14473-D9A9-0502-F344-FB2C78F2DF84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18DE1260-442F-1FF3-D6C3-BB5338FA0CAA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36" name="Freeform 12">
                <a:extLst>
                  <a:ext uri="{FF2B5EF4-FFF2-40B4-BE49-F238E27FC236}">
                    <a16:creationId xmlns:a16="http://schemas.microsoft.com/office/drawing/2014/main" id="{2B186E66-E29A-AAAC-2506-E67083366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13">
                <a:extLst>
                  <a:ext uri="{FF2B5EF4-FFF2-40B4-BE49-F238E27FC236}">
                    <a16:creationId xmlns:a16="http://schemas.microsoft.com/office/drawing/2014/main" id="{22B92094-2163-F580-1AE9-50B2A6884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DC138FB2-0254-2761-A987-8ED7278FF736}"/>
              </a:ext>
            </a:extLst>
          </p:cNvPr>
          <p:cNvSpPr txBox="1"/>
          <p:nvPr/>
        </p:nvSpPr>
        <p:spPr>
          <a:xfrm>
            <a:off x="586819" y="3347501"/>
            <a:ext cx="17894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Registrasi</a:t>
            </a: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Akun </a:t>
            </a: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nyelenggara</a:t>
            </a:r>
            <a:endParaRPr lang="en-US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BA95E11D-471B-B097-BA1D-B6F01429859B}"/>
              </a:ext>
            </a:extLst>
          </p:cNvPr>
          <p:cNvSpPr/>
          <p:nvPr/>
        </p:nvSpPr>
        <p:spPr>
          <a:xfrm rot="5400000">
            <a:off x="9621566" y="2012006"/>
            <a:ext cx="2169506" cy="2171262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9C21475-5003-341C-2F00-747F0110DDAB}"/>
              </a:ext>
            </a:extLst>
          </p:cNvPr>
          <p:cNvSpPr txBox="1"/>
          <p:nvPr/>
        </p:nvSpPr>
        <p:spPr>
          <a:xfrm>
            <a:off x="9908825" y="3254654"/>
            <a:ext cx="159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latin typeface="Century Gothic" panose="020B0502020202020204" pitchFamily="34" charset="0"/>
              </a:rPr>
              <a:t> PKB </a:t>
            </a:r>
            <a:r>
              <a:rPr lang="en-US" sz="1600" b="1" dirty="0" err="1">
                <a:latin typeface="Century Gothic" panose="020B0502020202020204" pitchFamily="34" charset="0"/>
              </a:rPr>
              <a:t>Terverifikasi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6548EC92-EADA-2A8E-360F-E07E35CA491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328" y="2484060"/>
            <a:ext cx="559861" cy="55986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F4E6A700-C13C-22C8-7490-999131C48E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547" y="2570163"/>
            <a:ext cx="613064" cy="61306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C744E6D-C9D8-8889-00F2-D07F1058A7D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497" y="2611976"/>
            <a:ext cx="551063" cy="551063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F373B326-54D8-0ECE-AFB7-9CCCA4695C5C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907" y="2586891"/>
            <a:ext cx="576148" cy="57614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4B5CD52-C041-477E-2A77-FAAFC9B07663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841" y="2570163"/>
            <a:ext cx="609604" cy="609604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100A9169-98C9-9E5D-8E8D-94CDB0BBD61F}"/>
              </a:ext>
            </a:extLst>
          </p:cNvPr>
          <p:cNvSpPr txBox="1"/>
          <p:nvPr/>
        </p:nvSpPr>
        <p:spPr>
          <a:xfrm>
            <a:off x="2507955" y="5016679"/>
            <a:ext cx="54018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b="1" dirty="0" err="1">
                <a:latin typeface="Century Gothic" panose="020B0502020202020204" pitchFamily="34" charset="0"/>
              </a:rPr>
              <a:t>Registrasi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akun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penyelenggara</a:t>
            </a:r>
            <a:r>
              <a:rPr lang="en-US" sz="1600" b="1" dirty="0">
                <a:latin typeface="Century Gothic" panose="020B0502020202020204" pitchFamily="34" charset="0"/>
              </a:rPr>
              <a:t>, </a:t>
            </a:r>
            <a:r>
              <a:rPr lang="en-US" sz="1600" b="1" dirty="0" err="1">
                <a:latin typeface="Century Gothic" panose="020B0502020202020204" pitchFamily="34" charset="0"/>
              </a:rPr>
              <a:t>pengajuan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latin typeface="Century Gothic" panose="020B0502020202020204" pitchFamily="34" charset="0"/>
              </a:rPr>
              <a:t> PKB, dan </a:t>
            </a:r>
            <a:r>
              <a:rPr lang="en-US" sz="1600" b="1" dirty="0" err="1">
                <a:latin typeface="Century Gothic" panose="020B0502020202020204" pitchFamily="34" charset="0"/>
              </a:rPr>
              <a:t>pelaporan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latin typeface="Century Gothic" panose="020B0502020202020204" pitchFamily="34" charset="0"/>
              </a:rPr>
              <a:t> PKB </a:t>
            </a:r>
            <a:r>
              <a:rPr lang="en-US" sz="1600" b="1" dirty="0" err="1">
                <a:latin typeface="Century Gothic" panose="020B0502020202020204" pitchFamily="34" charset="0"/>
              </a:rPr>
              <a:t>melalui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sistem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PKB LPJK (https://siki.pu.go.id/pkb-v2/)</a:t>
            </a:r>
            <a:r>
              <a:rPr lang="en-US" sz="1600" b="1" dirty="0">
                <a:latin typeface="Century Gothic" panose="020B0502020202020204" pitchFamily="34" charset="0"/>
              </a:rPr>
              <a:t>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155F9C0-8096-76AF-05A7-891C7F5DF2F0}"/>
              </a:ext>
            </a:extLst>
          </p:cNvPr>
          <p:cNvGrpSpPr/>
          <p:nvPr/>
        </p:nvGrpSpPr>
        <p:grpSpPr>
          <a:xfrm>
            <a:off x="441088" y="4347425"/>
            <a:ext cx="1976172" cy="2169506"/>
            <a:chOff x="8577855" y="4419449"/>
            <a:chExt cx="1976172" cy="2169506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9C373AE6-1697-AE3E-0DF8-B8B02B635BF2}"/>
                </a:ext>
              </a:extLst>
            </p:cNvPr>
            <p:cNvSpPr/>
            <p:nvPr/>
          </p:nvSpPr>
          <p:spPr>
            <a:xfrm>
              <a:off x="8577855" y="4419449"/>
              <a:ext cx="1976172" cy="2169506"/>
            </a:xfrm>
            <a:prstGeom prst="roundRect">
              <a:avLst/>
            </a:prstGeom>
            <a:noFill/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23FF1DED-BD19-DCC6-0026-B86E9B568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0122" y="4542987"/>
              <a:ext cx="1752916" cy="1752916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2A0167A-EFB1-0886-C4FA-B62086A49AE7}"/>
                </a:ext>
              </a:extLst>
            </p:cNvPr>
            <p:cNvSpPr txBox="1"/>
            <p:nvPr/>
          </p:nvSpPr>
          <p:spPr>
            <a:xfrm>
              <a:off x="8700122" y="6227783"/>
              <a:ext cx="174388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 err="1">
                  <a:solidFill>
                    <a:srgbClr val="085171"/>
                  </a:solidFill>
                  <a:latin typeface="Century Gothic" panose="020B0502020202020204" pitchFamily="34" charset="0"/>
                </a:rPr>
                <a:t>Sistem</a:t>
              </a:r>
              <a:r>
                <a:rPr lang="en-US" sz="1400" b="1" dirty="0">
                  <a:solidFill>
                    <a:srgbClr val="085171"/>
                  </a:solidFill>
                  <a:latin typeface="Century Gothic" panose="020B0502020202020204" pitchFamily="34" charset="0"/>
                </a:rPr>
                <a:t> PKB LPJK</a:t>
              </a:r>
              <a:endParaRPr lang="en-ID" sz="1400" dirty="0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EB7AA385-AFB2-A7FE-4D47-1F3864558312}"/>
              </a:ext>
            </a:extLst>
          </p:cNvPr>
          <p:cNvSpPr txBox="1"/>
          <p:nvPr/>
        </p:nvSpPr>
        <p:spPr>
          <a:xfrm>
            <a:off x="9697379" y="4367257"/>
            <a:ext cx="20178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600" b="1" i="1" dirty="0" err="1">
                <a:latin typeface="Century Gothic" panose="020B0502020202020204" pitchFamily="34" charset="0"/>
              </a:rPr>
              <a:t>Perolehan</a:t>
            </a:r>
            <a:r>
              <a:rPr lang="en-US" sz="1600" b="1" i="1" dirty="0"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latin typeface="Century Gothic" panose="020B0502020202020204" pitchFamily="34" charset="0"/>
              </a:rPr>
              <a:t>angka</a:t>
            </a:r>
            <a:r>
              <a:rPr lang="en-US" sz="1600" b="1" i="1" dirty="0"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latin typeface="Century Gothic" panose="020B0502020202020204" pitchFamily="34" charset="0"/>
              </a:rPr>
              <a:t>kredit</a:t>
            </a:r>
            <a:r>
              <a:rPr lang="en-US" sz="1600" b="1" i="1" dirty="0"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i="1" dirty="0">
                <a:latin typeface="Century Gothic" panose="020B0502020202020204" pitchFamily="34" charset="0"/>
              </a:rPr>
              <a:t> PKB </a:t>
            </a:r>
            <a:r>
              <a:rPr lang="en-US" sz="1600" b="1" i="1" dirty="0" err="1">
                <a:latin typeface="Century Gothic" panose="020B0502020202020204" pitchFamily="34" charset="0"/>
              </a:rPr>
              <a:t>terverifikasi</a:t>
            </a:r>
            <a:r>
              <a:rPr lang="en-US" sz="1600" b="1" i="1" dirty="0"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otomatis</a:t>
            </a:r>
            <a:r>
              <a:rPr lang="en-US" sz="1600" b="1" i="1" dirty="0">
                <a:solidFill>
                  <a:srgbClr val="00B050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tercatat</a:t>
            </a:r>
            <a:r>
              <a:rPr lang="en-US" sz="1600" b="1" i="1" dirty="0">
                <a:solidFill>
                  <a:srgbClr val="00B050"/>
                </a:solidFill>
                <a:latin typeface="Century Gothic" panose="020B0502020202020204" pitchFamily="34" charset="0"/>
              </a:rPr>
              <a:t> di logbook PKB </a:t>
            </a:r>
            <a:r>
              <a:rPr lang="en-US" sz="1600" b="1" i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tenaga</a:t>
            </a:r>
            <a:r>
              <a:rPr lang="en-US" sz="1600" b="1" i="1" dirty="0">
                <a:solidFill>
                  <a:srgbClr val="00B050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ahli</a:t>
            </a:r>
            <a:r>
              <a:rPr lang="en-US" sz="1600" b="1" i="1" dirty="0">
                <a:latin typeface="Century Gothic" panose="020B0502020202020204" pitchFamily="34" charset="0"/>
              </a:rPr>
              <a:t>.</a:t>
            </a:r>
            <a:endParaRPr lang="en-ID" sz="1600" b="1" i="1" dirty="0">
              <a:latin typeface="Century Gothic" panose="020B0502020202020204" pitchFamily="34" charset="0"/>
            </a:endParaRP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C1CFB1EF-C941-0E6C-1E94-8BEE6E2061C1}"/>
              </a:ext>
            </a:extLst>
          </p:cNvPr>
          <p:cNvSpPr/>
          <p:nvPr/>
        </p:nvSpPr>
        <p:spPr>
          <a:xfrm>
            <a:off x="9125984" y="2830869"/>
            <a:ext cx="494704" cy="598131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B568253-6A53-CB58-43E2-49D319A8E02E}"/>
              </a:ext>
            </a:extLst>
          </p:cNvPr>
          <p:cNvSpPr txBox="1"/>
          <p:nvPr/>
        </p:nvSpPr>
        <p:spPr>
          <a:xfrm>
            <a:off x="441088" y="874228"/>
            <a:ext cx="60975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PENYELENGGARAAN </a:t>
            </a:r>
          </a:p>
          <a:p>
            <a:r>
              <a:rPr lang="en-US" sz="1800" b="1" dirty="0">
                <a:solidFill>
                  <a:srgbClr val="08517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 PKB TERVERIFIKASI</a:t>
            </a:r>
          </a:p>
        </p:txBody>
      </p:sp>
      <p:pic>
        <p:nvPicPr>
          <p:cNvPr id="3" name="Google Shape;94;p13">
            <a:extLst>
              <a:ext uri="{FF2B5EF4-FFF2-40B4-BE49-F238E27FC236}">
                <a16:creationId xmlns:a16="http://schemas.microsoft.com/office/drawing/2014/main" id="{2B9C8A0B-7367-A595-AB8C-7CB364DA3715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9948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 dir="u"/>
      </p:transition>
    </mc:Choice>
    <mc:Fallback xmlns="">
      <p:transition spd="slow">
        <p:pull dir="u"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TextBox 109"/>
          <p:cNvSpPr txBox="1"/>
          <p:nvPr/>
        </p:nvSpPr>
        <p:spPr>
          <a:xfrm>
            <a:off x="458482" y="196541"/>
            <a:ext cx="101205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23">
              <a:tabLst>
                <a:tab pos="347671" algn="l"/>
              </a:tabLst>
              <a:defRPr/>
            </a:pPr>
            <a:r>
              <a:rPr lang="en-US" sz="2400" b="1" dirty="0">
                <a:solidFill>
                  <a:srgbClr val="0E4F83"/>
                </a:solidFill>
                <a:latin typeface="Century Gothic"/>
              </a:rPr>
              <a:t>PENGEMBANGAN KEPROFESIAN BERKELANJUTAN</a:t>
            </a:r>
            <a:endParaRPr lang="en-US" sz="2400" dirty="0">
              <a:solidFill>
                <a:srgbClr val="0E4F83"/>
              </a:solidFill>
              <a:latin typeface="Century Gothic"/>
            </a:endParaRPr>
          </a:p>
        </p:txBody>
      </p:sp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57154957-68AB-414D-8F5B-A49D3A261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2F0A64-36F3-5E02-38E3-8C52A6CB868C}"/>
              </a:ext>
            </a:extLst>
          </p:cNvPr>
          <p:cNvSpPr/>
          <p:nvPr/>
        </p:nvSpPr>
        <p:spPr>
          <a:xfrm rot="5400000">
            <a:off x="2036005" y="2633987"/>
            <a:ext cx="3265478" cy="20178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0BDA95-0EED-BF3E-FBC7-F30362770D22}"/>
              </a:ext>
            </a:extLst>
          </p:cNvPr>
          <p:cNvSpPr/>
          <p:nvPr/>
        </p:nvSpPr>
        <p:spPr>
          <a:xfrm rot="5400000">
            <a:off x="4271347" y="2633985"/>
            <a:ext cx="3265474" cy="2017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59EC191-0595-3DFB-3F33-5131D91F2C8D}"/>
              </a:ext>
            </a:extLst>
          </p:cNvPr>
          <p:cNvGrpSpPr/>
          <p:nvPr/>
        </p:nvGrpSpPr>
        <p:grpSpPr>
          <a:xfrm>
            <a:off x="3363208" y="1775679"/>
            <a:ext cx="613064" cy="613064"/>
            <a:chOff x="645658" y="2456893"/>
            <a:chExt cx="613064" cy="613064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4D86D80-A036-9010-7DC8-17783586D8AA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accent1">
                <a:lumMod val="7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318252D-26D0-1E83-741E-60ACB193D101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C4B66A0-0088-5744-6F31-FFA6A792DF19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DF822D52-C2A3-9092-4F7F-F0C7D2D26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B15FB6FD-9621-4C5D-531C-5F27A1082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E6F3942-6D31-CB86-96F8-037516BCC0C6}"/>
              </a:ext>
            </a:extLst>
          </p:cNvPr>
          <p:cNvGrpSpPr/>
          <p:nvPr/>
        </p:nvGrpSpPr>
        <p:grpSpPr>
          <a:xfrm>
            <a:off x="5598548" y="1705487"/>
            <a:ext cx="613064" cy="613064"/>
            <a:chOff x="645658" y="2456893"/>
            <a:chExt cx="613064" cy="613064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5F08770-A8D5-FF89-506F-1D1731425267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4D2B077-A400-FB02-7165-4D6B361CDFC0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1E15D66-27B5-5583-4468-835FFC95E5F4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8857F848-2A08-D825-F1CD-8539473516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" name="Freeform 13">
                <a:extLst>
                  <a:ext uri="{FF2B5EF4-FFF2-40B4-BE49-F238E27FC236}">
                    <a16:creationId xmlns:a16="http://schemas.microsoft.com/office/drawing/2014/main" id="{B1A6EE21-FF81-3F55-A09C-AA3343EA3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C781B8A0-4AB7-78B1-1F19-722F29406E10}"/>
              </a:ext>
            </a:extLst>
          </p:cNvPr>
          <p:cNvSpPr txBox="1"/>
          <p:nvPr/>
        </p:nvSpPr>
        <p:spPr>
          <a:xfrm>
            <a:off x="5106995" y="3318837"/>
            <a:ext cx="159617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Pencatatam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tidak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terverifkasi</a:t>
            </a:r>
            <a:endParaRPr lang="en-US" sz="1600" b="1" dirty="0">
              <a:solidFill>
                <a:srgbClr val="08517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(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tambah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5FF7150-ED08-19C8-EBF6-4FD36924FBC1}"/>
              </a:ext>
            </a:extLst>
          </p:cNvPr>
          <p:cNvSpPr/>
          <p:nvPr/>
        </p:nvSpPr>
        <p:spPr>
          <a:xfrm rot="5400000">
            <a:off x="-182709" y="2633982"/>
            <a:ext cx="3265474" cy="2017880"/>
          </a:xfrm>
          <a:prstGeom prst="rect">
            <a:avLst/>
          </a:prstGeom>
          <a:solidFill>
            <a:srgbClr val="08517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7DD311C-80CB-E2AF-12EF-8382C11DFBD1}"/>
              </a:ext>
            </a:extLst>
          </p:cNvPr>
          <p:cNvGrpSpPr/>
          <p:nvPr/>
        </p:nvGrpSpPr>
        <p:grpSpPr>
          <a:xfrm>
            <a:off x="1144492" y="1705484"/>
            <a:ext cx="613064" cy="613064"/>
            <a:chOff x="645658" y="2456893"/>
            <a:chExt cx="613064" cy="61306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F6ED084-49F5-0E4C-6633-BBE97FA952A8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BC14473-D9A9-0502-F344-FB2C78F2DF84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18DE1260-442F-1FF3-D6C3-BB5338FA0CAA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36" name="Freeform 12">
                <a:extLst>
                  <a:ext uri="{FF2B5EF4-FFF2-40B4-BE49-F238E27FC236}">
                    <a16:creationId xmlns:a16="http://schemas.microsoft.com/office/drawing/2014/main" id="{2B186E66-E29A-AAAC-2506-E67083366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13">
                <a:extLst>
                  <a:ext uri="{FF2B5EF4-FFF2-40B4-BE49-F238E27FC236}">
                    <a16:creationId xmlns:a16="http://schemas.microsoft.com/office/drawing/2014/main" id="{22B92094-2163-F580-1AE9-50B2A6884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DC138FB2-0254-2761-A987-8ED7278FF736}"/>
              </a:ext>
            </a:extLst>
          </p:cNvPr>
          <p:cNvSpPr txBox="1"/>
          <p:nvPr/>
        </p:nvSpPr>
        <p:spPr>
          <a:xfrm>
            <a:off x="221511" y="3467924"/>
            <a:ext cx="2520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Login </a:t>
            </a:r>
          </a:p>
          <a:p>
            <a:pPr lvl="0" algn="ctr">
              <a:defRPr/>
            </a:pPr>
            <a:r>
              <a:rPr lang="sv-SE" sz="11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ttps://siki.pu.go.id/pkb-v2/)</a:t>
            </a:r>
            <a:endParaRPr lang="sv-SE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BA95E11D-471B-B097-BA1D-B6F01429859B}"/>
              </a:ext>
            </a:extLst>
          </p:cNvPr>
          <p:cNvSpPr/>
          <p:nvPr/>
        </p:nvSpPr>
        <p:spPr>
          <a:xfrm rot="5400000">
            <a:off x="9621566" y="2012006"/>
            <a:ext cx="2169506" cy="2171262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9C21475-5003-341C-2F00-747F0110DDAB}"/>
              </a:ext>
            </a:extLst>
          </p:cNvPr>
          <p:cNvSpPr txBox="1"/>
          <p:nvPr/>
        </p:nvSpPr>
        <p:spPr>
          <a:xfrm>
            <a:off x="9908825" y="3254654"/>
            <a:ext cx="159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latin typeface="Century Gothic" panose="020B0502020202020204" pitchFamily="34" charset="0"/>
              </a:rPr>
              <a:t>Dasboard</a:t>
            </a:r>
            <a:r>
              <a:rPr lang="en-US" sz="1600" b="1" dirty="0">
                <a:latin typeface="Century Gothic" panose="020B0502020202020204" pitchFamily="34" charset="0"/>
              </a:rPr>
              <a:t> PKB Tenaga Ahli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6548EC92-EADA-2A8E-360F-E07E35CA491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328" y="2484060"/>
            <a:ext cx="559861" cy="55986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C744E6D-C9D8-8889-00F2-D07F1058A7D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497" y="2611976"/>
            <a:ext cx="551063" cy="551063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4B5CD52-C041-477E-2A77-FAAFC9B07663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841" y="2570163"/>
            <a:ext cx="609604" cy="609604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EB7AA385-AFB2-A7FE-4D47-1F3864558312}"/>
              </a:ext>
            </a:extLst>
          </p:cNvPr>
          <p:cNvSpPr txBox="1"/>
          <p:nvPr/>
        </p:nvSpPr>
        <p:spPr>
          <a:xfrm>
            <a:off x="9697379" y="4367257"/>
            <a:ext cx="20178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600" b="1" i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i="1" dirty="0">
                <a:latin typeface="Century Gothic" panose="020B0502020202020204" pitchFamily="34" charset="0"/>
              </a:rPr>
              <a:t> Utama</a:t>
            </a:r>
          </a:p>
          <a:p>
            <a:pPr algn="ctr">
              <a:spcAft>
                <a:spcPts val="1200"/>
              </a:spcAft>
            </a:pPr>
            <a:r>
              <a:rPr lang="en-US" sz="1600" b="1" i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i="1" dirty="0"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latin typeface="Century Gothic" panose="020B0502020202020204" pitchFamily="34" charset="0"/>
              </a:rPr>
              <a:t>Penunjang</a:t>
            </a:r>
            <a:endParaRPr lang="en-US" sz="1600" b="1" i="1" dirty="0">
              <a:latin typeface="Century Gothic" panose="020B0502020202020204" pitchFamily="34" charset="0"/>
            </a:endParaRPr>
          </a:p>
          <a:p>
            <a:pPr algn="ctr">
              <a:spcAft>
                <a:spcPts val="1200"/>
              </a:spcAft>
            </a:pPr>
            <a:r>
              <a:rPr lang="en-US" sz="1600" b="1" i="1" dirty="0">
                <a:latin typeface="Century Gothic" panose="020B0502020202020204" pitchFamily="34" charset="0"/>
              </a:rPr>
              <a:t>Nilai </a:t>
            </a:r>
            <a:r>
              <a:rPr lang="en-US" sz="1600" b="1" i="1" dirty="0" err="1">
                <a:latin typeface="Century Gothic" panose="020B0502020202020204" pitchFamily="34" charset="0"/>
              </a:rPr>
              <a:t>Kredit</a:t>
            </a:r>
            <a:endParaRPr lang="en-ID" sz="1600" b="1" i="1" dirty="0">
              <a:latin typeface="Century Gothic" panose="020B0502020202020204" pitchFamily="34" charset="0"/>
            </a:endParaRP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C1CFB1EF-C941-0E6C-1E94-8BEE6E2061C1}"/>
              </a:ext>
            </a:extLst>
          </p:cNvPr>
          <p:cNvSpPr/>
          <p:nvPr/>
        </p:nvSpPr>
        <p:spPr>
          <a:xfrm>
            <a:off x="7458373" y="3019771"/>
            <a:ext cx="1875360" cy="598131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B568253-6A53-CB58-43E2-49D319A8E02E}"/>
              </a:ext>
            </a:extLst>
          </p:cNvPr>
          <p:cNvSpPr txBox="1"/>
          <p:nvPr/>
        </p:nvSpPr>
        <p:spPr>
          <a:xfrm>
            <a:off x="441088" y="874228"/>
            <a:ext cx="60975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LOGBOOK PKB </a:t>
            </a:r>
          </a:p>
          <a:p>
            <a:r>
              <a:rPr lang="en-US" b="1" dirty="0">
                <a:solidFill>
                  <a:srgbClr val="0070C0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ENAGA KERJA</a:t>
            </a:r>
            <a:endParaRPr lang="en-US" sz="1800" b="1" dirty="0">
              <a:solidFill>
                <a:srgbClr val="0070C0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072B29-73F9-50BE-003A-4EC81E470C6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208" y="2658464"/>
            <a:ext cx="559861" cy="55986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443176B-7A19-5738-10CA-3E60579F7C71}"/>
              </a:ext>
            </a:extLst>
          </p:cNvPr>
          <p:cNvSpPr txBox="1"/>
          <p:nvPr/>
        </p:nvSpPr>
        <p:spPr>
          <a:xfrm>
            <a:off x="2747632" y="3554498"/>
            <a:ext cx="212009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entury Gothic" panose="020B0502020202020204" pitchFamily="34" charset="0"/>
              </a:rPr>
              <a:t>Kegiatan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latin typeface="Century Gothic" panose="020B0502020202020204" pitchFamily="34" charset="0"/>
              </a:rPr>
              <a:t>terverifikasi</a:t>
            </a:r>
            <a:endParaRPr lang="en-US" sz="1400" dirty="0">
              <a:latin typeface="Century Gothic" panose="020B0502020202020204" pitchFamily="34" charset="0"/>
            </a:endParaRPr>
          </a:p>
          <a:p>
            <a:r>
              <a:rPr lang="en-US" sz="1400" dirty="0" err="1">
                <a:latin typeface="Century Gothic" panose="020B0502020202020204" pitchFamily="34" charset="0"/>
              </a:rPr>
              <a:t>Otomatis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latin typeface="Century Gothic" panose="020B0502020202020204" pitchFamily="34" charset="0"/>
              </a:rPr>
              <a:t>masuk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latin typeface="Century Gothic" panose="020B0502020202020204" pitchFamily="34" charset="0"/>
              </a:rPr>
              <a:t>ke</a:t>
            </a:r>
            <a:r>
              <a:rPr lang="en-US" sz="1400" dirty="0">
                <a:latin typeface="Century Gothic" panose="020B0502020202020204" pitchFamily="34" charset="0"/>
              </a:rPr>
              <a:t> logbook </a:t>
            </a:r>
            <a:r>
              <a:rPr lang="en-US" sz="1400" dirty="0" err="1">
                <a:latin typeface="Century Gothic" panose="020B0502020202020204" pitchFamily="34" charset="0"/>
              </a:rPr>
              <a:t>setelah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latin typeface="Century Gothic" panose="020B0502020202020204" pitchFamily="34" charset="0"/>
              </a:rPr>
              <a:t>laporan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latin typeface="Century Gothic" panose="020B0502020202020204" pitchFamily="34" charset="0"/>
              </a:rPr>
              <a:t>penyelenggara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latin typeface="Century Gothic" panose="020B0502020202020204" pitchFamily="34" charset="0"/>
              </a:rPr>
              <a:t>disahkan</a:t>
            </a:r>
            <a:r>
              <a:rPr lang="en-US" sz="1400" dirty="0">
                <a:latin typeface="Century Gothic" panose="020B0502020202020204" pitchFamily="34" charset="0"/>
              </a:rPr>
              <a:t> oleh LPJK</a:t>
            </a:r>
            <a:endParaRPr lang="en-ID" sz="1400" dirty="0"/>
          </a:p>
        </p:txBody>
      </p:sp>
      <p:pic>
        <p:nvPicPr>
          <p:cNvPr id="6" name="Google Shape;94;p13">
            <a:extLst>
              <a:ext uri="{FF2B5EF4-FFF2-40B4-BE49-F238E27FC236}">
                <a16:creationId xmlns:a16="http://schemas.microsoft.com/office/drawing/2014/main" id="{3FB7B363-7ADB-D8A7-40DA-3FC86D5EBB73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215E018-225B-536A-7F52-79A553DBC30D}"/>
              </a:ext>
            </a:extLst>
          </p:cNvPr>
          <p:cNvSpPr txBox="1"/>
          <p:nvPr/>
        </p:nvSpPr>
        <p:spPr>
          <a:xfrm>
            <a:off x="701797" y="5853207"/>
            <a:ext cx="72298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800" b="1" i="1" dirty="0">
                <a:latin typeface="Century Gothic" panose="020B0502020202020204" pitchFamily="34" charset="0"/>
              </a:rPr>
              <a:t>Dalam </a:t>
            </a:r>
            <a:r>
              <a:rPr lang="en-US" sz="1800" b="1" i="1" dirty="0" err="1">
                <a:latin typeface="Century Gothic" panose="020B0502020202020204" pitchFamily="34" charset="0"/>
              </a:rPr>
              <a:t>hal</a:t>
            </a:r>
            <a:r>
              <a:rPr lang="en-US" sz="1800" b="1" i="1" dirty="0">
                <a:latin typeface="Century Gothic" panose="020B0502020202020204" pitchFamily="34" charset="0"/>
              </a:rPr>
              <a:t> </a:t>
            </a:r>
            <a:r>
              <a:rPr lang="en-US" sz="1800" b="1" i="1" dirty="0" err="1">
                <a:latin typeface="Century Gothic" panose="020B0502020202020204" pitchFamily="34" charset="0"/>
              </a:rPr>
              <a:t>seorang</a:t>
            </a:r>
            <a:r>
              <a:rPr lang="en-US" sz="1800" b="1" i="1" dirty="0">
                <a:latin typeface="Century Gothic" panose="020B0502020202020204" pitchFamily="34" charset="0"/>
              </a:rPr>
              <a:t> TKK </a:t>
            </a:r>
            <a:r>
              <a:rPr lang="en-US" sz="1800" b="1" i="1" dirty="0" err="1">
                <a:latin typeface="Century Gothic" panose="020B0502020202020204" pitchFamily="34" charset="0"/>
              </a:rPr>
              <a:t>memiliki</a:t>
            </a:r>
            <a:r>
              <a:rPr lang="en-US" sz="1800" b="1" i="1" dirty="0">
                <a:latin typeface="Century Gothic" panose="020B0502020202020204" pitchFamily="34" charset="0"/>
              </a:rPr>
              <a:t> </a:t>
            </a:r>
            <a:r>
              <a:rPr lang="en-US" sz="1800" b="1" i="1" dirty="0" err="1">
                <a:latin typeface="Century Gothic" panose="020B0502020202020204" pitchFamily="34" charset="0"/>
              </a:rPr>
              <a:t>beberapa</a:t>
            </a:r>
            <a:r>
              <a:rPr lang="en-US" sz="1800" b="1" i="1" dirty="0">
                <a:latin typeface="Century Gothic" panose="020B0502020202020204" pitchFamily="34" charset="0"/>
              </a:rPr>
              <a:t> SKK Ahli, </a:t>
            </a:r>
            <a:r>
              <a:rPr lang="en-US" sz="1800" b="1" i="1" dirty="0" err="1">
                <a:latin typeface="Century Gothic" panose="020B0502020202020204" pitchFamily="34" charset="0"/>
              </a:rPr>
              <a:t>nilai</a:t>
            </a:r>
            <a:r>
              <a:rPr lang="en-US" sz="1800" b="1" i="1" dirty="0">
                <a:latin typeface="Century Gothic" panose="020B0502020202020204" pitchFamily="34" charset="0"/>
              </a:rPr>
              <a:t> SKPK </a:t>
            </a:r>
            <a:r>
              <a:rPr lang="en-US" sz="1800" b="1" i="1" dirty="0" err="1">
                <a:latin typeface="Century Gothic" panose="020B0502020202020204" pitchFamily="34" charset="0"/>
              </a:rPr>
              <a:t>akan</a:t>
            </a:r>
            <a:r>
              <a:rPr lang="en-US" sz="1800" b="1" i="1" dirty="0">
                <a:latin typeface="Century Gothic" panose="020B0502020202020204" pitchFamily="34" charset="0"/>
              </a:rPr>
              <a:t> </a:t>
            </a:r>
            <a:r>
              <a:rPr lang="en-US" sz="1800" b="1" i="1" dirty="0" err="1">
                <a:latin typeface="Century Gothic" panose="020B0502020202020204" pitchFamily="34" charset="0"/>
              </a:rPr>
              <a:t>terbagi</a:t>
            </a:r>
            <a:r>
              <a:rPr lang="en-US" sz="1800" b="1" i="1" dirty="0">
                <a:latin typeface="Century Gothic" panose="020B0502020202020204" pitchFamily="34" charset="0"/>
              </a:rPr>
              <a:t> </a:t>
            </a:r>
            <a:r>
              <a:rPr lang="en-US" sz="1800" b="1" i="1" dirty="0" err="1">
                <a:latin typeface="Century Gothic" panose="020B0502020202020204" pitchFamily="34" charset="0"/>
              </a:rPr>
              <a:t>ke</a:t>
            </a:r>
            <a:r>
              <a:rPr lang="en-US" sz="1800" b="1" i="1" dirty="0">
                <a:latin typeface="Century Gothic" panose="020B0502020202020204" pitchFamily="34" charset="0"/>
              </a:rPr>
              <a:t> </a:t>
            </a:r>
            <a:r>
              <a:rPr lang="en-US" sz="1800" b="1" i="1" dirty="0" err="1">
                <a:latin typeface="Century Gothic" panose="020B0502020202020204" pitchFamily="34" charset="0"/>
              </a:rPr>
              <a:t>seluruh</a:t>
            </a:r>
            <a:r>
              <a:rPr lang="en-US" sz="1800" b="1" i="1" dirty="0">
                <a:latin typeface="Century Gothic" panose="020B0502020202020204" pitchFamily="34" charset="0"/>
              </a:rPr>
              <a:t> SKK </a:t>
            </a:r>
            <a:r>
              <a:rPr lang="en-US" sz="1800" b="1" i="1" dirty="0" err="1">
                <a:latin typeface="Century Gothic" panose="020B0502020202020204" pitchFamily="34" charset="0"/>
              </a:rPr>
              <a:t>dengan</a:t>
            </a:r>
            <a:r>
              <a:rPr lang="en-US" sz="1800" b="1" i="1" dirty="0">
                <a:latin typeface="Century Gothic" panose="020B0502020202020204" pitchFamily="34" charset="0"/>
              </a:rPr>
              <a:t> </a:t>
            </a:r>
            <a:r>
              <a:rPr lang="en-US" sz="1800" b="1" i="1" dirty="0" err="1">
                <a:latin typeface="Century Gothic" panose="020B0502020202020204" pitchFamily="34" charset="0"/>
              </a:rPr>
              <a:t>porsi</a:t>
            </a:r>
            <a:r>
              <a:rPr lang="en-US" sz="1800" b="1" i="1" dirty="0">
                <a:latin typeface="Century Gothic" panose="020B0502020202020204" pitchFamily="34" charset="0"/>
              </a:rPr>
              <a:t> </a:t>
            </a:r>
            <a:r>
              <a:rPr lang="en-US" sz="1800" b="1" i="1" dirty="0" err="1">
                <a:latin typeface="Century Gothic" panose="020B0502020202020204" pitchFamily="34" charset="0"/>
              </a:rPr>
              <a:t>berbeda</a:t>
            </a:r>
            <a:endParaRPr lang="en-ID" sz="1800" b="1" i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987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 dir="u"/>
      </p:transition>
    </mc:Choice>
    <mc:Fallback xmlns="">
      <p:transition spd="slow">
        <p:pull dir="u"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TextBox 109"/>
          <p:cNvSpPr txBox="1"/>
          <p:nvPr/>
        </p:nvSpPr>
        <p:spPr>
          <a:xfrm>
            <a:off x="271412" y="125692"/>
            <a:ext cx="101205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23">
              <a:tabLst>
                <a:tab pos="347671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C3367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PENYETARAAN KOMPETENSI TENAGA KERJA KONSTRUKSI ASING</a:t>
            </a:r>
            <a:endParaRPr lang="en-US" sz="2400" dirty="0">
              <a:solidFill>
                <a:srgbClr val="0E4F83"/>
              </a:solidFill>
              <a:latin typeface="Century Gothic"/>
            </a:endParaRPr>
          </a:p>
        </p:txBody>
      </p:sp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57154957-68AB-414D-8F5B-A49D3A261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70DD2D-DA8E-9499-B3D2-0A591A60966D}"/>
              </a:ext>
            </a:extLst>
          </p:cNvPr>
          <p:cNvSpPr/>
          <p:nvPr/>
        </p:nvSpPr>
        <p:spPr>
          <a:xfrm>
            <a:off x="5348032" y="1997294"/>
            <a:ext cx="1220589" cy="40540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46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0C673B-8F1E-83AC-F977-38B6C04E157D}"/>
              </a:ext>
            </a:extLst>
          </p:cNvPr>
          <p:cNvSpPr/>
          <p:nvPr/>
        </p:nvSpPr>
        <p:spPr>
          <a:xfrm>
            <a:off x="4030515" y="1997293"/>
            <a:ext cx="1220589" cy="40540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46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B7F8AD-5F11-401F-8358-3341FE8D56D3}"/>
              </a:ext>
            </a:extLst>
          </p:cNvPr>
          <p:cNvSpPr/>
          <p:nvPr/>
        </p:nvSpPr>
        <p:spPr>
          <a:xfrm>
            <a:off x="2767191" y="1997292"/>
            <a:ext cx="1163318" cy="40540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46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79FB6D-FA5E-75D2-BA20-EC55F10820C0}"/>
              </a:ext>
            </a:extLst>
          </p:cNvPr>
          <p:cNvSpPr/>
          <p:nvPr/>
        </p:nvSpPr>
        <p:spPr>
          <a:xfrm>
            <a:off x="6856487" y="1998049"/>
            <a:ext cx="2900972" cy="32766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46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25F1AA6-0AF3-B0E3-8CE1-87178C6B8406}"/>
              </a:ext>
            </a:extLst>
          </p:cNvPr>
          <p:cNvCxnSpPr>
            <a:cxnSpLocks/>
          </p:cNvCxnSpPr>
          <p:nvPr/>
        </p:nvCxnSpPr>
        <p:spPr>
          <a:xfrm>
            <a:off x="8751562" y="3906423"/>
            <a:ext cx="0" cy="1510841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A496A62-7BDA-E110-7B05-D1981862E6B2}"/>
              </a:ext>
            </a:extLst>
          </p:cNvPr>
          <p:cNvCxnSpPr>
            <a:cxnSpLocks/>
          </p:cNvCxnSpPr>
          <p:nvPr/>
        </p:nvCxnSpPr>
        <p:spPr>
          <a:xfrm>
            <a:off x="5061058" y="5656872"/>
            <a:ext cx="387511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56410F7-3040-626C-7E13-D13BA5884B06}"/>
              </a:ext>
            </a:extLst>
          </p:cNvPr>
          <p:cNvCxnSpPr>
            <a:cxnSpLocks/>
          </p:cNvCxnSpPr>
          <p:nvPr/>
        </p:nvCxnSpPr>
        <p:spPr>
          <a:xfrm>
            <a:off x="4602804" y="2946951"/>
            <a:ext cx="0" cy="261511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1FD0A70-DED5-21EE-AE21-78CA555C9D27}"/>
              </a:ext>
            </a:extLst>
          </p:cNvPr>
          <p:cNvCxnSpPr>
            <a:cxnSpLocks/>
          </p:cNvCxnSpPr>
          <p:nvPr/>
        </p:nvCxnSpPr>
        <p:spPr>
          <a:xfrm>
            <a:off x="3813554" y="2713191"/>
            <a:ext cx="341933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71CDE5E-D49C-3943-472B-54F5BE486A23}"/>
              </a:ext>
            </a:extLst>
          </p:cNvPr>
          <p:cNvSpPr/>
          <p:nvPr/>
        </p:nvSpPr>
        <p:spPr>
          <a:xfrm>
            <a:off x="2885284" y="2467888"/>
            <a:ext cx="928271" cy="48338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mohonan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gesahan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id-ID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P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KA</a:t>
            </a:r>
            <a:endParaRPr kumimoji="0" lang="en-ID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C05EDA-7147-E9A7-038F-4E152CEC366E}"/>
              </a:ext>
            </a:extLst>
          </p:cNvPr>
          <p:cNvSpPr/>
          <p:nvPr/>
        </p:nvSpPr>
        <p:spPr>
          <a:xfrm>
            <a:off x="4156672" y="2456539"/>
            <a:ext cx="895170" cy="4940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ilaian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elayakan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mohonan</a:t>
            </a:r>
            <a:endParaRPr kumimoji="0" lang="en-ID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A5DBA88-F686-A254-69AA-209B0B073AE1}"/>
              </a:ext>
            </a:extLst>
          </p:cNvPr>
          <p:cNvSpPr/>
          <p:nvPr/>
        </p:nvSpPr>
        <p:spPr>
          <a:xfrm>
            <a:off x="5448569" y="5388322"/>
            <a:ext cx="895170" cy="5571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7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erbitan </a:t>
            </a: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isa dan </a:t>
            </a:r>
            <a:r>
              <a:rPr kumimoji="0" lang="en-US" sz="975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zin</a:t>
            </a: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975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inggal</a:t>
            </a:r>
            <a:endParaRPr kumimoji="0" lang="en-ID" sz="97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1D8F6A-0BC7-E743-AFCE-D8F4B7FC19D7}"/>
              </a:ext>
            </a:extLst>
          </p:cNvPr>
          <p:cNvSpPr/>
          <p:nvPr/>
        </p:nvSpPr>
        <p:spPr>
          <a:xfrm>
            <a:off x="6995214" y="2976069"/>
            <a:ext cx="1158343" cy="465149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3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yetaraan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ompetensi</a:t>
            </a:r>
            <a:endParaRPr kumimoji="0" lang="en-ID" sz="1138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E6BE1A-9150-6F43-547A-8A3C536123C6}"/>
              </a:ext>
            </a:extLst>
          </p:cNvPr>
          <p:cNvSpPr/>
          <p:nvPr/>
        </p:nvSpPr>
        <p:spPr>
          <a:xfrm>
            <a:off x="8279313" y="3441275"/>
            <a:ext cx="949613" cy="465149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catatan</a:t>
            </a:r>
            <a:endParaRPr kumimoji="0" lang="en-ID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1538693-6B03-9A16-3186-FB3D9FE32FE4}"/>
              </a:ext>
            </a:extLst>
          </p:cNvPr>
          <p:cNvCxnSpPr>
            <a:cxnSpLocks/>
          </p:cNvCxnSpPr>
          <p:nvPr/>
        </p:nvCxnSpPr>
        <p:spPr>
          <a:xfrm flipH="1">
            <a:off x="3813555" y="3208462"/>
            <a:ext cx="789248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C12C79C-E322-4362-01AA-0BFF8D4AD831}"/>
              </a:ext>
            </a:extLst>
          </p:cNvPr>
          <p:cNvSpPr/>
          <p:nvPr/>
        </p:nvSpPr>
        <p:spPr>
          <a:xfrm>
            <a:off x="2885284" y="3072592"/>
            <a:ext cx="928271" cy="48338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yampaian</a:t>
            </a: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Data Calon TKA</a:t>
            </a:r>
            <a:endParaRPr kumimoji="0" lang="en-ID" sz="97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3F975E-653D-B99A-3F6A-09ACA1F10EBF}"/>
              </a:ext>
            </a:extLst>
          </p:cNvPr>
          <p:cNvSpPr/>
          <p:nvPr/>
        </p:nvSpPr>
        <p:spPr>
          <a:xfrm>
            <a:off x="2885284" y="3747760"/>
            <a:ext cx="928271" cy="4996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mbayaran</a:t>
            </a: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DKPTKA</a:t>
            </a:r>
            <a:endParaRPr kumimoji="0" lang="en-ID" sz="97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D887C25-CF75-3122-4F66-BBE177C7339C}"/>
              </a:ext>
            </a:extLst>
          </p:cNvPr>
          <p:cNvSpPr/>
          <p:nvPr/>
        </p:nvSpPr>
        <p:spPr>
          <a:xfrm>
            <a:off x="4156672" y="4715294"/>
            <a:ext cx="921858" cy="47003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>
            <a:solidFill>
              <a:srgbClr val="FFFF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gesahan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RPTKA</a:t>
            </a:r>
            <a:endParaRPr kumimoji="0" lang="en-ID" sz="1138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5D15953-C47E-CB88-5D9E-FAC862455C90}"/>
              </a:ext>
            </a:extLst>
          </p:cNvPr>
          <p:cNvSpPr/>
          <p:nvPr/>
        </p:nvSpPr>
        <p:spPr>
          <a:xfrm>
            <a:off x="4156672" y="5388321"/>
            <a:ext cx="921858" cy="55300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yampaian</a:t>
            </a: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Data TKA</a:t>
            </a:r>
            <a:endParaRPr kumimoji="0" lang="en-ID" sz="97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FCA09E0-3048-3AD9-1D91-DC4CBAC4D6F4}"/>
              </a:ext>
            </a:extLst>
          </p:cNvPr>
          <p:cNvGrpSpPr/>
          <p:nvPr/>
        </p:nvGrpSpPr>
        <p:grpSpPr>
          <a:xfrm>
            <a:off x="2767191" y="1270505"/>
            <a:ext cx="3794113" cy="297930"/>
            <a:chOff x="226269" y="877006"/>
            <a:chExt cx="4669678" cy="36668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54D3953-89A1-FDE3-CD9C-EE73AAB39A1E}"/>
                </a:ext>
              </a:extLst>
            </p:cNvPr>
            <p:cNvGrpSpPr/>
            <p:nvPr/>
          </p:nvGrpSpPr>
          <p:grpSpPr>
            <a:xfrm>
              <a:off x="226269" y="877006"/>
              <a:ext cx="4669678" cy="344469"/>
              <a:chOff x="176464" y="6182436"/>
              <a:chExt cx="5158947" cy="432258"/>
            </a:xfrm>
          </p:grpSpPr>
          <p:sp>
            <p:nvSpPr>
              <p:cNvPr id="27" name="Arrow: Pentagon 104">
                <a:extLst>
                  <a:ext uri="{FF2B5EF4-FFF2-40B4-BE49-F238E27FC236}">
                    <a16:creationId xmlns:a16="http://schemas.microsoft.com/office/drawing/2014/main" id="{CF798A25-4A4C-27D5-66C1-F31DA6841238}"/>
                  </a:ext>
                </a:extLst>
              </p:cNvPr>
              <p:cNvSpPr/>
              <p:nvPr/>
            </p:nvSpPr>
            <p:spPr>
              <a:xfrm>
                <a:off x="709683" y="6182436"/>
                <a:ext cx="4625728" cy="432258"/>
              </a:xfrm>
              <a:prstGeom prst="homePlate">
                <a:avLst/>
              </a:pr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3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" name="Arrow: Pentagon 105">
                <a:extLst>
                  <a:ext uri="{FF2B5EF4-FFF2-40B4-BE49-F238E27FC236}">
                    <a16:creationId xmlns:a16="http://schemas.microsoft.com/office/drawing/2014/main" id="{0F202D8A-610B-D901-9D7C-88D8795BDF78}"/>
                  </a:ext>
                </a:extLst>
              </p:cNvPr>
              <p:cNvSpPr/>
              <p:nvPr/>
            </p:nvSpPr>
            <p:spPr>
              <a:xfrm flipH="1">
                <a:off x="176464" y="6182436"/>
                <a:ext cx="4253484" cy="432258"/>
              </a:xfrm>
              <a:prstGeom prst="homePlate">
                <a:avLst/>
              </a:pr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3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30D2823-1B42-7847-2718-283A598F011D}"/>
                </a:ext>
              </a:extLst>
            </p:cNvPr>
            <p:cNvSpPr txBox="1"/>
            <p:nvPr/>
          </p:nvSpPr>
          <p:spPr>
            <a:xfrm>
              <a:off x="1076512" y="883827"/>
              <a:ext cx="2911494" cy="359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P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Nomor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34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ahun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2021</a:t>
              </a:r>
              <a:endParaRPr kumimoji="0" lang="en-ID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9206CD7-4BE9-C7B2-B019-005BAC763336}"/>
              </a:ext>
            </a:extLst>
          </p:cNvPr>
          <p:cNvGrpSpPr/>
          <p:nvPr/>
        </p:nvGrpSpPr>
        <p:grpSpPr>
          <a:xfrm>
            <a:off x="6838745" y="1099596"/>
            <a:ext cx="2891369" cy="502209"/>
            <a:chOff x="5271069" y="888762"/>
            <a:chExt cx="3558608" cy="618104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71A3067D-A69D-D94A-4852-27FF1DAE8CA8}"/>
                </a:ext>
              </a:extLst>
            </p:cNvPr>
            <p:cNvGrpSpPr/>
            <p:nvPr/>
          </p:nvGrpSpPr>
          <p:grpSpPr>
            <a:xfrm>
              <a:off x="5271069" y="888762"/>
              <a:ext cx="3558608" cy="328751"/>
              <a:chOff x="7215060" y="3858085"/>
              <a:chExt cx="3430413" cy="328751"/>
            </a:xfrm>
            <a:solidFill>
              <a:srgbClr val="1ED0A6"/>
            </a:solidFill>
          </p:grpSpPr>
          <p:sp>
            <p:nvSpPr>
              <p:cNvPr id="32" name="Arrow: Pentagon 109">
                <a:extLst>
                  <a:ext uri="{FF2B5EF4-FFF2-40B4-BE49-F238E27FC236}">
                    <a16:creationId xmlns:a16="http://schemas.microsoft.com/office/drawing/2014/main" id="{9DB25525-211B-EBF6-06DB-5DE9BC880E36}"/>
                  </a:ext>
                </a:extLst>
              </p:cNvPr>
              <p:cNvSpPr/>
              <p:nvPr/>
            </p:nvSpPr>
            <p:spPr>
              <a:xfrm>
                <a:off x="8015842" y="3858085"/>
                <a:ext cx="2629631" cy="328751"/>
              </a:xfrm>
              <a:prstGeom prst="homePlate">
                <a:avLst/>
              </a:pr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3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Arrow: Pentagon 110">
                <a:extLst>
                  <a:ext uri="{FF2B5EF4-FFF2-40B4-BE49-F238E27FC236}">
                    <a16:creationId xmlns:a16="http://schemas.microsoft.com/office/drawing/2014/main" id="{D2749AB0-9742-33D4-4F39-DFC2B33AB052}"/>
                  </a:ext>
                </a:extLst>
              </p:cNvPr>
              <p:cNvSpPr/>
              <p:nvPr/>
            </p:nvSpPr>
            <p:spPr>
              <a:xfrm flipH="1">
                <a:off x="7215060" y="3858085"/>
                <a:ext cx="2184771" cy="328751"/>
              </a:xfrm>
              <a:prstGeom prst="homePlate">
                <a:avLst/>
              </a:pr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3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77F61D0-0C6B-916C-C173-864150C48C80}"/>
                </a:ext>
              </a:extLst>
            </p:cNvPr>
            <p:cNvSpPr txBox="1"/>
            <p:nvPr/>
          </p:nvSpPr>
          <p:spPr>
            <a:xfrm>
              <a:off x="5831551" y="900782"/>
              <a:ext cx="2428558" cy="606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P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Nomor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14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ahun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2021</a:t>
              </a:r>
              <a:endParaRPr kumimoji="0" lang="en-ID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3FEE635-E581-E4FB-ABC6-DFFF6A983013}"/>
              </a:ext>
            </a:extLst>
          </p:cNvPr>
          <p:cNvCxnSpPr>
            <a:cxnSpLocks/>
          </p:cNvCxnSpPr>
          <p:nvPr/>
        </p:nvCxnSpPr>
        <p:spPr>
          <a:xfrm>
            <a:off x="4602803" y="5185324"/>
            <a:ext cx="0" cy="222657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7984BBD-0BDC-0247-EC25-0046783BF105}"/>
              </a:ext>
            </a:extLst>
          </p:cNvPr>
          <p:cNvCxnSpPr>
            <a:cxnSpLocks/>
          </p:cNvCxnSpPr>
          <p:nvPr/>
        </p:nvCxnSpPr>
        <p:spPr>
          <a:xfrm>
            <a:off x="6343739" y="5656872"/>
            <a:ext cx="731534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id="{78A0FBC0-41AD-A9FE-1A50-C8E0C79B85E9}"/>
              </a:ext>
            </a:extLst>
          </p:cNvPr>
          <p:cNvSpPr/>
          <p:nvPr/>
        </p:nvSpPr>
        <p:spPr>
          <a:xfrm>
            <a:off x="7075273" y="5417264"/>
            <a:ext cx="1079380" cy="477686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Berlin Sans FB Demi" panose="020E0802020502020306" pitchFamily="34" charset="0"/>
                <a:ea typeface="+mn-ea"/>
                <a:cs typeface="+mn-cs"/>
              </a:rPr>
              <a:t>DATANG DI INDONESIA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F37FB91-F05B-4FB9-09C7-3F612FC97C2A}"/>
              </a:ext>
            </a:extLst>
          </p:cNvPr>
          <p:cNvSpPr/>
          <p:nvPr/>
        </p:nvSpPr>
        <p:spPr>
          <a:xfrm>
            <a:off x="8211872" y="5407980"/>
            <a:ext cx="1150878" cy="533347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Berlin Sans FB Demi" panose="020E0802020502020306" pitchFamily="34" charset="0"/>
                <a:ea typeface="+mn-ea"/>
                <a:cs typeface="+mn-cs"/>
              </a:rPr>
              <a:t>LAYANAN JASA KONSTRUKSI</a:t>
            </a:r>
            <a:endParaRPr kumimoji="0" lang="id-ID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Berlin Sans FB Demi" panose="020E0802020502020306" pitchFamily="34" charset="0"/>
              <a:ea typeface="+mn-ea"/>
              <a:cs typeface="+mn-cs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7D1258F-26ED-EC25-C780-5904AA70D799}"/>
              </a:ext>
            </a:extLst>
          </p:cNvPr>
          <p:cNvCxnSpPr>
            <a:cxnSpLocks/>
          </p:cNvCxnSpPr>
          <p:nvPr/>
        </p:nvCxnSpPr>
        <p:spPr>
          <a:xfrm>
            <a:off x="3813555" y="3377862"/>
            <a:ext cx="789248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A91C0670-D347-AACF-EAF7-6FA5D8933B3F}"/>
              </a:ext>
            </a:extLst>
          </p:cNvPr>
          <p:cNvSpPr/>
          <p:nvPr/>
        </p:nvSpPr>
        <p:spPr>
          <a:xfrm>
            <a:off x="4156672" y="3753398"/>
            <a:ext cx="895170" cy="4940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rifikasi</a:t>
            </a: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Data Calon TKA </a:t>
            </a:r>
            <a:endParaRPr kumimoji="0" lang="en-ID" sz="97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D038F16-E603-8525-F433-8C7B2E2B5B75}"/>
              </a:ext>
            </a:extLst>
          </p:cNvPr>
          <p:cNvCxnSpPr>
            <a:cxnSpLocks/>
          </p:cNvCxnSpPr>
          <p:nvPr/>
        </p:nvCxnSpPr>
        <p:spPr>
          <a:xfrm>
            <a:off x="4602804" y="3374495"/>
            <a:ext cx="0" cy="384354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E42CB24B-3E12-7585-416E-397E91D174AD}"/>
              </a:ext>
            </a:extLst>
          </p:cNvPr>
          <p:cNvCxnSpPr>
            <a:cxnSpLocks/>
          </p:cNvCxnSpPr>
          <p:nvPr/>
        </p:nvCxnSpPr>
        <p:spPr>
          <a:xfrm flipH="1">
            <a:off x="3813554" y="3996618"/>
            <a:ext cx="354967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6CEA1C9-9B3A-99C9-E12F-157E3F7B9BB4}"/>
              </a:ext>
            </a:extLst>
          </p:cNvPr>
          <p:cNvCxnSpPr>
            <a:cxnSpLocks/>
          </p:cNvCxnSpPr>
          <p:nvPr/>
        </p:nvCxnSpPr>
        <p:spPr>
          <a:xfrm>
            <a:off x="3344853" y="4247449"/>
            <a:ext cx="0" cy="702860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tle 1">
            <a:extLst>
              <a:ext uri="{FF2B5EF4-FFF2-40B4-BE49-F238E27FC236}">
                <a16:creationId xmlns:a16="http://schemas.microsoft.com/office/drawing/2014/main" id="{3819973D-0082-1A27-CD77-A274602CF00C}"/>
              </a:ext>
            </a:extLst>
          </p:cNvPr>
          <p:cNvSpPr txBox="1">
            <a:spLocks/>
          </p:cNvSpPr>
          <p:nvPr/>
        </p:nvSpPr>
        <p:spPr>
          <a:xfrm>
            <a:off x="4030515" y="1619618"/>
            <a:ext cx="1220588" cy="408988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vert="horz" lIns="74295" tIns="37148" rIns="74295" bIns="3714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/>
                <a:ea typeface="+mj-ea"/>
                <a:cs typeface="+mj-cs"/>
              </a:rPr>
              <a:t>Kemenaker</a:t>
            </a:r>
            <a:endParaRPr kumimoji="0" lang="en-US" sz="113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/>
              <a:ea typeface="+mj-ea"/>
              <a:cs typeface="+mj-cs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4ECC9471-B7C8-6484-DE05-7C599353466B}"/>
              </a:ext>
            </a:extLst>
          </p:cNvPr>
          <p:cNvSpPr txBox="1">
            <a:spLocks/>
          </p:cNvSpPr>
          <p:nvPr/>
        </p:nvSpPr>
        <p:spPr>
          <a:xfrm>
            <a:off x="5340717" y="1619618"/>
            <a:ext cx="1220588" cy="408988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vert="horz" lIns="74295" tIns="37148" rIns="74295" bIns="3714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/>
                <a:ea typeface="+mj-ea"/>
                <a:cs typeface="+mj-cs"/>
              </a:rPr>
              <a:t>Imigrasi</a:t>
            </a:r>
            <a:endParaRPr kumimoji="0" lang="en-US" sz="113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/>
              <a:ea typeface="+mj-ea"/>
              <a:cs typeface="+mj-cs"/>
            </a:endParaRP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B95B3FDD-BBBA-37C2-76A9-819463C81749}"/>
              </a:ext>
            </a:extLst>
          </p:cNvPr>
          <p:cNvSpPr txBox="1">
            <a:spLocks/>
          </p:cNvSpPr>
          <p:nvPr/>
        </p:nvSpPr>
        <p:spPr>
          <a:xfrm>
            <a:off x="2770451" y="1619618"/>
            <a:ext cx="1160059" cy="408988"/>
          </a:xfrm>
          <a:prstGeom prst="rect">
            <a:avLst/>
          </a:prstGeom>
          <a:solidFill>
            <a:srgbClr val="D85912"/>
          </a:solidFill>
        </p:spPr>
        <p:txBody>
          <a:bodyPr vert="horz" lIns="74295" tIns="37148" rIns="74295" bIns="3714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/>
                <a:ea typeface="+mj-ea"/>
                <a:cs typeface="+mj-cs"/>
              </a:rPr>
              <a:t>Pemberi</a:t>
            </a: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/>
                <a:ea typeface="+mj-ea"/>
                <a:cs typeface="+mj-cs"/>
              </a:rPr>
              <a:t> </a:t>
            </a:r>
            <a:r>
              <a:rPr kumimoji="0" lang="en-US" sz="1138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/>
                <a:ea typeface="+mj-ea"/>
                <a:cs typeface="+mj-cs"/>
              </a:rPr>
              <a:t>Kerja</a:t>
            </a: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/>
                <a:ea typeface="+mj-ea"/>
                <a:cs typeface="+mj-cs"/>
              </a:rPr>
              <a:t> TKA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91475D71-A004-88F8-F413-F8FCA2FC446E}"/>
              </a:ext>
            </a:extLst>
          </p:cNvPr>
          <p:cNvSpPr txBox="1">
            <a:spLocks/>
          </p:cNvSpPr>
          <p:nvPr/>
        </p:nvSpPr>
        <p:spPr>
          <a:xfrm>
            <a:off x="6866091" y="1619618"/>
            <a:ext cx="2891367" cy="408988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vert="horz" lIns="74295" tIns="37148" rIns="74295" bIns="3714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/>
                <a:ea typeface="+mj-ea"/>
                <a:cs typeface="+mj-cs"/>
              </a:rPr>
              <a:t>Kementerian PUPR 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AEC5566-2D24-8B4C-B776-574CE3116366}"/>
              </a:ext>
            </a:extLst>
          </p:cNvPr>
          <p:cNvGrpSpPr/>
          <p:nvPr/>
        </p:nvGrpSpPr>
        <p:grpSpPr>
          <a:xfrm>
            <a:off x="9064722" y="5285263"/>
            <a:ext cx="596055" cy="425394"/>
            <a:chOff x="4523211" y="3967405"/>
            <a:chExt cx="1014278" cy="669603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52138B28-E4D6-C69E-E12A-13018E9ACB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6551" y="3996070"/>
              <a:ext cx="640938" cy="640938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C4B763CA-6140-AFDC-5ECF-A2C7F75EE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23211" y="3967405"/>
              <a:ext cx="640938" cy="640938"/>
            </a:xfrm>
            <a:prstGeom prst="rect">
              <a:avLst/>
            </a:prstGeom>
          </p:spPr>
        </p:pic>
      </p:grp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241AEF7B-EAD8-CC42-32D7-A5F83456235A}"/>
              </a:ext>
            </a:extLst>
          </p:cNvPr>
          <p:cNvCxnSpPr>
            <a:cxnSpLocks/>
          </p:cNvCxnSpPr>
          <p:nvPr/>
        </p:nvCxnSpPr>
        <p:spPr>
          <a:xfrm>
            <a:off x="8751562" y="2595399"/>
            <a:ext cx="0" cy="852742"/>
          </a:xfrm>
          <a:prstGeom prst="straightConnector1">
            <a:avLst/>
          </a:prstGeom>
          <a:ln w="38100">
            <a:solidFill>
              <a:srgbClr val="D6BE0C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1C39283-932B-4BFE-5890-BB5AD6635D4B}"/>
              </a:ext>
            </a:extLst>
          </p:cNvPr>
          <p:cNvCxnSpPr>
            <a:cxnSpLocks/>
          </p:cNvCxnSpPr>
          <p:nvPr/>
        </p:nvCxnSpPr>
        <p:spPr>
          <a:xfrm>
            <a:off x="3344852" y="4941798"/>
            <a:ext cx="810635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FCD9AFCA-52C8-C4F1-DDC9-BA37EBB81834}"/>
              </a:ext>
            </a:extLst>
          </p:cNvPr>
          <p:cNvSpPr/>
          <p:nvPr/>
        </p:nvSpPr>
        <p:spPr>
          <a:xfrm>
            <a:off x="7075272" y="4871408"/>
            <a:ext cx="1022595" cy="1535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94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mohonan</a:t>
            </a:r>
            <a:endParaRPr kumimoji="0" lang="en-ID" sz="89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C0006FD-D607-B16E-5743-A4DCFE47230A}"/>
              </a:ext>
            </a:extLst>
          </p:cNvPr>
          <p:cNvSpPr/>
          <p:nvPr/>
        </p:nvSpPr>
        <p:spPr>
          <a:xfrm>
            <a:off x="7075272" y="4495942"/>
            <a:ext cx="1022595" cy="1535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4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rifikasi</a:t>
            </a:r>
            <a:endParaRPr kumimoji="0" lang="en-ID" sz="89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17FA870-A24E-3F2B-3F61-E671B9F36CC7}"/>
              </a:ext>
            </a:extLst>
          </p:cNvPr>
          <p:cNvSpPr/>
          <p:nvPr/>
        </p:nvSpPr>
        <p:spPr>
          <a:xfrm>
            <a:off x="7075272" y="4009488"/>
            <a:ext cx="1022595" cy="257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4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ji/audit </a:t>
            </a:r>
            <a:r>
              <a:rPr kumimoji="0" lang="en-US" sz="894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rtofolio</a:t>
            </a:r>
            <a:endParaRPr kumimoji="0" lang="en-ID" sz="89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5015F99-CB27-FF84-AE01-1E83077E86C1}"/>
              </a:ext>
            </a:extLst>
          </p:cNvPr>
          <p:cNvSpPr/>
          <p:nvPr/>
        </p:nvSpPr>
        <p:spPr>
          <a:xfrm>
            <a:off x="7075272" y="3545672"/>
            <a:ext cx="1022595" cy="257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etapan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Hasil </a:t>
            </a: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yetaraan</a:t>
            </a:r>
            <a:endParaRPr kumimoji="0" lang="en-ID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6E07FF57-B2B7-E4DA-F2D1-ECF09977FF94}"/>
              </a:ext>
            </a:extLst>
          </p:cNvPr>
          <p:cNvCxnSpPr>
            <a:cxnSpLocks/>
          </p:cNvCxnSpPr>
          <p:nvPr/>
        </p:nvCxnSpPr>
        <p:spPr>
          <a:xfrm flipV="1">
            <a:off x="7594081" y="4648752"/>
            <a:ext cx="0" cy="222657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C6F667AE-4AD9-C985-4CBF-5C56E1F18A6F}"/>
              </a:ext>
            </a:extLst>
          </p:cNvPr>
          <p:cNvCxnSpPr>
            <a:cxnSpLocks/>
          </p:cNvCxnSpPr>
          <p:nvPr/>
        </p:nvCxnSpPr>
        <p:spPr>
          <a:xfrm flipV="1">
            <a:off x="7594081" y="4267311"/>
            <a:ext cx="0" cy="222657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1B1A3E51-2C01-70E5-BEAE-CC1D53E31ECB}"/>
              </a:ext>
            </a:extLst>
          </p:cNvPr>
          <p:cNvCxnSpPr>
            <a:cxnSpLocks/>
          </p:cNvCxnSpPr>
          <p:nvPr/>
        </p:nvCxnSpPr>
        <p:spPr>
          <a:xfrm flipV="1">
            <a:off x="7594081" y="3786832"/>
            <a:ext cx="0" cy="222657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87D47AA2-FAA8-1E10-A15B-E52C066F626B}"/>
              </a:ext>
            </a:extLst>
          </p:cNvPr>
          <p:cNvSpPr/>
          <p:nvPr/>
        </p:nvSpPr>
        <p:spPr>
          <a:xfrm>
            <a:off x="6995214" y="3441274"/>
            <a:ext cx="1155395" cy="1687413"/>
          </a:xfrm>
          <a:prstGeom prst="rect">
            <a:avLst/>
          </a:prstGeom>
          <a:noFill/>
          <a:ln w="19050">
            <a:solidFill>
              <a:srgbClr val="92D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8D542A1B-78EF-D210-F629-7575455479F1}"/>
              </a:ext>
            </a:extLst>
          </p:cNvPr>
          <p:cNvCxnSpPr>
            <a:cxnSpLocks/>
          </p:cNvCxnSpPr>
          <p:nvPr/>
        </p:nvCxnSpPr>
        <p:spPr>
          <a:xfrm>
            <a:off x="8097867" y="3673849"/>
            <a:ext cx="186563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6323D351-1DAB-D36B-C707-DB25F1DD214A}"/>
              </a:ext>
            </a:extLst>
          </p:cNvPr>
          <p:cNvCxnSpPr>
            <a:cxnSpLocks/>
          </p:cNvCxnSpPr>
          <p:nvPr/>
        </p:nvCxnSpPr>
        <p:spPr>
          <a:xfrm flipV="1">
            <a:off x="7611062" y="5024983"/>
            <a:ext cx="0" cy="392282"/>
          </a:xfrm>
          <a:prstGeom prst="straightConnector1">
            <a:avLst/>
          </a:prstGeom>
          <a:ln w="28575">
            <a:solidFill>
              <a:srgbClr val="002060"/>
            </a:solidFill>
            <a:headEnd type="none" w="med" len="med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D890D857-BDB6-D7B4-913A-8388D500DE77}"/>
              </a:ext>
            </a:extLst>
          </p:cNvPr>
          <p:cNvSpPr/>
          <p:nvPr/>
        </p:nvSpPr>
        <p:spPr>
          <a:xfrm>
            <a:off x="6995214" y="2130251"/>
            <a:ext cx="2607463" cy="465149"/>
          </a:xfrm>
          <a:prstGeom prst="rect">
            <a:avLst/>
          </a:prstGeom>
          <a:solidFill>
            <a:srgbClr val="92D050"/>
          </a:solidFill>
          <a:ln w="19050">
            <a:solidFill>
              <a:srgbClr val="FFFF0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mantauan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dan </a:t>
            </a: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valuasi</a:t>
            </a:r>
            <a:endParaRPr kumimoji="0" lang="en-ID" sz="1138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F371F90A-5CC7-3128-6153-FEF15EC5EE35}"/>
              </a:ext>
            </a:extLst>
          </p:cNvPr>
          <p:cNvCxnSpPr>
            <a:cxnSpLocks/>
          </p:cNvCxnSpPr>
          <p:nvPr/>
        </p:nvCxnSpPr>
        <p:spPr>
          <a:xfrm>
            <a:off x="7583819" y="2595399"/>
            <a:ext cx="0" cy="380669"/>
          </a:xfrm>
          <a:prstGeom prst="straightConnector1">
            <a:avLst/>
          </a:prstGeom>
          <a:ln w="38100">
            <a:solidFill>
              <a:srgbClr val="D6BE0C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1AAB9D5A-38FA-3624-D379-E91DD52C1139}"/>
              </a:ext>
            </a:extLst>
          </p:cNvPr>
          <p:cNvCxnSpPr>
            <a:cxnSpLocks/>
          </p:cNvCxnSpPr>
          <p:nvPr/>
        </p:nvCxnSpPr>
        <p:spPr>
          <a:xfrm>
            <a:off x="9362749" y="2595399"/>
            <a:ext cx="0" cy="2625724"/>
          </a:xfrm>
          <a:prstGeom prst="straightConnector1">
            <a:avLst/>
          </a:prstGeom>
          <a:ln w="38100">
            <a:solidFill>
              <a:srgbClr val="D6BE0C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F111CC7E-DF8D-D0BD-FE27-9E3C3D963749}"/>
              </a:ext>
            </a:extLst>
          </p:cNvPr>
          <p:cNvSpPr/>
          <p:nvPr/>
        </p:nvSpPr>
        <p:spPr>
          <a:xfrm>
            <a:off x="6898611" y="2823570"/>
            <a:ext cx="445281" cy="194766"/>
          </a:xfrm>
          <a:prstGeom prst="rect">
            <a:avLst/>
          </a:prstGeom>
          <a:solidFill>
            <a:srgbClr val="FF0000"/>
          </a:solidFill>
        </p:spPr>
        <p:txBody>
          <a:bodyPr vert="horz" lIns="74295" tIns="37148" rIns="74295" bIns="3714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4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/>
                <a:ea typeface="+mn-ea"/>
                <a:cs typeface="+mn-cs"/>
              </a:rPr>
              <a:t>LPJK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16718AB-7535-1641-9ED7-19A47CE516BF}"/>
              </a:ext>
            </a:extLst>
          </p:cNvPr>
          <p:cNvSpPr/>
          <p:nvPr/>
        </p:nvSpPr>
        <p:spPr>
          <a:xfrm>
            <a:off x="8223329" y="3334110"/>
            <a:ext cx="445281" cy="194766"/>
          </a:xfrm>
          <a:prstGeom prst="rect">
            <a:avLst/>
          </a:prstGeom>
          <a:solidFill>
            <a:srgbClr val="FF0000"/>
          </a:solidFill>
        </p:spPr>
        <p:txBody>
          <a:bodyPr vert="horz" lIns="74295" tIns="37148" rIns="74295" bIns="3714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4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/>
                <a:ea typeface="+mn-ea"/>
                <a:cs typeface="+mn-cs"/>
              </a:rPr>
              <a:t>LPJK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79FD045-CE95-71A6-A0A7-AAE01E81F4D3}"/>
              </a:ext>
            </a:extLst>
          </p:cNvPr>
          <p:cNvSpPr txBox="1"/>
          <p:nvPr/>
        </p:nvSpPr>
        <p:spPr>
          <a:xfrm>
            <a:off x="931841" y="4832482"/>
            <a:ext cx="1572467" cy="96789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ncana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rja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ama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menaker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dan </a:t>
            </a: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menPUPR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tuk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tegrasi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istem</a:t>
            </a:r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30C19A94-F79D-4226-C1ED-8CFDF7ED04D7}"/>
              </a:ext>
            </a:extLst>
          </p:cNvPr>
          <p:cNvCxnSpPr>
            <a:cxnSpLocks/>
          </p:cNvCxnSpPr>
          <p:nvPr/>
        </p:nvCxnSpPr>
        <p:spPr>
          <a:xfrm flipH="1">
            <a:off x="980307" y="4742351"/>
            <a:ext cx="1298118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E02603F0-BE4E-58D5-F1E0-5E7494134B40}"/>
              </a:ext>
            </a:extLst>
          </p:cNvPr>
          <p:cNvSpPr txBox="1"/>
          <p:nvPr/>
        </p:nvSpPr>
        <p:spPr>
          <a:xfrm>
            <a:off x="931841" y="4350178"/>
            <a:ext cx="1572467" cy="2674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8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tatan</a:t>
            </a:r>
            <a:r>
              <a:rPr kumimoji="0" lang="en-US" sz="113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:</a:t>
            </a:r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5CD0361-46B9-19EF-2352-86534C018EED}"/>
              </a:ext>
            </a:extLst>
          </p:cNvPr>
          <p:cNvSpPr txBox="1"/>
          <p:nvPr/>
        </p:nvSpPr>
        <p:spPr>
          <a:xfrm>
            <a:off x="7121251" y="6245040"/>
            <a:ext cx="60930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d-ID" dirty="0"/>
              <a:t>https://siki.pu.go.id/tkka/</a:t>
            </a:r>
          </a:p>
        </p:txBody>
      </p:sp>
      <p:pic>
        <p:nvPicPr>
          <p:cNvPr id="3" name="Google Shape;94;p13">
            <a:extLst>
              <a:ext uri="{FF2B5EF4-FFF2-40B4-BE49-F238E27FC236}">
                <a16:creationId xmlns:a16="http://schemas.microsoft.com/office/drawing/2014/main" id="{4EFE5E8F-41F2-5B90-4C83-CFB224FD6564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1447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 dir="u"/>
      </p:transition>
    </mc:Choice>
    <mc:Fallback xmlns="">
      <p:transition spd="slow">
        <p:pull dir="u"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TextBox 109"/>
          <p:cNvSpPr txBox="1"/>
          <p:nvPr/>
        </p:nvSpPr>
        <p:spPr>
          <a:xfrm>
            <a:off x="271412" y="125692"/>
            <a:ext cx="101205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23">
              <a:tabLst>
                <a:tab pos="347671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C3367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PENILAI AHLI</a:t>
            </a:r>
            <a:endParaRPr lang="en-US" sz="2400" dirty="0">
              <a:solidFill>
                <a:srgbClr val="0E4F83"/>
              </a:solidFill>
              <a:latin typeface="Century Gothic"/>
            </a:endParaRPr>
          </a:p>
        </p:txBody>
      </p:sp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57154957-68AB-414D-8F5B-A49D3A261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2</a:t>
            </a:r>
          </a:p>
        </p:txBody>
      </p:sp>
      <p:sp>
        <p:nvSpPr>
          <p:cNvPr id="4" name="Google Shape;378;p38">
            <a:extLst>
              <a:ext uri="{FF2B5EF4-FFF2-40B4-BE49-F238E27FC236}">
                <a16:creationId xmlns:a16="http://schemas.microsoft.com/office/drawing/2014/main" id="{E92CEBC8-B84A-C5B7-0908-0BFF3BE9F183}"/>
              </a:ext>
            </a:extLst>
          </p:cNvPr>
          <p:cNvSpPr txBox="1">
            <a:spLocks/>
          </p:cNvSpPr>
          <p:nvPr/>
        </p:nvSpPr>
        <p:spPr>
          <a:xfrm>
            <a:off x="551330" y="829045"/>
            <a:ext cx="3006790" cy="4577950"/>
          </a:xfrm>
          <a:prstGeom prst="rect">
            <a:avLst/>
          </a:prstGeom>
        </p:spPr>
        <p:txBody>
          <a:bodyPr spcFirstLastPara="1" vert="horz" wrap="square" lIns="99044" tIns="99044" rIns="99044" bIns="99044" rtlCol="0" anchor="t" anchorCtr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Char char="•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>
                <a:prstClr val="black"/>
              </a:buClr>
              <a:buSzPts val="1100"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lon </a:t>
            </a:r>
            <a:r>
              <a:rPr kumimoji="0" lang="en-US" sz="2400" b="1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ilai</a:t>
            </a:r>
            <a:r>
              <a:rPr kumimoji="0" lang="en-US" sz="2400" b="1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hli</a:t>
            </a:r>
          </a:p>
          <a:p>
            <a:pPr marL="371455" marR="0" lvl="0" indent="-371455" algn="just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>
                <a:prstClr val="black"/>
              </a:buClr>
              <a:buSzPts val="1100"/>
              <a:buFont typeface="Arial" panose="020B0604020202020204" pitchFamily="34" charset="0"/>
              <a:buAutoNum type="alphaLcPeriod"/>
              <a:tabLst/>
              <a:defRPr/>
            </a:pPr>
            <a:endParaRPr kumimoji="0" lang="en-US" sz="2275" b="0" i="0" u="none" strike="noStrike" kern="1200" cap="none" spc="0" normalizeH="0" baseline="-2500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71455" marR="0" lvl="0" indent="-371455" algn="just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>
                <a:prstClr val="black"/>
              </a:buClr>
              <a:buSzPts val="1100"/>
              <a:buFont typeface="Arial" panose="020B0604020202020204" pitchFamily="34" charset="0"/>
              <a:buAutoNum type="alphaLcPeriod"/>
              <a:tabLst/>
              <a:defRPr/>
            </a:pPr>
            <a:endParaRPr kumimoji="0" lang="en-US" sz="2275" b="0" i="0" u="none" strike="noStrike" kern="1200" cap="none" spc="0" normalizeH="0" baseline="-2500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9F2B22-E882-EA4A-29E2-5D34E9869D38}"/>
              </a:ext>
            </a:extLst>
          </p:cNvPr>
          <p:cNvSpPr txBox="1"/>
          <p:nvPr/>
        </p:nvSpPr>
        <p:spPr>
          <a:xfrm>
            <a:off x="5145489" y="1037023"/>
            <a:ext cx="3006789" cy="1025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>
                <a:prstClr val="black"/>
              </a:buClr>
              <a:buSzPts val="1100"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ji </a:t>
            </a:r>
            <a:r>
              <a:rPr kumimoji="0" lang="en-US" sz="1800" b="1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ompetensi</a:t>
            </a:r>
            <a:r>
              <a:rPr kumimoji="0" lang="en-US" sz="1800" b="1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ilai</a:t>
            </a:r>
            <a:r>
              <a:rPr kumimoji="0" lang="en-US" sz="1800" b="1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hli </a:t>
            </a:r>
            <a:r>
              <a:rPr kumimoji="0" lang="en-US" sz="1800" b="1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uler</a:t>
            </a:r>
            <a:endParaRPr kumimoji="0" lang="en-US" sz="1800" b="1" i="0" u="none" strike="noStrike" kern="1200" cap="none" spc="0" normalizeH="0" baseline="-2500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just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>
                <a:prstClr val="black"/>
              </a:buClr>
              <a:buSzPts val="1100"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etapan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fil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ilai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hli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regular yang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dah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lulus Uji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ompetensi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ilai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hli dan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rhak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ndapatkan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rtifikat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ilai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hli (SPA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59230A3-1102-13C0-D382-A7810040B913}"/>
              </a:ext>
            </a:extLst>
          </p:cNvPr>
          <p:cNvSpPr/>
          <p:nvPr/>
        </p:nvSpPr>
        <p:spPr>
          <a:xfrm>
            <a:off x="551332" y="1506989"/>
            <a:ext cx="2369975" cy="46653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NDAFTARAN</a:t>
            </a:r>
            <a:endParaRPr lang="id-ID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7AD9ED-37D3-818A-E29B-4E5DEE9AAE2B}"/>
              </a:ext>
            </a:extLst>
          </p:cNvPr>
          <p:cNvSpPr/>
          <p:nvPr/>
        </p:nvSpPr>
        <p:spPr>
          <a:xfrm>
            <a:off x="551332" y="2501267"/>
            <a:ext cx="2369975" cy="46653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NILAIAN DAFTAR CALON</a:t>
            </a:r>
            <a:endParaRPr lang="id-ID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4B337A-40E0-73F6-6C09-A24DF4702C89}"/>
              </a:ext>
            </a:extLst>
          </p:cNvPr>
          <p:cNvSpPr/>
          <p:nvPr/>
        </p:nvSpPr>
        <p:spPr>
          <a:xfrm>
            <a:off x="551331" y="3194842"/>
            <a:ext cx="2369975" cy="46653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LATIHAN</a:t>
            </a:r>
            <a:endParaRPr lang="id-ID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87F0B5-9BEB-8225-740D-32E7FC76CE2E}"/>
              </a:ext>
            </a:extLst>
          </p:cNvPr>
          <p:cNvSpPr/>
          <p:nvPr/>
        </p:nvSpPr>
        <p:spPr>
          <a:xfrm>
            <a:off x="551330" y="3929736"/>
            <a:ext cx="2369975" cy="46653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NETAPAN TAMAT PELATIHAN</a:t>
            </a:r>
            <a:endParaRPr lang="id-ID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454157E-2822-8596-6BC0-803FF65B9514}"/>
              </a:ext>
            </a:extLst>
          </p:cNvPr>
          <p:cNvSpPr txBox="1"/>
          <p:nvPr/>
        </p:nvSpPr>
        <p:spPr>
          <a:xfrm>
            <a:off x="455280" y="4360858"/>
            <a:ext cx="24660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>
                <a:prstClr val="black"/>
              </a:buClr>
              <a:buSzPts val="1100"/>
              <a:tabLst/>
              <a:defRPr/>
            </a:pP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etapan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fil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ilai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hli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uler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yang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dah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ndapatkan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Surat Teknis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mat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latihan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(STTP)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ilai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hli yang </a:t>
            </a:r>
            <a:r>
              <a: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terbitkan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oleh LPJK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AD6A8C18-7F38-6594-46CE-9859904868A2}"/>
              </a:ext>
            </a:extLst>
          </p:cNvPr>
          <p:cNvSpPr/>
          <p:nvPr/>
        </p:nvSpPr>
        <p:spPr>
          <a:xfrm>
            <a:off x="3965510" y="1399592"/>
            <a:ext cx="858416" cy="71845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600D6EB-BC0F-216A-DFD3-15A27CE5B0DA}"/>
              </a:ext>
            </a:extLst>
          </p:cNvPr>
          <p:cNvSpPr txBox="1"/>
          <p:nvPr/>
        </p:nvSpPr>
        <p:spPr>
          <a:xfrm>
            <a:off x="206832" y="1937589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d-ID" dirty="0"/>
              <a:t>https://siki.pu.go.id/penilai-ahli/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77AFC453-D45B-A074-5AE8-2D9B1ADE7C17}"/>
              </a:ext>
            </a:extLst>
          </p:cNvPr>
          <p:cNvSpPr/>
          <p:nvPr/>
        </p:nvSpPr>
        <p:spPr>
          <a:xfrm>
            <a:off x="8472196" y="1405388"/>
            <a:ext cx="858416" cy="71845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B6BDD6-4718-7D81-3FD3-DABCB8A879B0}"/>
              </a:ext>
            </a:extLst>
          </p:cNvPr>
          <p:cNvSpPr txBox="1"/>
          <p:nvPr/>
        </p:nvSpPr>
        <p:spPr>
          <a:xfrm>
            <a:off x="9605020" y="1432344"/>
            <a:ext cx="14610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NUGASAN </a:t>
            </a:r>
          </a:p>
          <a:p>
            <a:r>
              <a:rPr lang="en-US" b="1" dirty="0"/>
              <a:t>PENILAI AHLI</a:t>
            </a:r>
            <a:endParaRPr lang="id-ID" b="1" dirty="0"/>
          </a:p>
        </p:txBody>
      </p:sp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8D4AE9BB-3298-AE91-E09A-AB89E54C5E8A}"/>
              </a:ext>
            </a:extLst>
          </p:cNvPr>
          <p:cNvSpPr/>
          <p:nvPr/>
        </p:nvSpPr>
        <p:spPr>
          <a:xfrm rot="10800000">
            <a:off x="5145488" y="3162224"/>
            <a:ext cx="5920571" cy="1571929"/>
          </a:xfrm>
          <a:prstGeom prst="wedgeRoundRectCallou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4723B4-AD9C-0BF6-48A7-1126F4420BE0}"/>
              </a:ext>
            </a:extLst>
          </p:cNvPr>
          <p:cNvSpPr txBox="1"/>
          <p:nvPr/>
        </p:nvSpPr>
        <p:spPr>
          <a:xfrm>
            <a:off x="5574363" y="3452682"/>
            <a:ext cx="549169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UJI KOMPETENSI DAN PENUGASAN 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MASIH PROSES MANUAL</a:t>
            </a:r>
          </a:p>
        </p:txBody>
      </p:sp>
      <p:pic>
        <p:nvPicPr>
          <p:cNvPr id="9" name="Google Shape;94;p13">
            <a:extLst>
              <a:ext uri="{FF2B5EF4-FFF2-40B4-BE49-F238E27FC236}">
                <a16:creationId xmlns:a16="http://schemas.microsoft.com/office/drawing/2014/main" id="{CEA3D067-401B-81FA-DD04-1CA5A15274E1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761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 dir="u"/>
      </p:transition>
    </mc:Choice>
    <mc:Fallback xmlns="">
      <p:transition spd="slow">
        <p:pull dir="u"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07CEE90-D252-D6D8-E25A-7A3FEB570470}"/>
              </a:ext>
            </a:extLst>
          </p:cNvPr>
          <p:cNvSpPr txBox="1"/>
          <p:nvPr/>
        </p:nvSpPr>
        <p:spPr>
          <a:xfrm>
            <a:off x="699713" y="248038"/>
            <a:ext cx="7063721" cy="1159200"/>
          </a:xfrm>
          <a:prstGeom prst="rect">
            <a:avLst/>
          </a:prstGeom>
        </p:spPr>
        <p:txBody>
          <a:bodyPr vert="horz" lIns="60960" tIns="30480" rIns="60960" bIns="3048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defRPr/>
            </a:pPr>
            <a:r>
              <a:rPr lang="en-US" altLang="ko-KR" sz="5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FORMASI PUBLIK LPJK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AF8E48-DB82-640E-2349-ADC8176766A8}"/>
              </a:ext>
            </a:extLst>
          </p:cNvPr>
          <p:cNvSpPr txBox="1"/>
          <p:nvPr/>
        </p:nvSpPr>
        <p:spPr>
          <a:xfrm>
            <a:off x="8572499" y="390832"/>
            <a:ext cx="3233585" cy="873612"/>
          </a:xfrm>
          <a:prstGeom prst="rect">
            <a:avLst/>
          </a:prstGeom>
        </p:spPr>
        <p:txBody>
          <a:bodyPr vert="horz" lIns="60960" tIns="30480" rIns="60960" bIns="3048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667"/>
              </a:spcBef>
            </a:pPr>
            <a:r>
              <a:rPr lang="en-US" sz="2000" b="1">
                <a:solidFill>
                  <a:srgbClr val="FFFFFF"/>
                </a:solidFill>
              </a:rPr>
              <a:t>https://lpjk.pu.go.id/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DCE5C1-0166-E415-305D-933931E95A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573" y="1966293"/>
            <a:ext cx="10234853" cy="4452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859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BB5BA-6671-64C5-DD60-514042C7F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E0F89E-0779-478B-7669-F43B5B303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4881" y="6943734"/>
            <a:ext cx="12192000" cy="505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5977C-009B-3DFB-D5AA-9ED28613FE82}"/>
              </a:ext>
            </a:extLst>
          </p:cNvPr>
          <p:cNvSpPr txBox="1">
            <a:spLocks/>
          </p:cNvSpPr>
          <p:nvPr/>
        </p:nvSpPr>
        <p:spPr>
          <a:xfrm>
            <a:off x="216471" y="217283"/>
            <a:ext cx="9002400" cy="4342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576">
              <a:defRPr/>
            </a:pPr>
            <a:r>
              <a:rPr lang="sv-SE" sz="2800" b="1" dirty="0">
                <a:solidFill>
                  <a:prstClr val="black"/>
                </a:solidFill>
                <a:latin typeface="Segoe UI"/>
              </a:rPr>
              <a:t>SISTEM PEMERINTAH BERBASIS ELEKTRONIK</a:t>
            </a:r>
          </a:p>
        </p:txBody>
      </p:sp>
      <p:sp>
        <p:nvSpPr>
          <p:cNvPr id="10" name="Freeform 27">
            <a:extLst>
              <a:ext uri="{FF2B5EF4-FFF2-40B4-BE49-F238E27FC236}">
                <a16:creationId xmlns:a16="http://schemas.microsoft.com/office/drawing/2014/main" id="{4745F3D8-0655-5915-7D52-A09065A881A8}"/>
              </a:ext>
            </a:extLst>
          </p:cNvPr>
          <p:cNvSpPr/>
          <p:nvPr/>
        </p:nvSpPr>
        <p:spPr>
          <a:xfrm>
            <a:off x="-131314" y="-279372"/>
            <a:ext cx="360514" cy="1261799"/>
          </a:xfrm>
          <a:custGeom>
            <a:avLst/>
            <a:gdLst/>
            <a:ahLst/>
            <a:cxnLst/>
            <a:rect l="l" t="t" r="r" b="b"/>
            <a:pathLst>
              <a:path w="540771" h="1892699">
                <a:moveTo>
                  <a:pt x="0" y="0"/>
                </a:moveTo>
                <a:lnTo>
                  <a:pt x="540771" y="0"/>
                </a:lnTo>
                <a:lnTo>
                  <a:pt x="540771" y="1892699"/>
                </a:lnTo>
                <a:lnTo>
                  <a:pt x="0" y="189269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7" name="Group 14">
            <a:extLst>
              <a:ext uri="{FF2B5EF4-FFF2-40B4-BE49-F238E27FC236}">
                <a16:creationId xmlns:a16="http://schemas.microsoft.com/office/drawing/2014/main" id="{93AF24A1-F3DC-EC29-7B0B-C2B1FBFD928B}"/>
              </a:ext>
            </a:extLst>
          </p:cNvPr>
          <p:cNvGrpSpPr/>
          <p:nvPr/>
        </p:nvGrpSpPr>
        <p:grpSpPr>
          <a:xfrm>
            <a:off x="383309" y="2058709"/>
            <a:ext cx="4321695" cy="4193081"/>
            <a:chOff x="0" y="-38100"/>
            <a:chExt cx="542107" cy="1336430"/>
          </a:xfrm>
        </p:grpSpPr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25DAED2C-F5FB-DA73-C338-4ACF82829DF3}"/>
                </a:ext>
              </a:extLst>
            </p:cNvPr>
            <p:cNvSpPr/>
            <p:nvPr/>
          </p:nvSpPr>
          <p:spPr>
            <a:xfrm>
              <a:off x="0" y="0"/>
              <a:ext cx="542107" cy="1298330"/>
            </a:xfrm>
            <a:custGeom>
              <a:avLst/>
              <a:gdLst/>
              <a:ahLst/>
              <a:cxnLst/>
              <a:rect l="l" t="t" r="r" b="b"/>
              <a:pathLst>
                <a:path w="542107" h="1298330">
                  <a:moveTo>
                    <a:pt x="124123" y="0"/>
                  </a:moveTo>
                  <a:lnTo>
                    <a:pt x="417985" y="0"/>
                  </a:lnTo>
                  <a:cubicBezTo>
                    <a:pt x="486536" y="0"/>
                    <a:pt x="542107" y="55572"/>
                    <a:pt x="542107" y="124123"/>
                  </a:cubicBezTo>
                  <a:lnTo>
                    <a:pt x="542107" y="1174207"/>
                  </a:lnTo>
                  <a:cubicBezTo>
                    <a:pt x="542107" y="1207127"/>
                    <a:pt x="529030" y="1238698"/>
                    <a:pt x="505753" y="1261975"/>
                  </a:cubicBezTo>
                  <a:cubicBezTo>
                    <a:pt x="482475" y="1285253"/>
                    <a:pt x="450904" y="1298330"/>
                    <a:pt x="417985" y="1298330"/>
                  </a:cubicBezTo>
                  <a:lnTo>
                    <a:pt x="124123" y="1298330"/>
                  </a:lnTo>
                  <a:cubicBezTo>
                    <a:pt x="91203" y="1298330"/>
                    <a:pt x="59632" y="1285253"/>
                    <a:pt x="36355" y="1261975"/>
                  </a:cubicBezTo>
                  <a:cubicBezTo>
                    <a:pt x="13077" y="1238698"/>
                    <a:pt x="0" y="1207127"/>
                    <a:pt x="0" y="1174207"/>
                  </a:cubicBezTo>
                  <a:lnTo>
                    <a:pt x="0" y="124123"/>
                  </a:lnTo>
                  <a:cubicBezTo>
                    <a:pt x="0" y="55572"/>
                    <a:pt x="55572" y="0"/>
                    <a:pt x="124123" y="0"/>
                  </a:cubicBezTo>
                  <a:close/>
                </a:path>
              </a:pathLst>
            </a:custGeom>
            <a:solidFill>
              <a:srgbClr val="1E3166"/>
            </a:solidFill>
            <a:ln w="47625" cap="rnd">
              <a:solidFill>
                <a:srgbClr val="FAB81E"/>
              </a:solidFill>
              <a:prstDash val="solid"/>
              <a:round/>
            </a:ln>
          </p:spPr>
          <p:txBody>
            <a:bodyPr/>
            <a:lstStyle/>
            <a:p>
              <a:endParaRPr lang="en-ID" dirty="0"/>
            </a:p>
          </p:txBody>
        </p:sp>
        <p:sp>
          <p:nvSpPr>
            <p:cNvPr id="9" name="TextBox 16">
              <a:extLst>
                <a:ext uri="{FF2B5EF4-FFF2-40B4-BE49-F238E27FC236}">
                  <a16:creationId xmlns:a16="http://schemas.microsoft.com/office/drawing/2014/main" id="{C64FB7AF-B3DE-4124-0F43-195A95D7C5FF}"/>
                </a:ext>
              </a:extLst>
            </p:cNvPr>
            <p:cNvSpPr txBox="1"/>
            <p:nvPr/>
          </p:nvSpPr>
          <p:spPr>
            <a:xfrm>
              <a:off x="0" y="-38100"/>
              <a:ext cx="542107" cy="133643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11" name="Group 14">
            <a:extLst>
              <a:ext uri="{FF2B5EF4-FFF2-40B4-BE49-F238E27FC236}">
                <a16:creationId xmlns:a16="http://schemas.microsoft.com/office/drawing/2014/main" id="{2B9B6B53-A89F-D839-98B9-EBA7FA10EF12}"/>
              </a:ext>
            </a:extLst>
          </p:cNvPr>
          <p:cNvGrpSpPr/>
          <p:nvPr/>
        </p:nvGrpSpPr>
        <p:grpSpPr>
          <a:xfrm>
            <a:off x="7041017" y="2142404"/>
            <a:ext cx="4622132" cy="3978979"/>
            <a:chOff x="0" y="0"/>
            <a:chExt cx="542107" cy="1298330"/>
          </a:xfrm>
        </p:grpSpPr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F3FF6BAC-85B9-20C9-E6C1-83535A5970FA}"/>
                </a:ext>
              </a:extLst>
            </p:cNvPr>
            <p:cNvSpPr/>
            <p:nvPr/>
          </p:nvSpPr>
          <p:spPr>
            <a:xfrm>
              <a:off x="0" y="0"/>
              <a:ext cx="542107" cy="1298330"/>
            </a:xfrm>
            <a:custGeom>
              <a:avLst/>
              <a:gdLst/>
              <a:ahLst/>
              <a:cxnLst/>
              <a:rect l="l" t="t" r="r" b="b"/>
              <a:pathLst>
                <a:path w="542107" h="1298330">
                  <a:moveTo>
                    <a:pt x="124123" y="0"/>
                  </a:moveTo>
                  <a:lnTo>
                    <a:pt x="417985" y="0"/>
                  </a:lnTo>
                  <a:cubicBezTo>
                    <a:pt x="486536" y="0"/>
                    <a:pt x="542107" y="55572"/>
                    <a:pt x="542107" y="124123"/>
                  </a:cubicBezTo>
                  <a:lnTo>
                    <a:pt x="542107" y="1174207"/>
                  </a:lnTo>
                  <a:cubicBezTo>
                    <a:pt x="542107" y="1207127"/>
                    <a:pt x="529030" y="1238698"/>
                    <a:pt x="505753" y="1261975"/>
                  </a:cubicBezTo>
                  <a:cubicBezTo>
                    <a:pt x="482475" y="1285253"/>
                    <a:pt x="450904" y="1298330"/>
                    <a:pt x="417985" y="1298330"/>
                  </a:cubicBezTo>
                  <a:lnTo>
                    <a:pt x="124123" y="1298330"/>
                  </a:lnTo>
                  <a:cubicBezTo>
                    <a:pt x="91203" y="1298330"/>
                    <a:pt x="59632" y="1285253"/>
                    <a:pt x="36355" y="1261975"/>
                  </a:cubicBezTo>
                  <a:cubicBezTo>
                    <a:pt x="13077" y="1238698"/>
                    <a:pt x="0" y="1207127"/>
                    <a:pt x="0" y="1174207"/>
                  </a:cubicBezTo>
                  <a:lnTo>
                    <a:pt x="0" y="124123"/>
                  </a:lnTo>
                  <a:cubicBezTo>
                    <a:pt x="0" y="55572"/>
                    <a:pt x="55572" y="0"/>
                    <a:pt x="124123" y="0"/>
                  </a:cubicBezTo>
                  <a:close/>
                </a:path>
              </a:pathLst>
            </a:custGeom>
            <a:solidFill>
              <a:srgbClr val="1E3166"/>
            </a:solidFill>
            <a:ln w="47625" cap="rnd">
              <a:solidFill>
                <a:srgbClr val="FAB81E"/>
              </a:solidFill>
              <a:prstDash val="solid"/>
              <a:round/>
            </a:ln>
          </p:spPr>
          <p:txBody>
            <a:bodyPr/>
            <a:lstStyle/>
            <a:p>
              <a:endParaRPr lang="en-ID">
                <a:solidFill>
                  <a:schemeClr val="bg1"/>
                </a:solidFill>
              </a:endParaRPr>
            </a:p>
          </p:txBody>
        </p:sp>
        <p:sp>
          <p:nvSpPr>
            <p:cNvPr id="13" name="TextBox 16">
              <a:extLst>
                <a:ext uri="{FF2B5EF4-FFF2-40B4-BE49-F238E27FC236}">
                  <a16:creationId xmlns:a16="http://schemas.microsoft.com/office/drawing/2014/main" id="{9DF321D6-1D9D-D51D-277A-3B4B3CC2B228}"/>
                </a:ext>
              </a:extLst>
            </p:cNvPr>
            <p:cNvSpPr txBox="1"/>
            <p:nvPr/>
          </p:nvSpPr>
          <p:spPr>
            <a:xfrm>
              <a:off x="0" y="-38100"/>
              <a:ext cx="542107" cy="133643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35">
            <a:extLst>
              <a:ext uri="{FF2B5EF4-FFF2-40B4-BE49-F238E27FC236}">
                <a16:creationId xmlns:a16="http://schemas.microsoft.com/office/drawing/2014/main" id="{F8B2259F-E77F-2411-7155-15B97C1EB11D}"/>
              </a:ext>
            </a:extLst>
          </p:cNvPr>
          <p:cNvGrpSpPr/>
          <p:nvPr/>
        </p:nvGrpSpPr>
        <p:grpSpPr>
          <a:xfrm>
            <a:off x="7863840" y="1703666"/>
            <a:ext cx="3258819" cy="1319404"/>
            <a:chOff x="0" y="0"/>
            <a:chExt cx="365718" cy="176490"/>
          </a:xfrm>
        </p:grpSpPr>
        <p:sp>
          <p:nvSpPr>
            <p:cNvPr id="15" name="Freeform 36">
              <a:extLst>
                <a:ext uri="{FF2B5EF4-FFF2-40B4-BE49-F238E27FC236}">
                  <a16:creationId xmlns:a16="http://schemas.microsoft.com/office/drawing/2014/main" id="{55206AD5-D40E-600B-81D6-A2EF3CB47872}"/>
                </a:ext>
              </a:extLst>
            </p:cNvPr>
            <p:cNvSpPr/>
            <p:nvPr/>
          </p:nvSpPr>
          <p:spPr>
            <a:xfrm>
              <a:off x="0" y="0"/>
              <a:ext cx="365718" cy="176490"/>
            </a:xfrm>
            <a:custGeom>
              <a:avLst/>
              <a:gdLst/>
              <a:ahLst/>
              <a:cxnLst/>
              <a:rect l="l" t="t" r="r" b="b"/>
              <a:pathLst>
                <a:path w="365718" h="176490">
                  <a:moveTo>
                    <a:pt x="88245" y="0"/>
                  </a:moveTo>
                  <a:lnTo>
                    <a:pt x="277473" y="0"/>
                  </a:lnTo>
                  <a:cubicBezTo>
                    <a:pt x="326209" y="0"/>
                    <a:pt x="365718" y="39509"/>
                    <a:pt x="365718" y="88245"/>
                  </a:cubicBezTo>
                  <a:lnTo>
                    <a:pt x="365718" y="88245"/>
                  </a:lnTo>
                  <a:cubicBezTo>
                    <a:pt x="365718" y="136981"/>
                    <a:pt x="326209" y="176490"/>
                    <a:pt x="277473" y="176490"/>
                  </a:cubicBezTo>
                  <a:lnTo>
                    <a:pt x="88245" y="176490"/>
                  </a:lnTo>
                  <a:cubicBezTo>
                    <a:pt x="39509" y="176490"/>
                    <a:pt x="0" y="136981"/>
                    <a:pt x="0" y="88245"/>
                  </a:cubicBezTo>
                  <a:lnTo>
                    <a:pt x="0" y="88245"/>
                  </a:lnTo>
                  <a:cubicBezTo>
                    <a:pt x="0" y="39509"/>
                    <a:pt x="39509" y="0"/>
                    <a:pt x="88245" y="0"/>
                  </a:cubicBezTo>
                  <a:close/>
                </a:path>
              </a:pathLst>
            </a:custGeom>
            <a:solidFill>
              <a:srgbClr val="FFFFFF"/>
            </a:solidFill>
            <a:ln w="47625" cap="rnd">
              <a:solidFill>
                <a:srgbClr val="FAB81E"/>
              </a:solidFill>
              <a:prstDash val="solid"/>
              <a:round/>
            </a:ln>
          </p:spPr>
          <p:txBody>
            <a:bodyPr/>
            <a:lstStyle/>
            <a:p>
              <a:endParaRPr lang="en-ID" dirty="0"/>
            </a:p>
          </p:txBody>
        </p:sp>
        <p:sp>
          <p:nvSpPr>
            <p:cNvPr id="17" name="TextBox 37">
              <a:extLst>
                <a:ext uri="{FF2B5EF4-FFF2-40B4-BE49-F238E27FC236}">
                  <a16:creationId xmlns:a16="http://schemas.microsoft.com/office/drawing/2014/main" id="{1A422324-9C7C-54D7-8FF0-FE1F219D2F74}"/>
                </a:ext>
              </a:extLst>
            </p:cNvPr>
            <p:cNvSpPr txBox="1"/>
            <p:nvPr/>
          </p:nvSpPr>
          <p:spPr>
            <a:xfrm>
              <a:off x="0" y="-38100"/>
              <a:ext cx="365718" cy="21459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22" name="Group 35">
            <a:extLst>
              <a:ext uri="{FF2B5EF4-FFF2-40B4-BE49-F238E27FC236}">
                <a16:creationId xmlns:a16="http://schemas.microsoft.com/office/drawing/2014/main" id="{671BBCA4-A890-6CA3-8E68-A38CB800042D}"/>
              </a:ext>
            </a:extLst>
          </p:cNvPr>
          <p:cNvGrpSpPr/>
          <p:nvPr/>
        </p:nvGrpSpPr>
        <p:grpSpPr>
          <a:xfrm>
            <a:off x="997545" y="1844513"/>
            <a:ext cx="3406555" cy="1295998"/>
            <a:chOff x="0" y="0"/>
            <a:chExt cx="365718" cy="176490"/>
          </a:xfrm>
        </p:grpSpPr>
        <p:sp>
          <p:nvSpPr>
            <p:cNvPr id="24" name="Freeform 36">
              <a:extLst>
                <a:ext uri="{FF2B5EF4-FFF2-40B4-BE49-F238E27FC236}">
                  <a16:creationId xmlns:a16="http://schemas.microsoft.com/office/drawing/2014/main" id="{EDD1E4ED-D3AD-CB28-9C6A-356FEAE0FF43}"/>
                </a:ext>
              </a:extLst>
            </p:cNvPr>
            <p:cNvSpPr/>
            <p:nvPr/>
          </p:nvSpPr>
          <p:spPr>
            <a:xfrm>
              <a:off x="0" y="0"/>
              <a:ext cx="365718" cy="176490"/>
            </a:xfrm>
            <a:custGeom>
              <a:avLst/>
              <a:gdLst/>
              <a:ahLst/>
              <a:cxnLst/>
              <a:rect l="l" t="t" r="r" b="b"/>
              <a:pathLst>
                <a:path w="365718" h="176490">
                  <a:moveTo>
                    <a:pt x="88245" y="0"/>
                  </a:moveTo>
                  <a:lnTo>
                    <a:pt x="277473" y="0"/>
                  </a:lnTo>
                  <a:cubicBezTo>
                    <a:pt x="326209" y="0"/>
                    <a:pt x="365718" y="39509"/>
                    <a:pt x="365718" y="88245"/>
                  </a:cubicBezTo>
                  <a:lnTo>
                    <a:pt x="365718" y="88245"/>
                  </a:lnTo>
                  <a:cubicBezTo>
                    <a:pt x="365718" y="136981"/>
                    <a:pt x="326209" y="176490"/>
                    <a:pt x="277473" y="176490"/>
                  </a:cubicBezTo>
                  <a:lnTo>
                    <a:pt x="88245" y="176490"/>
                  </a:lnTo>
                  <a:cubicBezTo>
                    <a:pt x="39509" y="176490"/>
                    <a:pt x="0" y="136981"/>
                    <a:pt x="0" y="88245"/>
                  </a:cubicBezTo>
                  <a:lnTo>
                    <a:pt x="0" y="88245"/>
                  </a:lnTo>
                  <a:cubicBezTo>
                    <a:pt x="0" y="39509"/>
                    <a:pt x="39509" y="0"/>
                    <a:pt x="88245" y="0"/>
                  </a:cubicBezTo>
                  <a:close/>
                </a:path>
              </a:pathLst>
            </a:custGeom>
            <a:solidFill>
              <a:srgbClr val="FFFFFF"/>
            </a:solidFill>
            <a:ln w="47625" cap="rnd">
              <a:solidFill>
                <a:srgbClr val="FAB81E"/>
              </a:solidFill>
              <a:prstDash val="solid"/>
              <a:round/>
            </a:ln>
          </p:spPr>
          <p:txBody>
            <a:bodyPr/>
            <a:lstStyle/>
            <a:p>
              <a:endParaRPr lang="en-ID" dirty="0"/>
            </a:p>
          </p:txBody>
        </p:sp>
        <p:sp>
          <p:nvSpPr>
            <p:cNvPr id="25" name="TextBox 37">
              <a:extLst>
                <a:ext uri="{FF2B5EF4-FFF2-40B4-BE49-F238E27FC236}">
                  <a16:creationId xmlns:a16="http://schemas.microsoft.com/office/drawing/2014/main" id="{748DBA7A-1C57-DD1D-CE41-B536275EB7BE}"/>
                </a:ext>
              </a:extLst>
            </p:cNvPr>
            <p:cNvSpPr txBox="1"/>
            <p:nvPr/>
          </p:nvSpPr>
          <p:spPr>
            <a:xfrm>
              <a:off x="0" y="-38100"/>
              <a:ext cx="365718" cy="21459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28" name="TextBox 65">
            <a:extLst>
              <a:ext uri="{FF2B5EF4-FFF2-40B4-BE49-F238E27FC236}">
                <a16:creationId xmlns:a16="http://schemas.microsoft.com/office/drawing/2014/main" id="{9D4D8820-454F-3A63-DEB2-2C996577E7A4}"/>
              </a:ext>
            </a:extLst>
          </p:cNvPr>
          <p:cNvSpPr txBox="1"/>
          <p:nvPr/>
        </p:nvSpPr>
        <p:spPr>
          <a:xfrm>
            <a:off x="1164958" y="2099739"/>
            <a:ext cx="3239142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000" b="1" dirty="0" err="1">
                <a:solidFill>
                  <a:srgbClr val="1E3166"/>
                </a:solidFill>
                <a:latin typeface="Poppins Bold"/>
              </a:rPr>
              <a:t>Layanan</a:t>
            </a:r>
            <a:r>
              <a:rPr lang="en-US" sz="2000" b="1" dirty="0">
                <a:solidFill>
                  <a:srgbClr val="1E3166"/>
                </a:solidFill>
                <a:latin typeface="Poppins Bold"/>
              </a:rPr>
              <a:t> </a:t>
            </a:r>
            <a:r>
              <a:rPr lang="en-US" sz="2000" b="1" dirty="0" err="1">
                <a:solidFill>
                  <a:srgbClr val="1E3166"/>
                </a:solidFill>
                <a:latin typeface="Poppins Bold"/>
              </a:rPr>
              <a:t>administrasi</a:t>
            </a:r>
            <a:r>
              <a:rPr lang="en-US" sz="2000" b="1" dirty="0">
                <a:solidFill>
                  <a:srgbClr val="1E3166"/>
                </a:solidFill>
                <a:latin typeface="Poppins Bold"/>
              </a:rPr>
              <a:t> </a:t>
            </a:r>
            <a:r>
              <a:rPr lang="en-US" sz="2000" b="1" dirty="0" err="1">
                <a:solidFill>
                  <a:srgbClr val="1E3166"/>
                </a:solidFill>
                <a:latin typeface="Poppins Bold"/>
              </a:rPr>
              <a:t>pemerintah</a:t>
            </a:r>
            <a:r>
              <a:rPr lang="en-US" sz="2000" b="1" dirty="0">
                <a:solidFill>
                  <a:srgbClr val="1E3166"/>
                </a:solidFill>
                <a:latin typeface="Poppins Bold"/>
              </a:rPr>
              <a:t> </a:t>
            </a:r>
            <a:r>
              <a:rPr lang="en-US" sz="2000" b="1" dirty="0" err="1">
                <a:solidFill>
                  <a:srgbClr val="1E3166"/>
                </a:solidFill>
                <a:latin typeface="Poppins Bold"/>
              </a:rPr>
              <a:t>berbasis</a:t>
            </a:r>
            <a:r>
              <a:rPr lang="en-US" sz="2000" b="1" dirty="0">
                <a:solidFill>
                  <a:srgbClr val="1E3166"/>
                </a:solidFill>
                <a:latin typeface="Poppins Bold"/>
              </a:rPr>
              <a:t> </a:t>
            </a:r>
            <a:r>
              <a:rPr lang="en-US" sz="2000" b="1" dirty="0" err="1">
                <a:solidFill>
                  <a:srgbClr val="1E3166"/>
                </a:solidFill>
                <a:latin typeface="Poppins Bold"/>
              </a:rPr>
              <a:t>elektronik</a:t>
            </a:r>
            <a:r>
              <a:rPr lang="en-US" sz="2000" b="1" dirty="0">
                <a:solidFill>
                  <a:srgbClr val="1E3166"/>
                </a:solidFill>
                <a:latin typeface="Poppins Bold"/>
              </a:rPr>
              <a:t> </a:t>
            </a:r>
          </a:p>
        </p:txBody>
      </p:sp>
      <p:sp>
        <p:nvSpPr>
          <p:cNvPr id="29" name="TextBox 65">
            <a:extLst>
              <a:ext uri="{FF2B5EF4-FFF2-40B4-BE49-F238E27FC236}">
                <a16:creationId xmlns:a16="http://schemas.microsoft.com/office/drawing/2014/main" id="{7D607FC3-301C-4535-811A-EEBFDE69F022}"/>
              </a:ext>
            </a:extLst>
          </p:cNvPr>
          <p:cNvSpPr txBox="1"/>
          <p:nvPr/>
        </p:nvSpPr>
        <p:spPr>
          <a:xfrm>
            <a:off x="7920778" y="1991727"/>
            <a:ext cx="3157265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000" b="1" dirty="0" err="1">
                <a:solidFill>
                  <a:srgbClr val="1E3166"/>
                </a:solidFill>
                <a:latin typeface="Poppins Bold"/>
              </a:rPr>
              <a:t>Layanan</a:t>
            </a:r>
            <a:r>
              <a:rPr lang="en-US" sz="2000" b="1" dirty="0">
                <a:solidFill>
                  <a:srgbClr val="1E3166"/>
                </a:solidFill>
                <a:latin typeface="Poppins Bold"/>
              </a:rPr>
              <a:t> </a:t>
            </a:r>
            <a:r>
              <a:rPr lang="en-US" sz="2000" b="1" dirty="0" err="1">
                <a:solidFill>
                  <a:srgbClr val="1E3166"/>
                </a:solidFill>
                <a:latin typeface="Poppins Bold"/>
              </a:rPr>
              <a:t>publik</a:t>
            </a:r>
            <a:r>
              <a:rPr lang="en-US" sz="2000" b="1" dirty="0">
                <a:solidFill>
                  <a:srgbClr val="1E3166"/>
                </a:solidFill>
                <a:latin typeface="Poppins Bold"/>
              </a:rPr>
              <a:t> </a:t>
            </a:r>
            <a:r>
              <a:rPr lang="en-US" sz="2000" b="1" dirty="0" err="1">
                <a:solidFill>
                  <a:srgbClr val="1E3166"/>
                </a:solidFill>
                <a:latin typeface="Poppins Bold"/>
              </a:rPr>
              <a:t>berbasis</a:t>
            </a:r>
            <a:r>
              <a:rPr lang="en-US" sz="2000" b="1" dirty="0">
                <a:solidFill>
                  <a:srgbClr val="1E3166"/>
                </a:solidFill>
                <a:latin typeface="Poppins Bold"/>
              </a:rPr>
              <a:t> </a:t>
            </a:r>
            <a:r>
              <a:rPr lang="en-US" sz="2000" b="1" dirty="0" err="1">
                <a:solidFill>
                  <a:srgbClr val="1E3166"/>
                </a:solidFill>
                <a:latin typeface="Poppins Bold"/>
              </a:rPr>
              <a:t>elektronik</a:t>
            </a:r>
            <a:endParaRPr lang="en-US" sz="2000" b="1" dirty="0">
              <a:solidFill>
                <a:srgbClr val="1E3166"/>
              </a:solidFill>
              <a:latin typeface="Poppins Bold"/>
            </a:endParaRP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FBB53EC0-80E6-5E86-FC40-32112BF28BCE}"/>
              </a:ext>
            </a:extLst>
          </p:cNvPr>
          <p:cNvCxnSpPr>
            <a:cxnSpLocks/>
            <a:endCxn id="25" idx="0"/>
          </p:cNvCxnSpPr>
          <p:nvPr/>
        </p:nvCxnSpPr>
        <p:spPr>
          <a:xfrm rot="10800000" flipV="1">
            <a:off x="2700824" y="1150708"/>
            <a:ext cx="1134643" cy="414030"/>
          </a:xfrm>
          <a:prstGeom prst="bentConnector2">
            <a:avLst/>
          </a:prstGeom>
          <a:ln w="28575">
            <a:prstDash val="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92602AF1-1B46-38A5-01DB-46FB3BD2BF05}"/>
              </a:ext>
            </a:extLst>
          </p:cNvPr>
          <p:cNvCxnSpPr>
            <a:cxnSpLocks/>
          </p:cNvCxnSpPr>
          <p:nvPr/>
        </p:nvCxnSpPr>
        <p:spPr>
          <a:xfrm>
            <a:off x="7977409" y="1132673"/>
            <a:ext cx="1513767" cy="443004"/>
          </a:xfrm>
          <a:prstGeom prst="bentConnector3">
            <a:avLst>
              <a:gd name="adj1" fmla="val 100521"/>
            </a:avLst>
          </a:prstGeom>
          <a:ln w="28575">
            <a:prstDash val="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A1CF8C4A-995D-E2E2-A24B-23FCF7ACE872}"/>
              </a:ext>
            </a:extLst>
          </p:cNvPr>
          <p:cNvSpPr txBox="1"/>
          <p:nvPr/>
        </p:nvSpPr>
        <p:spPr>
          <a:xfrm>
            <a:off x="528851" y="3001467"/>
            <a:ext cx="4176153" cy="326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sz="2000" b="0" i="0" u="none" strike="noStrike" baseline="0" dirty="0">
              <a:solidFill>
                <a:srgbClr val="000000"/>
              </a:solidFill>
              <a:latin typeface="Bookman Old Style" panose="02050604050505020204" pitchFamily="18" charset="0"/>
            </a:endParaRPr>
          </a:p>
          <a:p>
            <a:r>
              <a:rPr lang="it-IT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meliputi layanan yang mendukung kegiatan di bidang: perencanaan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ganggar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euang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gadaa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barang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dan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jasa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epegawai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earsip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gelola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barang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ilik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negara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gawas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akuntabilitas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inerja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; dan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layan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lain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sesuai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eng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ebutuh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internal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birokrasi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merintahan</a:t>
            </a:r>
            <a:r>
              <a:rPr lang="en-US" sz="14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. </a:t>
            </a:r>
          </a:p>
          <a:p>
            <a:endParaRPr lang="en-US" sz="1800" b="0" i="0" u="none" strike="noStrike" baseline="0" dirty="0">
              <a:solidFill>
                <a:srgbClr val="00000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26E9BBE-8FC2-72E0-6D05-1AF7ECE4E15C}"/>
              </a:ext>
            </a:extLst>
          </p:cNvPr>
          <p:cNvSpPr txBox="1"/>
          <p:nvPr/>
        </p:nvSpPr>
        <p:spPr>
          <a:xfrm>
            <a:off x="7341921" y="3332323"/>
            <a:ext cx="417951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sz="1600" b="0" i="0" u="none" strike="noStrike" baseline="0" dirty="0">
              <a:solidFill>
                <a:srgbClr val="000000"/>
              </a:solidFill>
              <a:latin typeface="Bookman Old Style" panose="02050604050505020204" pitchFamily="18" charset="0"/>
            </a:endParaRPr>
          </a:p>
          <a:p>
            <a:r>
              <a:rPr lang="sv-SE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meliputi layanan yang mendukung kegiatan: </a:t>
            </a:r>
          </a:p>
          <a:p>
            <a:pPr marL="342900" indent="-342900">
              <a:buFont typeface="+mj-lt"/>
              <a:buAutoNum type="alphaLcPeriod"/>
            </a:pPr>
            <a:r>
              <a:rPr lang="sv-SE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pengaduan publik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okumentasi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dan </a:t>
            </a: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informasi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hukum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;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00" b="0" i="1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whistle blowing system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; dan/</a:t>
            </a: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atau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layanan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ublik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lainnya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yang </a:t>
            </a: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sesuai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engan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b="0" i="0" u="none" strike="noStrike" baseline="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ebutuhan</a:t>
            </a:r>
            <a:r>
              <a:rPr lang="en-US" sz="1600" b="0" i="0" u="none" strike="noStrike" baseline="0" dirty="0">
                <a:solidFill>
                  <a:schemeClr val="bg1"/>
                </a:solidFill>
                <a:latin typeface="Bookman Old Style" panose="02050604050505020204" pitchFamily="18" charset="0"/>
              </a:rPr>
              <a:t> Kementerian. </a:t>
            </a: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Bookman Old Style" panose="02050604050505020204" pitchFamily="18" charset="0"/>
            </a:endParaRPr>
          </a:p>
        </p:txBody>
      </p:sp>
      <p:grpSp>
        <p:nvGrpSpPr>
          <p:cNvPr id="36" name="Group 5">
            <a:extLst>
              <a:ext uri="{FF2B5EF4-FFF2-40B4-BE49-F238E27FC236}">
                <a16:creationId xmlns:a16="http://schemas.microsoft.com/office/drawing/2014/main" id="{209A35BE-9E2A-C8E1-E8BD-8B6446EE6D22}"/>
              </a:ext>
            </a:extLst>
          </p:cNvPr>
          <p:cNvGrpSpPr/>
          <p:nvPr/>
        </p:nvGrpSpPr>
        <p:grpSpPr>
          <a:xfrm>
            <a:off x="3804149" y="824229"/>
            <a:ext cx="4116629" cy="830350"/>
            <a:chOff x="0" y="0"/>
            <a:chExt cx="1084215" cy="218693"/>
          </a:xfrm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E200C434-8366-B951-476D-10FD0D073A19}"/>
                </a:ext>
              </a:extLst>
            </p:cNvPr>
            <p:cNvSpPr/>
            <p:nvPr/>
          </p:nvSpPr>
          <p:spPr>
            <a:xfrm>
              <a:off x="0" y="0"/>
              <a:ext cx="1084215" cy="218693"/>
            </a:xfrm>
            <a:custGeom>
              <a:avLst/>
              <a:gdLst/>
              <a:ahLst/>
              <a:cxnLst/>
              <a:rect l="l" t="t" r="r" b="b"/>
              <a:pathLst>
                <a:path w="1084215" h="218693">
                  <a:moveTo>
                    <a:pt x="62061" y="0"/>
                  </a:moveTo>
                  <a:lnTo>
                    <a:pt x="1022154" y="0"/>
                  </a:lnTo>
                  <a:cubicBezTo>
                    <a:pt x="1038613" y="0"/>
                    <a:pt x="1054399" y="6539"/>
                    <a:pt x="1066038" y="18177"/>
                  </a:cubicBezTo>
                  <a:cubicBezTo>
                    <a:pt x="1077676" y="29816"/>
                    <a:pt x="1084215" y="45602"/>
                    <a:pt x="1084215" y="62061"/>
                  </a:cubicBezTo>
                  <a:lnTo>
                    <a:pt x="1084215" y="156632"/>
                  </a:lnTo>
                  <a:cubicBezTo>
                    <a:pt x="1084215" y="173091"/>
                    <a:pt x="1077676" y="188877"/>
                    <a:pt x="1066038" y="200516"/>
                  </a:cubicBezTo>
                  <a:cubicBezTo>
                    <a:pt x="1054399" y="212154"/>
                    <a:pt x="1038613" y="218693"/>
                    <a:pt x="1022154" y="218693"/>
                  </a:cubicBezTo>
                  <a:lnTo>
                    <a:pt x="62061" y="218693"/>
                  </a:lnTo>
                  <a:cubicBezTo>
                    <a:pt x="27786" y="218693"/>
                    <a:pt x="0" y="190907"/>
                    <a:pt x="0" y="156632"/>
                  </a:cubicBezTo>
                  <a:lnTo>
                    <a:pt x="0" y="62061"/>
                  </a:lnTo>
                  <a:cubicBezTo>
                    <a:pt x="0" y="27786"/>
                    <a:pt x="27786" y="0"/>
                    <a:pt x="62061" y="0"/>
                  </a:cubicBezTo>
                  <a:close/>
                </a:path>
              </a:pathLst>
            </a:custGeom>
            <a:solidFill>
              <a:srgbClr val="1E3166"/>
            </a:solidFill>
            <a:ln w="47625" cap="rnd">
              <a:solidFill>
                <a:srgbClr val="FAB81E"/>
              </a:solidFill>
              <a:prstDash val="solid"/>
              <a:round/>
            </a:ln>
          </p:spPr>
          <p:txBody>
            <a:bodyPr/>
            <a:lstStyle/>
            <a:p>
              <a:pPr algn="ctr"/>
              <a:endParaRPr lang="en-ID" sz="1600" dirty="0">
                <a:solidFill>
                  <a:schemeClr val="bg1"/>
                </a:solidFill>
              </a:endParaRPr>
            </a:p>
          </p:txBody>
        </p:sp>
        <p:sp>
          <p:nvSpPr>
            <p:cNvPr id="38" name="TextBox 7">
              <a:extLst>
                <a:ext uri="{FF2B5EF4-FFF2-40B4-BE49-F238E27FC236}">
                  <a16:creationId xmlns:a16="http://schemas.microsoft.com/office/drawing/2014/main" id="{37FC1744-01DF-5835-42AA-6988E165F6E6}"/>
                </a:ext>
              </a:extLst>
            </p:cNvPr>
            <p:cNvSpPr txBox="1"/>
            <p:nvPr/>
          </p:nvSpPr>
          <p:spPr>
            <a:xfrm>
              <a:off x="0" y="-38100"/>
              <a:ext cx="1084215" cy="25679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 sz="1600"/>
            </a:p>
          </p:txBody>
        </p:sp>
      </p:grpSp>
      <p:sp>
        <p:nvSpPr>
          <p:cNvPr id="41" name="TextBox 64">
            <a:extLst>
              <a:ext uri="{FF2B5EF4-FFF2-40B4-BE49-F238E27FC236}">
                <a16:creationId xmlns:a16="http://schemas.microsoft.com/office/drawing/2014/main" id="{71A88116-4561-AFC1-7A4D-22A13480B543}"/>
              </a:ext>
            </a:extLst>
          </p:cNvPr>
          <p:cNvSpPr txBox="1"/>
          <p:nvPr/>
        </p:nvSpPr>
        <p:spPr>
          <a:xfrm>
            <a:off x="4024408" y="919885"/>
            <a:ext cx="3707428" cy="51898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79"/>
              </a:lnSpc>
            </a:pPr>
            <a:r>
              <a:rPr lang="en-US" sz="2400" dirty="0">
                <a:solidFill>
                  <a:srgbClr val="FFFFFF"/>
                </a:solidFill>
                <a:latin typeface="Poppins"/>
              </a:rPr>
              <a:t>LAYANAN SPBE PUPR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65FA2B3-3514-91F5-F9E9-F80FCBE6B978}"/>
              </a:ext>
            </a:extLst>
          </p:cNvPr>
          <p:cNvSpPr txBox="1"/>
          <p:nvPr/>
        </p:nvSpPr>
        <p:spPr>
          <a:xfrm>
            <a:off x="3988348" y="1685199"/>
            <a:ext cx="376064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800" b="1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men PUPR No. 9 Tahun 2023 </a:t>
            </a:r>
          </a:p>
          <a:p>
            <a:pPr algn="ctr"/>
            <a:r>
              <a:rPr lang="it-IT" sz="1400" b="0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ntang </a:t>
            </a:r>
          </a:p>
          <a:p>
            <a:pPr algn="ctr"/>
            <a:r>
              <a:rPr lang="it-IT" sz="1400" b="0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erapan Sistem Pemerintahan </a:t>
            </a:r>
          </a:p>
          <a:p>
            <a:pPr algn="ctr"/>
            <a:r>
              <a:rPr lang="it-IT" sz="1400" b="0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rbasis Elektronik</a:t>
            </a:r>
            <a:endParaRPr lang="en-ID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" name="Google Shape;94;p13">
            <a:extLst>
              <a:ext uri="{FF2B5EF4-FFF2-40B4-BE49-F238E27FC236}">
                <a16:creationId xmlns:a16="http://schemas.microsoft.com/office/drawing/2014/main" id="{0DFD57AA-0C5D-BD7B-CA34-D35E7F4F0CA8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04776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435809-3E40-F142-28B7-8570E323B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A129A3CE-6EE7-9CF4-D985-E9EF316B9C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7656" y="3151433"/>
            <a:ext cx="1742440" cy="2258768"/>
          </a:xfrm>
          <a:prstGeom prst="rect">
            <a:avLst/>
          </a:prstGeom>
        </p:spPr>
      </p:pic>
      <p:pic>
        <p:nvPicPr>
          <p:cNvPr id="192" name="Picture 191" descr="lgo sigap.png">
            <a:extLst>
              <a:ext uri="{FF2B5EF4-FFF2-40B4-BE49-F238E27FC236}">
                <a16:creationId xmlns:a16="http://schemas.microsoft.com/office/drawing/2014/main" id="{F8A25579-8A50-8EB5-5AFF-2FDCAA5BF0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4122" y="1"/>
            <a:ext cx="2877879" cy="110958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E2C7329-4D9A-4BA8-965A-724729D60F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66" y="6817663"/>
            <a:ext cx="12192000" cy="50537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7B696879-9942-4088-9F40-F8FE656172EF}"/>
              </a:ext>
            </a:extLst>
          </p:cNvPr>
          <p:cNvSpPr txBox="1">
            <a:spLocks/>
          </p:cNvSpPr>
          <p:nvPr/>
        </p:nvSpPr>
        <p:spPr>
          <a:xfrm>
            <a:off x="1437997" y="708940"/>
            <a:ext cx="7566685" cy="635404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Century Gothic Regular" charset="0"/>
                <a:ea typeface="+mj-ea"/>
                <a:cs typeface="+mj-cs"/>
              </a:defRPr>
            </a:lvl1pPr>
          </a:lstStyle>
          <a:p>
            <a:pPr defTabSz="742987"/>
            <a:endParaRPr lang="en-US" sz="3576" dirty="0">
              <a:solidFill>
                <a:prstClr val="black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D5DF3B-1850-2F3F-5FBA-CA9B7A10983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3" b="12568"/>
          <a:stretch/>
        </p:blipFill>
        <p:spPr bwMode="auto">
          <a:xfrm>
            <a:off x="891482" y="848533"/>
            <a:ext cx="1949610" cy="290209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64E25A-B086-AA41-3340-785BE08EC9C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7" b="6209"/>
          <a:stretch/>
        </p:blipFill>
        <p:spPr bwMode="auto">
          <a:xfrm>
            <a:off x="2880802" y="1741396"/>
            <a:ext cx="2076854" cy="401846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8AF32A3-1AFA-1D5F-5881-84ECCAEF99A0}"/>
              </a:ext>
            </a:extLst>
          </p:cNvPr>
          <p:cNvSpPr txBox="1">
            <a:spLocks/>
          </p:cNvSpPr>
          <p:nvPr/>
        </p:nvSpPr>
        <p:spPr>
          <a:xfrm>
            <a:off x="2489200" y="84497"/>
            <a:ext cx="7842970" cy="416771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626">
              <a:defRPr/>
            </a:pPr>
            <a:r>
              <a:rPr lang="fi-FI" sz="1950" b="1" dirty="0">
                <a:solidFill>
                  <a:prstClr val="black"/>
                </a:solidFill>
                <a:latin typeface="Segoe UI"/>
              </a:rPr>
              <a:t>Pemeriksaan Keabsahan SKK Melalui </a:t>
            </a:r>
            <a:r>
              <a:rPr lang="fi-FI" sz="1950" b="1" dirty="0">
                <a:solidFill>
                  <a:srgbClr val="00B0F0"/>
                </a:solidFill>
                <a:latin typeface="Segoe UI"/>
              </a:rPr>
              <a:t>Aplikasi Jakontrus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3BB1921-56B7-EE05-BC3C-9312EAB908EC}"/>
              </a:ext>
            </a:extLst>
          </p:cNvPr>
          <p:cNvSpPr/>
          <p:nvPr/>
        </p:nvSpPr>
        <p:spPr>
          <a:xfrm>
            <a:off x="3558865" y="5177187"/>
            <a:ext cx="702217" cy="49260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EF76FB8-E886-9B70-30A1-C3F170C150E8}"/>
              </a:ext>
            </a:extLst>
          </p:cNvPr>
          <p:cNvCxnSpPr>
            <a:cxnSpLocks/>
          </p:cNvCxnSpPr>
          <p:nvPr/>
        </p:nvCxnSpPr>
        <p:spPr>
          <a:xfrm flipV="1">
            <a:off x="4232378" y="4958182"/>
            <a:ext cx="1626995" cy="29171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81E2911E-DE5A-5EB6-0763-8C902C5DFA20}"/>
              </a:ext>
            </a:extLst>
          </p:cNvPr>
          <p:cNvSpPr/>
          <p:nvPr/>
        </p:nvSpPr>
        <p:spPr>
          <a:xfrm>
            <a:off x="5856697" y="4657599"/>
            <a:ext cx="721983" cy="56485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445683-D7E2-0785-2549-7E7D5C4EFDA6}"/>
              </a:ext>
            </a:extLst>
          </p:cNvPr>
          <p:cNvSpPr txBox="1"/>
          <p:nvPr/>
        </p:nvSpPr>
        <p:spPr>
          <a:xfrm>
            <a:off x="4583054" y="5543317"/>
            <a:ext cx="2788762" cy="542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6"/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Maka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kan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muncul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Data TKK dan masa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berlaku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SKK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tersebut</a:t>
            </a:r>
            <a:endParaRPr lang="en-ID" sz="1463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Arrow: Striped Right 10">
            <a:extLst>
              <a:ext uri="{FF2B5EF4-FFF2-40B4-BE49-F238E27FC236}">
                <a16:creationId xmlns:a16="http://schemas.microsoft.com/office/drawing/2014/main" id="{98FBC177-27A3-C86A-417E-2FBB6F9A47B1}"/>
              </a:ext>
            </a:extLst>
          </p:cNvPr>
          <p:cNvSpPr/>
          <p:nvPr/>
        </p:nvSpPr>
        <p:spPr>
          <a:xfrm rot="1578234">
            <a:off x="3042070" y="4973765"/>
            <a:ext cx="389642" cy="260548"/>
          </a:xfrm>
          <a:prstGeom prst="striped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ID" sz="146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764A0A-7286-B079-4BB9-39A98A7C8E52}"/>
              </a:ext>
            </a:extLst>
          </p:cNvPr>
          <p:cNvSpPr txBox="1"/>
          <p:nvPr/>
        </p:nvSpPr>
        <p:spPr>
          <a:xfrm>
            <a:off x="1861024" y="3757852"/>
            <a:ext cx="1517362" cy="1217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6"/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“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Klik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Fitur Scan Barcode,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lalu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rahkan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pada Barcode yang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da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pada SKK”</a:t>
            </a:r>
            <a:endParaRPr lang="en-ID" sz="1463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Arrow: Striped Right 17">
            <a:extLst>
              <a:ext uri="{FF2B5EF4-FFF2-40B4-BE49-F238E27FC236}">
                <a16:creationId xmlns:a16="http://schemas.microsoft.com/office/drawing/2014/main" id="{403EA851-F7C5-7E10-A8A6-E486D2FD9146}"/>
              </a:ext>
            </a:extLst>
          </p:cNvPr>
          <p:cNvSpPr/>
          <p:nvPr/>
        </p:nvSpPr>
        <p:spPr>
          <a:xfrm>
            <a:off x="6700096" y="4687650"/>
            <a:ext cx="389642" cy="541062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ID" sz="146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1C16245-03E2-9EB3-62D9-8EFA192CC6FD}"/>
              </a:ext>
            </a:extLst>
          </p:cNvPr>
          <p:cNvSpPr txBox="1"/>
          <p:nvPr/>
        </p:nvSpPr>
        <p:spPr>
          <a:xfrm>
            <a:off x="3230399" y="359053"/>
            <a:ext cx="6242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Scan QR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terbita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sebelum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dan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sesudah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tahu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2022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3C933751-4176-8CB0-F211-5068378A4A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7481" y="991024"/>
            <a:ext cx="1722615" cy="219220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767A2A-0D46-FB15-EF06-BC7C87472E5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2938"/>
          <a:stretch/>
        </p:blipFill>
        <p:spPr>
          <a:xfrm>
            <a:off x="7662808" y="1026642"/>
            <a:ext cx="3163253" cy="665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5530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F40AF8-32A2-7B8D-4792-51383094BD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D12FBA5-4A3F-3B0D-C1B6-A4D882BA2E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4364" y="741148"/>
            <a:ext cx="3975655" cy="478856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041360B-A340-4BC4-255B-F2D4B75C6D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66" y="6817663"/>
            <a:ext cx="12192000" cy="50537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F9B2F47A-C617-6D05-224C-A13E79451810}"/>
              </a:ext>
            </a:extLst>
          </p:cNvPr>
          <p:cNvSpPr txBox="1">
            <a:spLocks/>
          </p:cNvSpPr>
          <p:nvPr/>
        </p:nvSpPr>
        <p:spPr>
          <a:xfrm>
            <a:off x="1437997" y="708940"/>
            <a:ext cx="7566685" cy="635404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Century Gothic Regular" charset="0"/>
                <a:ea typeface="+mj-ea"/>
                <a:cs typeface="+mj-cs"/>
              </a:defRPr>
            </a:lvl1pPr>
          </a:lstStyle>
          <a:p>
            <a:pPr defTabSz="742987"/>
            <a:endParaRPr lang="en-US" sz="3576" dirty="0">
              <a:solidFill>
                <a:prstClr val="black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060D66A-0608-C963-FA95-803E8AFE2D2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3" b="12568"/>
          <a:stretch/>
        </p:blipFill>
        <p:spPr bwMode="auto">
          <a:xfrm>
            <a:off x="602576" y="1129026"/>
            <a:ext cx="1949610" cy="290209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DF1220C-F384-8472-8F87-009BED62E8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7" b="6209"/>
          <a:stretch/>
        </p:blipFill>
        <p:spPr bwMode="auto">
          <a:xfrm>
            <a:off x="2171824" y="1853238"/>
            <a:ext cx="2076854" cy="401846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EE945F5-B2D1-0FF4-1D13-163296BC3D64}"/>
              </a:ext>
            </a:extLst>
          </p:cNvPr>
          <p:cNvSpPr txBox="1">
            <a:spLocks/>
          </p:cNvSpPr>
          <p:nvPr/>
        </p:nvSpPr>
        <p:spPr>
          <a:xfrm>
            <a:off x="2501116" y="85062"/>
            <a:ext cx="6808314" cy="416771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626">
              <a:defRPr/>
            </a:pPr>
            <a:r>
              <a:rPr lang="fi-FI" sz="1950" b="1" dirty="0">
                <a:solidFill>
                  <a:prstClr val="black"/>
                </a:solidFill>
                <a:latin typeface="Segoe UI"/>
              </a:rPr>
              <a:t>Pemeriksaan Keabsahan SBU Melalui </a:t>
            </a:r>
            <a:r>
              <a:rPr lang="fi-FI" sz="1950" b="1" dirty="0">
                <a:solidFill>
                  <a:srgbClr val="00B0F0"/>
                </a:solidFill>
                <a:latin typeface="Segoe UI"/>
              </a:rPr>
              <a:t>Aplikasi Jakontrust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82469CF-9AEB-B732-3C3A-66CF6BCED158}"/>
              </a:ext>
            </a:extLst>
          </p:cNvPr>
          <p:cNvSpPr/>
          <p:nvPr/>
        </p:nvSpPr>
        <p:spPr>
          <a:xfrm>
            <a:off x="2852143" y="5300068"/>
            <a:ext cx="702217" cy="49260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87">
              <a:defRPr/>
            </a:pPr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EF78E96-515D-6C06-C6C8-88F8123ADD95}"/>
              </a:ext>
            </a:extLst>
          </p:cNvPr>
          <p:cNvCxnSpPr>
            <a:cxnSpLocks/>
          </p:cNvCxnSpPr>
          <p:nvPr/>
        </p:nvCxnSpPr>
        <p:spPr>
          <a:xfrm flipV="1">
            <a:off x="3402258" y="5022407"/>
            <a:ext cx="769813" cy="27766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B54101BE-32C4-C8ED-1746-42606A6B0096}"/>
              </a:ext>
            </a:extLst>
          </p:cNvPr>
          <p:cNvSpPr/>
          <p:nvPr/>
        </p:nvSpPr>
        <p:spPr>
          <a:xfrm>
            <a:off x="4245514" y="4658371"/>
            <a:ext cx="702217" cy="63540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87">
              <a:defRPr/>
            </a:pPr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686794-B5BF-B286-5FA3-70AE6C88551A}"/>
              </a:ext>
            </a:extLst>
          </p:cNvPr>
          <p:cNvSpPr txBox="1"/>
          <p:nvPr/>
        </p:nvSpPr>
        <p:spPr>
          <a:xfrm>
            <a:off x="6552602" y="5333868"/>
            <a:ext cx="2129489" cy="76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42987">
              <a:defRPr/>
            </a:pP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Maka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kan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muncul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Data Badan Usaha dan masa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berlaku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SBU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tersebut</a:t>
            </a:r>
            <a:endParaRPr lang="en-ID" sz="1463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Arrow: Striped Right 11">
            <a:extLst>
              <a:ext uri="{FF2B5EF4-FFF2-40B4-BE49-F238E27FC236}">
                <a16:creationId xmlns:a16="http://schemas.microsoft.com/office/drawing/2014/main" id="{CF2B3812-1986-6BCE-01AE-C534CB59FC94}"/>
              </a:ext>
            </a:extLst>
          </p:cNvPr>
          <p:cNvSpPr/>
          <p:nvPr/>
        </p:nvSpPr>
        <p:spPr>
          <a:xfrm rot="1578234">
            <a:off x="2431272" y="5212981"/>
            <a:ext cx="389642" cy="260548"/>
          </a:xfrm>
          <a:prstGeom prst="strip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87">
              <a:defRPr/>
            </a:pPr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FAFC37-C4FF-E1F2-623B-D7FDAB74F181}"/>
              </a:ext>
            </a:extLst>
          </p:cNvPr>
          <p:cNvSpPr txBox="1"/>
          <p:nvPr/>
        </p:nvSpPr>
        <p:spPr>
          <a:xfrm>
            <a:off x="1227578" y="4158339"/>
            <a:ext cx="1517362" cy="1217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42987">
              <a:defRPr/>
            </a:pP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“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Klik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Fitur Scan Barcode,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lalu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rahkan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pada Barcode yang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da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pada SBU”</a:t>
            </a:r>
            <a:endParaRPr lang="en-ID" sz="1463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6A841E-4E39-6273-2951-789D15FDA316}"/>
              </a:ext>
            </a:extLst>
          </p:cNvPr>
          <p:cNvSpPr txBox="1"/>
          <p:nvPr/>
        </p:nvSpPr>
        <p:spPr>
          <a:xfrm>
            <a:off x="3067182" y="363644"/>
            <a:ext cx="6242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Scan QR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terbita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sebelum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dan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sesudah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tahu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202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BD1460E-6BE5-9E19-6F25-608DD92FDDD9}"/>
              </a:ext>
            </a:extLst>
          </p:cNvPr>
          <p:cNvSpPr txBox="1"/>
          <p:nvPr/>
        </p:nvSpPr>
        <p:spPr>
          <a:xfrm>
            <a:off x="9188333" y="1295593"/>
            <a:ext cx="4953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46"/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Detail </a:t>
            </a:r>
            <a:r>
              <a:rPr lang="en-US" b="1" dirty="0" err="1">
                <a:solidFill>
                  <a:prstClr val="black"/>
                </a:solidFill>
                <a:latin typeface="Calibri" panose="020F0502020204030204"/>
              </a:rPr>
              <a:t>hasil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libri" panose="020F0502020204030204"/>
              </a:rPr>
              <a:t>verifikasi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:</a:t>
            </a:r>
          </a:p>
        </p:txBody>
      </p:sp>
      <p:sp>
        <p:nvSpPr>
          <p:cNvPr id="23" name="Arrow: Bent 22">
            <a:extLst>
              <a:ext uri="{FF2B5EF4-FFF2-40B4-BE49-F238E27FC236}">
                <a16:creationId xmlns:a16="http://schemas.microsoft.com/office/drawing/2014/main" id="{F8720899-5557-287C-35D2-69310F469A23}"/>
              </a:ext>
            </a:extLst>
          </p:cNvPr>
          <p:cNvSpPr/>
          <p:nvPr/>
        </p:nvSpPr>
        <p:spPr>
          <a:xfrm rot="10800000" flipH="1">
            <a:off x="4775781" y="5604334"/>
            <a:ext cx="4100516" cy="821865"/>
          </a:xfrm>
          <a:prstGeom prst="bentArrow">
            <a:avLst>
              <a:gd name="adj1" fmla="val 25000"/>
              <a:gd name="adj2" fmla="val 25573"/>
              <a:gd name="adj3" fmla="val 25000"/>
              <a:gd name="adj4" fmla="val 4375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87">
              <a:defRPr/>
            </a:pPr>
            <a:endParaRPr lang="en-ID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A42D08-9CCC-5613-01A2-5C082FC87CA4}"/>
              </a:ext>
            </a:extLst>
          </p:cNvPr>
          <p:cNvSpPr txBox="1"/>
          <p:nvPr/>
        </p:nvSpPr>
        <p:spPr>
          <a:xfrm>
            <a:off x="9314122" y="1633638"/>
            <a:ext cx="846707" cy="276999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SBU AKTIF</a:t>
            </a:r>
          </a:p>
        </p:txBody>
      </p:sp>
      <p:pic>
        <p:nvPicPr>
          <p:cNvPr id="28" name="Google Shape;94;p13">
            <a:extLst>
              <a:ext uri="{FF2B5EF4-FFF2-40B4-BE49-F238E27FC236}">
                <a16:creationId xmlns:a16="http://schemas.microsoft.com/office/drawing/2014/main" id="{B072C93C-8FE4-C806-45DF-BE855CE21F4D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007600" y="93412"/>
            <a:ext cx="2097802" cy="471094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C2FFEB4-8308-D615-2EDA-238874AECAD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3538"/>
          <a:stretch/>
        </p:blipFill>
        <p:spPr>
          <a:xfrm>
            <a:off x="9004682" y="1972192"/>
            <a:ext cx="3163253" cy="661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668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435809-3E40-F142-28B7-8570E323B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48631D23-B95B-514D-285A-19EFFAD907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2882" y="564506"/>
            <a:ext cx="4185234" cy="494734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E2C7329-4D9A-4BA8-965A-724729D60F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66" y="6817663"/>
            <a:ext cx="12192000" cy="50537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7B696879-9942-4088-9F40-F8FE656172EF}"/>
              </a:ext>
            </a:extLst>
          </p:cNvPr>
          <p:cNvSpPr txBox="1">
            <a:spLocks/>
          </p:cNvSpPr>
          <p:nvPr/>
        </p:nvSpPr>
        <p:spPr>
          <a:xfrm>
            <a:off x="1437997" y="708940"/>
            <a:ext cx="7566685" cy="635404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Century Gothic Regular" charset="0"/>
                <a:ea typeface="+mj-ea"/>
                <a:cs typeface="+mj-cs"/>
              </a:defRPr>
            </a:lvl1pPr>
          </a:lstStyle>
          <a:p>
            <a:pPr defTabSz="742987"/>
            <a:endParaRPr lang="en-US" sz="3576" dirty="0">
              <a:solidFill>
                <a:prstClr val="black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430BAB2-DDEC-9930-C61F-1D71151E22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3" b="12568"/>
          <a:stretch/>
        </p:blipFill>
        <p:spPr bwMode="auto">
          <a:xfrm>
            <a:off x="602576" y="1129026"/>
            <a:ext cx="1949610" cy="290209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20ADB3-C692-6853-D326-313520D29FB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7" b="6209"/>
          <a:stretch/>
        </p:blipFill>
        <p:spPr bwMode="auto">
          <a:xfrm>
            <a:off x="2171824" y="1853238"/>
            <a:ext cx="2076854" cy="401846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B10E3A4-0F0E-849F-279C-E7FA1C80EEFC}"/>
              </a:ext>
            </a:extLst>
          </p:cNvPr>
          <p:cNvSpPr txBox="1">
            <a:spLocks/>
          </p:cNvSpPr>
          <p:nvPr/>
        </p:nvSpPr>
        <p:spPr>
          <a:xfrm>
            <a:off x="2501116" y="85062"/>
            <a:ext cx="6808314" cy="416771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626">
              <a:defRPr/>
            </a:pPr>
            <a:r>
              <a:rPr lang="fi-FI" sz="1950" b="1" dirty="0">
                <a:solidFill>
                  <a:prstClr val="black"/>
                </a:solidFill>
                <a:latin typeface="Segoe UI"/>
              </a:rPr>
              <a:t>Pemeriksaan Keabsahan SBU Melalui </a:t>
            </a:r>
            <a:r>
              <a:rPr lang="fi-FI" sz="1950" b="1" dirty="0">
                <a:solidFill>
                  <a:srgbClr val="00B0F0"/>
                </a:solidFill>
                <a:latin typeface="Segoe UI"/>
              </a:rPr>
              <a:t>Aplikasi Jakontrust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26A58E5-C359-1770-D9DB-578EC06E7B90}"/>
              </a:ext>
            </a:extLst>
          </p:cNvPr>
          <p:cNvSpPr/>
          <p:nvPr/>
        </p:nvSpPr>
        <p:spPr>
          <a:xfrm>
            <a:off x="2852143" y="5300068"/>
            <a:ext cx="702217" cy="49260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87">
              <a:defRPr/>
            </a:pPr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8D9D27C-BA22-45CC-93EB-D51DF61FF3BE}"/>
              </a:ext>
            </a:extLst>
          </p:cNvPr>
          <p:cNvCxnSpPr>
            <a:cxnSpLocks/>
          </p:cNvCxnSpPr>
          <p:nvPr/>
        </p:nvCxnSpPr>
        <p:spPr>
          <a:xfrm flipV="1">
            <a:off x="3402258" y="5022407"/>
            <a:ext cx="769813" cy="27766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E4ACD5C8-9E44-E301-F682-69945787366A}"/>
              </a:ext>
            </a:extLst>
          </p:cNvPr>
          <p:cNvSpPr/>
          <p:nvPr/>
        </p:nvSpPr>
        <p:spPr>
          <a:xfrm>
            <a:off x="4245514" y="4658371"/>
            <a:ext cx="702217" cy="63540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87">
              <a:defRPr/>
            </a:pPr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54A6AA-4CBF-B6AC-907A-9C79E61DDB6B}"/>
              </a:ext>
            </a:extLst>
          </p:cNvPr>
          <p:cNvSpPr txBox="1"/>
          <p:nvPr/>
        </p:nvSpPr>
        <p:spPr>
          <a:xfrm>
            <a:off x="6552602" y="5333868"/>
            <a:ext cx="2129489" cy="76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42987">
              <a:defRPr/>
            </a:pP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Maka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kan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muncul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Data Badan Usaha dan masa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berlaku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SBU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tersebut</a:t>
            </a:r>
            <a:endParaRPr lang="en-ID" sz="1463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Arrow: Striped Right 11">
            <a:extLst>
              <a:ext uri="{FF2B5EF4-FFF2-40B4-BE49-F238E27FC236}">
                <a16:creationId xmlns:a16="http://schemas.microsoft.com/office/drawing/2014/main" id="{873FE1E7-CEB9-FBE8-F1D2-D55D8718AB09}"/>
              </a:ext>
            </a:extLst>
          </p:cNvPr>
          <p:cNvSpPr/>
          <p:nvPr/>
        </p:nvSpPr>
        <p:spPr>
          <a:xfrm rot="1578234">
            <a:off x="2431272" y="5212981"/>
            <a:ext cx="389642" cy="260548"/>
          </a:xfrm>
          <a:prstGeom prst="strip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87">
              <a:defRPr/>
            </a:pPr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E822D8-3462-1455-84D7-C837801DC593}"/>
              </a:ext>
            </a:extLst>
          </p:cNvPr>
          <p:cNvSpPr txBox="1"/>
          <p:nvPr/>
        </p:nvSpPr>
        <p:spPr>
          <a:xfrm>
            <a:off x="1227578" y="4158339"/>
            <a:ext cx="1517362" cy="1217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42987">
              <a:defRPr/>
            </a:pP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“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Klik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Fitur Scan Barcode,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lalu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rahkan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pada Barcode yang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da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pada SBU”</a:t>
            </a:r>
            <a:endParaRPr lang="en-ID" sz="1463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C0EC47-1E74-3405-EC2F-41E4C87880FC}"/>
              </a:ext>
            </a:extLst>
          </p:cNvPr>
          <p:cNvSpPr txBox="1"/>
          <p:nvPr/>
        </p:nvSpPr>
        <p:spPr>
          <a:xfrm>
            <a:off x="3067182" y="363644"/>
            <a:ext cx="6242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Scan QR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terbita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sebelum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dan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sesudah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tahu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202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2AEA9D4-49A8-8C41-2CF7-8B38344C8543}"/>
              </a:ext>
            </a:extLst>
          </p:cNvPr>
          <p:cNvSpPr txBox="1"/>
          <p:nvPr/>
        </p:nvSpPr>
        <p:spPr>
          <a:xfrm>
            <a:off x="9188333" y="1295593"/>
            <a:ext cx="4953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46"/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Detail </a:t>
            </a:r>
            <a:r>
              <a:rPr lang="en-US" b="1" dirty="0" err="1">
                <a:solidFill>
                  <a:prstClr val="black"/>
                </a:solidFill>
                <a:latin typeface="Calibri" panose="020F0502020204030204"/>
              </a:rPr>
              <a:t>hasil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libri" panose="020F0502020204030204"/>
              </a:rPr>
              <a:t>verifikasi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:</a:t>
            </a:r>
          </a:p>
        </p:txBody>
      </p:sp>
      <p:sp>
        <p:nvSpPr>
          <p:cNvPr id="23" name="Arrow: Bent 22">
            <a:extLst>
              <a:ext uri="{FF2B5EF4-FFF2-40B4-BE49-F238E27FC236}">
                <a16:creationId xmlns:a16="http://schemas.microsoft.com/office/drawing/2014/main" id="{0D11D158-CABE-32EE-77AF-51ABE7ADCE31}"/>
              </a:ext>
            </a:extLst>
          </p:cNvPr>
          <p:cNvSpPr/>
          <p:nvPr/>
        </p:nvSpPr>
        <p:spPr>
          <a:xfrm rot="10800000" flipH="1">
            <a:off x="4775781" y="5604334"/>
            <a:ext cx="4100516" cy="821865"/>
          </a:xfrm>
          <a:prstGeom prst="bentArrow">
            <a:avLst>
              <a:gd name="adj1" fmla="val 25000"/>
              <a:gd name="adj2" fmla="val 25573"/>
              <a:gd name="adj3" fmla="val 25000"/>
              <a:gd name="adj4" fmla="val 4375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87">
              <a:defRPr/>
            </a:pPr>
            <a:endParaRPr lang="en-ID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2C330B7-A635-CF9A-6E91-149DD943D7B7}"/>
              </a:ext>
            </a:extLst>
          </p:cNvPr>
          <p:cNvSpPr txBox="1"/>
          <p:nvPr/>
        </p:nvSpPr>
        <p:spPr>
          <a:xfrm>
            <a:off x="9314122" y="1633638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SBU DICABU</a:t>
            </a:r>
          </a:p>
        </p:txBody>
      </p:sp>
      <p:pic>
        <p:nvPicPr>
          <p:cNvPr id="28" name="Google Shape;94;p13">
            <a:extLst>
              <a:ext uri="{FF2B5EF4-FFF2-40B4-BE49-F238E27FC236}">
                <a16:creationId xmlns:a16="http://schemas.microsoft.com/office/drawing/2014/main" id="{B50086D1-8B89-1414-8F5B-237EBFB822E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007600" y="93412"/>
            <a:ext cx="2097802" cy="471094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33" name="Picture 32" descr="A screenshot of a phone&#10;&#10;AI-generated content may be incorrect.">
            <a:extLst>
              <a:ext uri="{FF2B5EF4-FFF2-40B4-BE49-F238E27FC236}">
                <a16:creationId xmlns:a16="http://schemas.microsoft.com/office/drawing/2014/main" id="{E7FBF980-693B-64A9-D3C2-8B55F63182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98"/>
          <a:stretch/>
        </p:blipFill>
        <p:spPr>
          <a:xfrm>
            <a:off x="8888998" y="1937739"/>
            <a:ext cx="3163253" cy="6515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67546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435809-3E40-F142-28B7-8570E323B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A129A3CE-6EE7-9CF4-D985-E9EF316B9C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7656" y="3151433"/>
            <a:ext cx="1742440" cy="2258768"/>
          </a:xfrm>
          <a:prstGeom prst="rect">
            <a:avLst/>
          </a:prstGeom>
        </p:spPr>
      </p:pic>
      <p:pic>
        <p:nvPicPr>
          <p:cNvPr id="192" name="Picture 191" descr="lgo sigap.png">
            <a:extLst>
              <a:ext uri="{FF2B5EF4-FFF2-40B4-BE49-F238E27FC236}">
                <a16:creationId xmlns:a16="http://schemas.microsoft.com/office/drawing/2014/main" id="{F8A25579-8A50-8EB5-5AFF-2FDCAA5BF0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4122" y="1"/>
            <a:ext cx="2877879" cy="110958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E2C7329-4D9A-4BA8-965A-724729D60F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66" y="6817663"/>
            <a:ext cx="12192000" cy="50537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7B696879-9942-4088-9F40-F8FE656172EF}"/>
              </a:ext>
            </a:extLst>
          </p:cNvPr>
          <p:cNvSpPr txBox="1">
            <a:spLocks/>
          </p:cNvSpPr>
          <p:nvPr/>
        </p:nvSpPr>
        <p:spPr>
          <a:xfrm>
            <a:off x="1437997" y="708940"/>
            <a:ext cx="7566685" cy="635404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Century Gothic Regular" charset="0"/>
                <a:ea typeface="+mj-ea"/>
                <a:cs typeface="+mj-cs"/>
              </a:defRPr>
            </a:lvl1pPr>
          </a:lstStyle>
          <a:p>
            <a:pPr defTabSz="742987"/>
            <a:endParaRPr lang="en-US" sz="3576" dirty="0">
              <a:solidFill>
                <a:prstClr val="black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D5DF3B-1850-2F3F-5FBA-CA9B7A10983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3" b="12568"/>
          <a:stretch/>
        </p:blipFill>
        <p:spPr bwMode="auto">
          <a:xfrm>
            <a:off x="891482" y="848533"/>
            <a:ext cx="1949610" cy="290209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64E25A-B086-AA41-3340-785BE08EC9C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7" b="6209"/>
          <a:stretch/>
        </p:blipFill>
        <p:spPr bwMode="auto">
          <a:xfrm>
            <a:off x="2880802" y="1741396"/>
            <a:ext cx="2076854" cy="401846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8AF32A3-1AFA-1D5F-5881-84ECCAEF99A0}"/>
              </a:ext>
            </a:extLst>
          </p:cNvPr>
          <p:cNvSpPr txBox="1">
            <a:spLocks/>
          </p:cNvSpPr>
          <p:nvPr/>
        </p:nvSpPr>
        <p:spPr>
          <a:xfrm>
            <a:off x="2489200" y="84497"/>
            <a:ext cx="7842970" cy="416771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626">
              <a:defRPr/>
            </a:pPr>
            <a:r>
              <a:rPr lang="fi-FI" sz="1950" b="1" dirty="0">
                <a:solidFill>
                  <a:prstClr val="black"/>
                </a:solidFill>
                <a:latin typeface="Segoe UI"/>
              </a:rPr>
              <a:t>Pemeriksaan Keabsahan SKK Melalui </a:t>
            </a:r>
            <a:r>
              <a:rPr lang="fi-FI" sz="1950" b="1" dirty="0">
                <a:solidFill>
                  <a:srgbClr val="00B0F0"/>
                </a:solidFill>
                <a:latin typeface="Segoe UI"/>
              </a:rPr>
              <a:t>Aplikasi Jakontrus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3BB1921-56B7-EE05-BC3C-9312EAB908EC}"/>
              </a:ext>
            </a:extLst>
          </p:cNvPr>
          <p:cNvSpPr/>
          <p:nvPr/>
        </p:nvSpPr>
        <p:spPr>
          <a:xfrm>
            <a:off x="3558865" y="5177187"/>
            <a:ext cx="702217" cy="49260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EF76FB8-E886-9B70-30A1-C3F170C150E8}"/>
              </a:ext>
            </a:extLst>
          </p:cNvPr>
          <p:cNvCxnSpPr>
            <a:cxnSpLocks/>
          </p:cNvCxnSpPr>
          <p:nvPr/>
        </p:nvCxnSpPr>
        <p:spPr>
          <a:xfrm flipV="1">
            <a:off x="4232378" y="4958182"/>
            <a:ext cx="1626995" cy="29171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81E2911E-DE5A-5EB6-0763-8C902C5DFA20}"/>
              </a:ext>
            </a:extLst>
          </p:cNvPr>
          <p:cNvSpPr/>
          <p:nvPr/>
        </p:nvSpPr>
        <p:spPr>
          <a:xfrm>
            <a:off x="5856697" y="4657599"/>
            <a:ext cx="721983" cy="56485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ID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445683-D7E2-0785-2549-7E7D5C4EFDA6}"/>
              </a:ext>
            </a:extLst>
          </p:cNvPr>
          <p:cNvSpPr txBox="1"/>
          <p:nvPr/>
        </p:nvSpPr>
        <p:spPr>
          <a:xfrm>
            <a:off x="4583054" y="5543317"/>
            <a:ext cx="2788762" cy="542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6"/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Maka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kan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muncul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Data TKK dan masa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berlaku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SKK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tersebut</a:t>
            </a:r>
            <a:endParaRPr lang="en-ID" sz="1463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Arrow: Striped Right 10">
            <a:extLst>
              <a:ext uri="{FF2B5EF4-FFF2-40B4-BE49-F238E27FC236}">
                <a16:creationId xmlns:a16="http://schemas.microsoft.com/office/drawing/2014/main" id="{98FBC177-27A3-C86A-417E-2FBB6F9A47B1}"/>
              </a:ext>
            </a:extLst>
          </p:cNvPr>
          <p:cNvSpPr/>
          <p:nvPr/>
        </p:nvSpPr>
        <p:spPr>
          <a:xfrm rot="1578234">
            <a:off x="3042070" y="4973765"/>
            <a:ext cx="389642" cy="260548"/>
          </a:xfrm>
          <a:prstGeom prst="striped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ID" sz="146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764A0A-7286-B079-4BB9-39A98A7C8E52}"/>
              </a:ext>
            </a:extLst>
          </p:cNvPr>
          <p:cNvSpPr txBox="1"/>
          <p:nvPr/>
        </p:nvSpPr>
        <p:spPr>
          <a:xfrm>
            <a:off x="1861024" y="3757852"/>
            <a:ext cx="1517362" cy="1217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6"/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“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Klik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Fitur Scan Barcode,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lalu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rahkan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pada Barcode yang </a:t>
            </a:r>
            <a:r>
              <a:rPr lang="en-US" sz="1463" b="1" dirty="0" err="1">
                <a:solidFill>
                  <a:prstClr val="black"/>
                </a:solidFill>
                <a:latin typeface="Calibri" panose="020F0502020204030204"/>
              </a:rPr>
              <a:t>ada</a:t>
            </a:r>
            <a:r>
              <a:rPr lang="en-US" sz="1463" b="1" dirty="0">
                <a:solidFill>
                  <a:prstClr val="black"/>
                </a:solidFill>
                <a:latin typeface="Calibri" panose="020F0502020204030204"/>
              </a:rPr>
              <a:t> pada SKK”</a:t>
            </a:r>
            <a:endParaRPr lang="en-ID" sz="1463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Arrow: Striped Right 17">
            <a:extLst>
              <a:ext uri="{FF2B5EF4-FFF2-40B4-BE49-F238E27FC236}">
                <a16:creationId xmlns:a16="http://schemas.microsoft.com/office/drawing/2014/main" id="{403EA851-F7C5-7E10-A8A6-E486D2FD9146}"/>
              </a:ext>
            </a:extLst>
          </p:cNvPr>
          <p:cNvSpPr/>
          <p:nvPr/>
        </p:nvSpPr>
        <p:spPr>
          <a:xfrm>
            <a:off x="6700096" y="4687650"/>
            <a:ext cx="389642" cy="541062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ID" sz="146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1C16245-03E2-9EB3-62D9-8EFA192CC6FD}"/>
              </a:ext>
            </a:extLst>
          </p:cNvPr>
          <p:cNvSpPr txBox="1"/>
          <p:nvPr/>
        </p:nvSpPr>
        <p:spPr>
          <a:xfrm>
            <a:off x="3230399" y="359053"/>
            <a:ext cx="6242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Scan QR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terbita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sebelum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dan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sesudah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tahu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2022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3C933751-4176-8CB0-F211-5068378A4A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7481" y="991024"/>
            <a:ext cx="1722615" cy="219220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767A2A-0D46-FB15-EF06-BC7C87472E5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2938"/>
          <a:stretch/>
        </p:blipFill>
        <p:spPr>
          <a:xfrm>
            <a:off x="7662808" y="1026642"/>
            <a:ext cx="3163253" cy="665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1985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07CEE90-D252-D6D8-E25A-7A3FEB570470}"/>
              </a:ext>
            </a:extLst>
          </p:cNvPr>
          <p:cNvSpPr txBox="1"/>
          <p:nvPr/>
        </p:nvSpPr>
        <p:spPr>
          <a:xfrm>
            <a:off x="607274" y="133541"/>
            <a:ext cx="8050694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85834">
              <a:defRPr/>
            </a:pPr>
            <a:r>
              <a:rPr lang="fi-FI" altLang="ko-KR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charset="0"/>
                <a:ea typeface="DM Sans" charset="0"/>
                <a:cs typeface="DM Sans" charset="0"/>
              </a:rPr>
              <a:t>PERAN LPJK DALAM RANGKA OTOMATISASI VERIFIKASI SERTIFIKAT STANDAR</a:t>
            </a:r>
            <a:endParaRPr lang="fi-FI" altLang="ko-KR" sz="28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M Sans" charset="0"/>
              <a:ea typeface="DM Sans" charset="0"/>
              <a:cs typeface="DM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9F498F-0C11-849D-C05B-106ABDEBD0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274" y="1437481"/>
            <a:ext cx="3151926" cy="383874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8FA6268-4806-1EC7-941A-30FBF577FE6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7101" t="8615" r="28005" b="10168"/>
          <a:stretch/>
        </p:blipFill>
        <p:spPr>
          <a:xfrm>
            <a:off x="6966336" y="988785"/>
            <a:ext cx="3701664" cy="362936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86C1379-D68F-2079-40EE-C929DAADD037}"/>
              </a:ext>
            </a:extLst>
          </p:cNvPr>
          <p:cNvSpPr txBox="1"/>
          <p:nvPr/>
        </p:nvSpPr>
        <p:spPr>
          <a:xfrm>
            <a:off x="3759201" y="1496538"/>
            <a:ext cx="38717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Jika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seluruh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data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tidak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sesuai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,</a:t>
            </a:r>
          </a:p>
          <a:p>
            <a:pPr defTabSz="914446"/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Pastikan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Kembali :</a:t>
            </a:r>
          </a:p>
          <a:p>
            <a:pPr marL="285764" indent="-285764" defTabSz="914446">
              <a:buFontTx/>
              <a:buChar char="-"/>
            </a:pP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telah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terbit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SBU KBLI 2020 </a:t>
            </a:r>
          </a:p>
          <a:p>
            <a:pPr marL="285764" indent="-285764" defTabSz="914446">
              <a:buFontTx/>
              <a:buChar char="-"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no UMKU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sesuai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KBLI</a:t>
            </a:r>
          </a:p>
          <a:p>
            <a:pPr marL="285764" indent="-285764" defTabSz="914446">
              <a:buFontTx/>
              <a:buChar char="-"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KBLI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permohonan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SS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sesuai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KBLI SBU</a:t>
            </a:r>
          </a:p>
          <a:p>
            <a:pPr marL="285764" indent="-285764" defTabSz="914446">
              <a:buFontTx/>
              <a:buChar char="-"/>
            </a:pP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Sesuai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data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perusahaan</a:t>
            </a:r>
            <a:endParaRPr lang="en-US" sz="14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F3E98E-6300-A5ED-19EA-EA7A8602838A}"/>
              </a:ext>
            </a:extLst>
          </p:cNvPr>
          <p:cNvSpPr txBox="1"/>
          <p:nvPr/>
        </p:nvSpPr>
        <p:spPr>
          <a:xfrm>
            <a:off x="6966337" y="4726250"/>
            <a:ext cx="498676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Jika data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keabsahan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SBU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tidak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sesuai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,</a:t>
            </a:r>
          </a:p>
          <a:p>
            <a:pPr defTabSz="914446"/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Pastikan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Kembali :</a:t>
            </a:r>
          </a:p>
          <a:p>
            <a:pPr marL="285764" indent="-285764" defTabSz="914446">
              <a:buFontTx/>
              <a:buChar char="-"/>
            </a:pP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telah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terbit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SBU KBLI 2020 dan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masih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berlaku</a:t>
            </a:r>
            <a:endParaRPr lang="en-US" sz="1400" dirty="0">
              <a:solidFill>
                <a:prstClr val="black"/>
              </a:solidFill>
              <a:latin typeface="Calibri" panose="020F0502020204030204"/>
            </a:endParaRPr>
          </a:p>
          <a:p>
            <a:pPr marL="285764" indent="-285764" defTabSz="914446">
              <a:buFontTx/>
              <a:buChar char="-"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QR pada SBU status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sah</a:t>
            </a:r>
            <a:endParaRPr lang="en-US" sz="1400" dirty="0">
              <a:solidFill>
                <a:prstClr val="black"/>
              </a:solidFill>
              <a:latin typeface="Calibri" panose="020F0502020204030204"/>
            </a:endParaRPr>
          </a:p>
          <a:p>
            <a:pPr marL="285764" indent="-285764" defTabSz="914446">
              <a:buFontTx/>
              <a:buChar char="-"/>
            </a:pPr>
            <a:endParaRPr lang="en-US" sz="140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46"/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Dalam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hal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SBU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masih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aktif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tapi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QR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tidak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sah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maka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lakukan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pembaharuan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QR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dengan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permohonan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 non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asesmen</a:t>
            </a:r>
            <a:endParaRPr lang="en-US" sz="1400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60C690-DF50-3BE1-3241-154CCA6929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66" y="6817663"/>
            <a:ext cx="12192000" cy="50537"/>
          </a:xfrm>
          <a:prstGeom prst="rect">
            <a:avLst/>
          </a:prstGeom>
        </p:spPr>
      </p:pic>
      <p:pic>
        <p:nvPicPr>
          <p:cNvPr id="3" name="Google Shape;94;p13">
            <a:extLst>
              <a:ext uri="{FF2B5EF4-FFF2-40B4-BE49-F238E27FC236}">
                <a16:creationId xmlns:a16="http://schemas.microsoft.com/office/drawing/2014/main" id="{D03E5BBD-A31F-65CC-28F7-858B121668B1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007600" y="93412"/>
            <a:ext cx="2097802" cy="471094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745328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848564-EF04-6201-DA29-DE9BB3E126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CE56FD8-23E8-3230-55AB-B5F645B0D1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004670"/>
            <a:ext cx="11099200" cy="5633634"/>
          </a:xfrm>
          <a:prstGeom prst="rect">
            <a:avLst/>
          </a:prstGeom>
        </p:spPr>
      </p:pic>
      <p:sp>
        <p:nvSpPr>
          <p:cNvPr id="196" name="Round Same Side Corner Rectangle 1">
            <a:extLst>
              <a:ext uri="{FF2B5EF4-FFF2-40B4-BE49-F238E27FC236}">
                <a16:creationId xmlns:a16="http://schemas.microsoft.com/office/drawing/2014/main" id="{3A9D39B4-31F0-9402-2FE3-09A0E593896D}"/>
              </a:ext>
            </a:extLst>
          </p:cNvPr>
          <p:cNvSpPr/>
          <p:nvPr/>
        </p:nvSpPr>
        <p:spPr>
          <a:xfrm rot="5400000">
            <a:off x="-329752" y="347647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7" name="Title 1">
            <a:extLst>
              <a:ext uri="{FF2B5EF4-FFF2-40B4-BE49-F238E27FC236}">
                <a16:creationId xmlns:a16="http://schemas.microsoft.com/office/drawing/2014/main" id="{A6125A8F-28FF-1C08-BC1D-B6AE07835808}"/>
              </a:ext>
            </a:extLst>
          </p:cNvPr>
          <p:cNvSpPr txBox="1">
            <a:spLocks/>
          </p:cNvSpPr>
          <p:nvPr/>
        </p:nvSpPr>
        <p:spPr>
          <a:xfrm>
            <a:off x="188202" y="-58825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PENGENAAN SANKSI BAGI SBU DAN LSB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49DDE1-A9D4-2E7E-A4B1-5088107C0C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66" y="6817663"/>
            <a:ext cx="12192000" cy="50537"/>
          </a:xfrm>
          <a:prstGeom prst="rect">
            <a:avLst/>
          </a:prstGeom>
        </p:spPr>
      </p:pic>
      <p:pic>
        <p:nvPicPr>
          <p:cNvPr id="2" name="Google Shape;94;p13">
            <a:extLst>
              <a:ext uri="{FF2B5EF4-FFF2-40B4-BE49-F238E27FC236}">
                <a16:creationId xmlns:a16="http://schemas.microsoft.com/office/drawing/2014/main" id="{01E4DBDA-AE3E-212F-8BAE-8885455135FF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007600" y="93412"/>
            <a:ext cx="2097802" cy="471094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9849F33-5123-815F-F1C7-2002C3B692FF}"/>
              </a:ext>
            </a:extLst>
          </p:cNvPr>
          <p:cNvSpPr txBox="1"/>
          <p:nvPr/>
        </p:nvSpPr>
        <p:spPr>
          <a:xfrm>
            <a:off x="355600" y="454125"/>
            <a:ext cx="612098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d-ID" sz="1200" u="sng" dirty="0">
                <a:solidFill>
                  <a:srgbClr val="0000FF"/>
                </a:solidFill>
                <a:latin typeface="Arial" panose="020B0604020202020204" pitchFamily="34" charset="0"/>
                <a:ea typeface="Arial" panose="020B0604020202020204" pitchFamily="34" charset="0"/>
                <a:hlinkClick r:id="rId6"/>
              </a:rPr>
              <a:t>https://lpjk.pu.go.id/laporan-lpjk/ketidaksesuaian-persyaratan</a:t>
            </a:r>
            <a:r>
              <a:rPr lang="id-ID" sz="1200" dirty="0"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2B7BB5-64C8-7674-EA94-959156964E6F}"/>
              </a:ext>
            </a:extLst>
          </p:cNvPr>
          <p:cNvSpPr txBox="1"/>
          <p:nvPr/>
        </p:nvSpPr>
        <p:spPr>
          <a:xfrm>
            <a:off x="8637535" y="1025187"/>
            <a:ext cx="981465" cy="584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dirty="0"/>
              <a:t>15 </a:t>
            </a:r>
            <a:r>
              <a:rPr lang="en-US" sz="1067" b="1" dirty="0"/>
              <a:t>HARI KERJA </a:t>
            </a:r>
          </a:p>
          <a:p>
            <a:r>
              <a:rPr lang="en-US" sz="1067" dirty="0" err="1"/>
              <a:t>sejak</a:t>
            </a:r>
            <a:r>
              <a:rPr lang="en-US" sz="1067" dirty="0"/>
              <a:t> </a:t>
            </a:r>
            <a:r>
              <a:rPr lang="en-US" sz="1067" dirty="0" err="1"/>
              <a:t>tayang</a:t>
            </a:r>
            <a:endParaRPr lang="en-US" sz="1067" dirty="0"/>
          </a:p>
        </p:txBody>
      </p:sp>
      <p:sp>
        <p:nvSpPr>
          <p:cNvPr id="10" name="Callout: Bent Line 9">
            <a:extLst>
              <a:ext uri="{FF2B5EF4-FFF2-40B4-BE49-F238E27FC236}">
                <a16:creationId xmlns:a16="http://schemas.microsoft.com/office/drawing/2014/main" id="{38519568-91EC-8185-CF89-FAC81C41B010}"/>
              </a:ext>
            </a:extLst>
          </p:cNvPr>
          <p:cNvSpPr/>
          <p:nvPr/>
        </p:nvSpPr>
        <p:spPr>
          <a:xfrm>
            <a:off x="8637535" y="1004670"/>
            <a:ext cx="912865" cy="43088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55945"/>
              <a:gd name="adj6" fmla="val -41603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7" name="Callout: Bent Line 16">
            <a:extLst>
              <a:ext uri="{FF2B5EF4-FFF2-40B4-BE49-F238E27FC236}">
                <a16:creationId xmlns:a16="http://schemas.microsoft.com/office/drawing/2014/main" id="{87353F0E-EC36-CEB8-F68B-AB7B57FA1222}"/>
              </a:ext>
            </a:extLst>
          </p:cNvPr>
          <p:cNvSpPr/>
          <p:nvPr/>
        </p:nvSpPr>
        <p:spPr>
          <a:xfrm>
            <a:off x="10210800" y="1025188"/>
            <a:ext cx="981465" cy="43088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55945"/>
              <a:gd name="adj6" fmla="val -41603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96B7C89-3A1F-BCC6-93A5-9C52AE8134FC}"/>
              </a:ext>
            </a:extLst>
          </p:cNvPr>
          <p:cNvSpPr txBox="1"/>
          <p:nvPr/>
        </p:nvSpPr>
        <p:spPr>
          <a:xfrm>
            <a:off x="10219167" y="1025187"/>
            <a:ext cx="1083184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dirty="0"/>
              <a:t>15 </a:t>
            </a:r>
            <a:r>
              <a:rPr lang="en-US" sz="1067" b="1" dirty="0"/>
              <a:t>HARI KERJA </a:t>
            </a:r>
          </a:p>
          <a:p>
            <a:r>
              <a:rPr lang="en-US" sz="1067" dirty="0" err="1"/>
              <a:t>sejak</a:t>
            </a:r>
            <a:r>
              <a:rPr lang="en-US" sz="1067" dirty="0"/>
              <a:t> </a:t>
            </a:r>
            <a:r>
              <a:rPr lang="en-US" sz="1067" dirty="0" err="1"/>
              <a:t>dibekukan</a:t>
            </a:r>
            <a:endParaRPr lang="en-US" sz="1067" dirty="0"/>
          </a:p>
        </p:txBody>
      </p:sp>
    </p:spTree>
    <p:extLst>
      <p:ext uri="{BB962C8B-B14F-4D97-AF65-F5344CB8AC3E}">
        <p14:creationId xmlns:p14="http://schemas.microsoft.com/office/powerpoint/2010/main" val="10013330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ADA4AA-18FE-1F98-6EC4-9390414DC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697B79D-CC0C-9A3E-4CD5-3232AFDBF255}"/>
              </a:ext>
            </a:extLst>
          </p:cNvPr>
          <p:cNvSpPr txBox="1"/>
          <p:nvPr/>
        </p:nvSpPr>
        <p:spPr>
          <a:xfrm>
            <a:off x="337773" y="175486"/>
            <a:ext cx="9387139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ko-KR" sz="4000" b="1" i="0" u="none" strike="noStrike" kern="1200" cap="none" spc="0" normalizeH="0" baseline="0" noProof="0" dirty="0">
                <a:ln>
                  <a:noFill/>
                </a:ln>
                <a:solidFill>
                  <a:srgbClr val="394C79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rPr>
              <a:t>AKSES SIJKT* UNTUK PEMERINTAH DAERAH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E0CFA8-1678-3447-177C-8749B82B1DFF}"/>
              </a:ext>
            </a:extLst>
          </p:cNvPr>
          <p:cNvSpPr/>
          <p:nvPr/>
        </p:nvSpPr>
        <p:spPr>
          <a:xfrm>
            <a:off x="1439694" y="6245819"/>
            <a:ext cx="10752158" cy="612181"/>
          </a:xfrm>
          <a:prstGeom prst="rect">
            <a:avLst/>
          </a:prstGeom>
          <a:solidFill>
            <a:srgbClr val="3A4C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oogle Shape;94;p13">
            <a:extLst>
              <a:ext uri="{FF2B5EF4-FFF2-40B4-BE49-F238E27FC236}">
                <a16:creationId xmlns:a16="http://schemas.microsoft.com/office/drawing/2014/main" id="{D93894C3-72C0-570B-238C-565DD9E56A3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07072C3-A40D-FF5E-A9BC-B17997363E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1116" y="1506612"/>
            <a:ext cx="2321915" cy="81449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C5AE396-FE69-B203-A626-428960DDB268}"/>
              </a:ext>
            </a:extLst>
          </p:cNvPr>
          <p:cNvSpPr txBox="1"/>
          <p:nvPr/>
        </p:nvSpPr>
        <p:spPr>
          <a:xfrm>
            <a:off x="1531116" y="2285740"/>
            <a:ext cx="24291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encatatan</a:t>
            </a:r>
            <a:r>
              <a:rPr lang="en-US" dirty="0"/>
              <a:t> </a:t>
            </a:r>
            <a:r>
              <a:rPr lang="en-US" dirty="0" err="1"/>
              <a:t>Pengalaman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F29203-9A08-E311-8897-FE67077D0D78}"/>
              </a:ext>
            </a:extLst>
          </p:cNvPr>
          <p:cNvSpPr txBox="1"/>
          <p:nvPr/>
        </p:nvSpPr>
        <p:spPr>
          <a:xfrm>
            <a:off x="1531116" y="3577345"/>
            <a:ext cx="28680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encatatan</a:t>
            </a:r>
            <a:r>
              <a:rPr lang="en-US" dirty="0"/>
              <a:t>:</a:t>
            </a:r>
          </a:p>
          <a:p>
            <a:r>
              <a:rPr lang="en-US" dirty="0"/>
              <a:t>SKK </a:t>
            </a:r>
          </a:p>
          <a:p>
            <a:r>
              <a:rPr lang="en-US" dirty="0"/>
              <a:t>SBU</a:t>
            </a:r>
          </a:p>
          <a:p>
            <a:r>
              <a:rPr lang="en-US" dirty="0"/>
              <a:t>TUK (</a:t>
            </a:r>
            <a:r>
              <a:rPr lang="en-US" dirty="0" err="1"/>
              <a:t>tempat</a:t>
            </a:r>
            <a:r>
              <a:rPr lang="en-US" dirty="0"/>
              <a:t> uji </a:t>
            </a:r>
            <a:r>
              <a:rPr lang="en-US" dirty="0" err="1"/>
              <a:t>kompetensi</a:t>
            </a:r>
            <a:r>
              <a:rPr lang="en-US" dirty="0"/>
              <a:t>)</a:t>
            </a:r>
          </a:p>
          <a:p>
            <a:r>
              <a:rPr lang="en-US" dirty="0" err="1"/>
              <a:t>Asosiasi</a:t>
            </a:r>
            <a:endParaRPr lang="en-US" dirty="0"/>
          </a:p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D224C81-8543-B245-6924-DBAB0CB7B4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1116" y="3000626"/>
            <a:ext cx="2013842" cy="547846"/>
          </a:xfrm>
          <a:prstGeom prst="rect">
            <a:avLst/>
          </a:prstGeom>
        </p:spPr>
      </p:pic>
      <p:sp>
        <p:nvSpPr>
          <p:cNvPr id="17" name="Speech Bubble: Rectangle with Corners Rounded 16">
            <a:extLst>
              <a:ext uri="{FF2B5EF4-FFF2-40B4-BE49-F238E27FC236}">
                <a16:creationId xmlns:a16="http://schemas.microsoft.com/office/drawing/2014/main" id="{BA173B9C-8003-226B-E59E-E6A5997ECE5B}"/>
              </a:ext>
            </a:extLst>
          </p:cNvPr>
          <p:cNvSpPr/>
          <p:nvPr/>
        </p:nvSpPr>
        <p:spPr>
          <a:xfrm rot="10800000">
            <a:off x="5532349" y="2321106"/>
            <a:ext cx="5920571" cy="2215724"/>
          </a:xfrm>
          <a:prstGeom prst="wedgeRoundRectCallou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2B3556-D6BC-B623-7222-CB9F9FC81CEE}"/>
              </a:ext>
            </a:extLst>
          </p:cNvPr>
          <p:cNvSpPr txBox="1"/>
          <p:nvPr/>
        </p:nvSpPr>
        <p:spPr>
          <a:xfrm>
            <a:off x="5686681" y="2467581"/>
            <a:ext cx="561190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Dalam Rangka </a:t>
            </a:r>
            <a:r>
              <a:rPr lang="en-US" sz="2800" b="1" dirty="0" err="1">
                <a:solidFill>
                  <a:schemeClr val="bg1"/>
                </a:solidFill>
              </a:rPr>
              <a:t>Pembinaan</a:t>
            </a:r>
            <a:r>
              <a:rPr lang="en-US" sz="2800" b="1" dirty="0">
                <a:solidFill>
                  <a:schemeClr val="bg1"/>
                </a:solidFill>
              </a:rPr>
              <a:t> dan </a:t>
            </a:r>
            <a:r>
              <a:rPr lang="en-US" sz="2800" b="1" dirty="0" err="1">
                <a:solidFill>
                  <a:schemeClr val="bg1"/>
                </a:solidFill>
              </a:rPr>
              <a:t>Pengawasan</a:t>
            </a:r>
            <a:r>
              <a:rPr lang="en-US" sz="2800" b="1" dirty="0">
                <a:solidFill>
                  <a:schemeClr val="bg1"/>
                </a:solidFill>
              </a:rPr>
              <a:t> Jasa </a:t>
            </a:r>
            <a:r>
              <a:rPr lang="en-US" sz="2800" b="1" dirty="0" err="1">
                <a:solidFill>
                  <a:schemeClr val="bg1"/>
                </a:solidFill>
              </a:rPr>
              <a:t>Konstruksi</a:t>
            </a:r>
            <a:r>
              <a:rPr lang="en-US" sz="2800" b="1" dirty="0">
                <a:solidFill>
                  <a:schemeClr val="bg1"/>
                </a:solidFill>
              </a:rPr>
              <a:t> di Daerah, </a:t>
            </a:r>
            <a:r>
              <a:rPr lang="en-US" sz="2800" b="1" dirty="0" err="1">
                <a:solidFill>
                  <a:schemeClr val="bg1"/>
                </a:solidFill>
              </a:rPr>
              <a:t>perlu</a:t>
            </a:r>
            <a:r>
              <a:rPr lang="en-US" sz="2800" b="1" dirty="0">
                <a:solidFill>
                  <a:schemeClr val="bg1"/>
                </a:solidFill>
              </a:rPr>
              <a:t> </a:t>
            </a:r>
            <a:r>
              <a:rPr lang="en-US" sz="2800" b="1" dirty="0" err="1">
                <a:solidFill>
                  <a:schemeClr val="bg1"/>
                </a:solidFill>
              </a:rPr>
              <a:t>integrasi</a:t>
            </a:r>
            <a:r>
              <a:rPr lang="en-US" sz="2800" b="1" dirty="0">
                <a:solidFill>
                  <a:schemeClr val="bg1"/>
                </a:solidFill>
              </a:rPr>
              <a:t> data </a:t>
            </a:r>
            <a:r>
              <a:rPr lang="en-US" sz="2800" b="1" dirty="0" err="1">
                <a:solidFill>
                  <a:schemeClr val="bg1"/>
                </a:solidFill>
              </a:rPr>
              <a:t>dengan</a:t>
            </a:r>
            <a:r>
              <a:rPr lang="en-US" sz="2800" b="1" dirty="0">
                <a:solidFill>
                  <a:schemeClr val="bg1"/>
                </a:solidFill>
              </a:rPr>
              <a:t> </a:t>
            </a:r>
            <a:r>
              <a:rPr lang="en-US" sz="2800" b="1" dirty="0" err="1">
                <a:solidFill>
                  <a:schemeClr val="bg1"/>
                </a:solidFill>
              </a:rPr>
              <a:t>Pemerintah</a:t>
            </a:r>
            <a:r>
              <a:rPr lang="en-US" sz="2800" b="1" dirty="0">
                <a:solidFill>
                  <a:schemeClr val="bg1"/>
                </a:solidFill>
              </a:rPr>
              <a:t> Pusa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F20E91E-54EA-B867-0B30-DD3784A581ED}"/>
              </a:ext>
            </a:extLst>
          </p:cNvPr>
          <p:cNvSpPr/>
          <p:nvPr/>
        </p:nvSpPr>
        <p:spPr>
          <a:xfrm>
            <a:off x="0" y="5622579"/>
            <a:ext cx="1439694" cy="1249894"/>
          </a:xfrm>
          <a:prstGeom prst="rect">
            <a:avLst/>
          </a:prstGeom>
          <a:solidFill>
            <a:srgbClr val="FAC72D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161E93A-088A-B12A-4140-B0813D0103B5}"/>
              </a:ext>
            </a:extLst>
          </p:cNvPr>
          <p:cNvSpPr txBox="1"/>
          <p:nvPr/>
        </p:nvSpPr>
        <p:spPr>
          <a:xfrm>
            <a:off x="1327172" y="1064043"/>
            <a:ext cx="6143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nb-NO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394C79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Arial" pitchFamily="34" charset="0"/>
              </a:rPr>
              <a:t>* Layanan LPJ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661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outdoor, mountain, bridge&#10;&#10;Description automatically generated">
            <a:extLst>
              <a:ext uri="{FF2B5EF4-FFF2-40B4-BE49-F238E27FC236}">
                <a16:creationId xmlns:a16="http://schemas.microsoft.com/office/drawing/2014/main" id="{640327A5-DCB8-45D8-AA48-89DCF7070FF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09231" cy="6858000"/>
          </a:xfrm>
          <a:prstGeom prst="rect">
            <a:avLst/>
          </a:prstGeom>
        </p:spPr>
      </p:pic>
      <p:grpSp>
        <p:nvGrpSpPr>
          <p:cNvPr id="4" name="object 3">
            <a:extLst>
              <a:ext uri="{FF2B5EF4-FFF2-40B4-BE49-F238E27FC236}">
                <a16:creationId xmlns:a16="http://schemas.microsoft.com/office/drawing/2014/main" id="{713CCFD0-82D0-4BFB-8F77-A8154385334C}"/>
              </a:ext>
            </a:extLst>
          </p:cNvPr>
          <p:cNvGrpSpPr/>
          <p:nvPr/>
        </p:nvGrpSpPr>
        <p:grpSpPr>
          <a:xfrm>
            <a:off x="0" y="4168288"/>
            <a:ext cx="10239375" cy="622935"/>
            <a:chOff x="0" y="3177688"/>
            <a:chExt cx="6176645" cy="622935"/>
          </a:xfrm>
          <a:solidFill>
            <a:schemeClr val="bg1">
              <a:lumMod val="85000"/>
            </a:schemeClr>
          </a:solidFill>
        </p:grpSpPr>
        <p:sp>
          <p:nvSpPr>
            <p:cNvPr id="5" name="object 4">
              <a:extLst>
                <a:ext uri="{FF2B5EF4-FFF2-40B4-BE49-F238E27FC236}">
                  <a16:creationId xmlns:a16="http://schemas.microsoft.com/office/drawing/2014/main" id="{71484EBC-98B2-47BF-B4F3-C481E9D01E73}"/>
                </a:ext>
              </a:extLst>
            </p:cNvPr>
            <p:cNvSpPr/>
            <p:nvPr/>
          </p:nvSpPr>
          <p:spPr>
            <a:xfrm>
              <a:off x="0" y="3177688"/>
              <a:ext cx="6176645" cy="622935"/>
            </a:xfrm>
            <a:custGeom>
              <a:avLst/>
              <a:gdLst/>
              <a:ahLst/>
              <a:cxnLst/>
              <a:rect l="l" t="t" r="r" b="b"/>
              <a:pathLst>
                <a:path w="6176645" h="622935">
                  <a:moveTo>
                    <a:pt x="6176209" y="0"/>
                  </a:moveTo>
                  <a:lnTo>
                    <a:pt x="0" y="0"/>
                  </a:lnTo>
                  <a:lnTo>
                    <a:pt x="0" y="622836"/>
                  </a:lnTo>
                  <a:lnTo>
                    <a:pt x="6176209" y="622836"/>
                  </a:lnTo>
                  <a:lnTo>
                    <a:pt x="6176209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" name="object 5">
              <a:extLst>
                <a:ext uri="{FF2B5EF4-FFF2-40B4-BE49-F238E27FC236}">
                  <a16:creationId xmlns:a16="http://schemas.microsoft.com/office/drawing/2014/main" id="{58E9C3F5-6DFF-4527-8661-0C1169566C0A}"/>
                </a:ext>
              </a:extLst>
            </p:cNvPr>
            <p:cNvSpPr/>
            <p:nvPr/>
          </p:nvSpPr>
          <p:spPr>
            <a:xfrm>
              <a:off x="4334091" y="3522471"/>
              <a:ext cx="1092200" cy="26670"/>
            </a:xfrm>
            <a:custGeom>
              <a:avLst/>
              <a:gdLst/>
              <a:ahLst/>
              <a:cxnLst/>
              <a:rect l="l" t="t" r="r" b="b"/>
              <a:pathLst>
                <a:path w="1092200" h="26670">
                  <a:moveTo>
                    <a:pt x="1028700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1028700" y="12700"/>
                  </a:lnTo>
                  <a:lnTo>
                    <a:pt x="1028700" y="0"/>
                  </a:lnTo>
                  <a:close/>
                </a:path>
                <a:path w="1092200" h="26670">
                  <a:moveTo>
                    <a:pt x="1092200" y="13690"/>
                  </a:moveTo>
                  <a:lnTo>
                    <a:pt x="50800" y="13690"/>
                  </a:lnTo>
                  <a:lnTo>
                    <a:pt x="50800" y="26390"/>
                  </a:lnTo>
                  <a:lnTo>
                    <a:pt x="1092200" y="26390"/>
                  </a:lnTo>
                  <a:lnTo>
                    <a:pt x="1092200" y="1369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9">
            <a:extLst>
              <a:ext uri="{FF2B5EF4-FFF2-40B4-BE49-F238E27FC236}">
                <a16:creationId xmlns:a16="http://schemas.microsoft.com/office/drawing/2014/main" id="{0B70DF76-49A2-46F8-812E-CF45EAFD78DA}"/>
              </a:ext>
            </a:extLst>
          </p:cNvPr>
          <p:cNvSpPr/>
          <p:nvPr/>
        </p:nvSpPr>
        <p:spPr>
          <a:xfrm>
            <a:off x="677" y="4916245"/>
            <a:ext cx="9314773" cy="1378585"/>
          </a:xfrm>
          <a:custGeom>
            <a:avLst/>
            <a:gdLst/>
            <a:ahLst/>
            <a:cxnLst/>
            <a:rect l="l" t="t" r="r" b="b"/>
            <a:pathLst>
              <a:path w="6664325" h="1378585">
                <a:moveTo>
                  <a:pt x="6664312" y="0"/>
                </a:moveTo>
                <a:lnTo>
                  <a:pt x="0" y="0"/>
                </a:lnTo>
                <a:lnTo>
                  <a:pt x="0" y="1378380"/>
                </a:lnTo>
                <a:lnTo>
                  <a:pt x="6664312" y="1378380"/>
                </a:lnTo>
                <a:lnTo>
                  <a:pt x="666431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21">
            <a:extLst>
              <a:ext uri="{FF2B5EF4-FFF2-40B4-BE49-F238E27FC236}">
                <a16:creationId xmlns:a16="http://schemas.microsoft.com/office/drawing/2014/main" id="{8A0CD29C-13F9-47B7-887B-D437DA797B4C}"/>
              </a:ext>
            </a:extLst>
          </p:cNvPr>
          <p:cNvSpPr/>
          <p:nvPr/>
        </p:nvSpPr>
        <p:spPr>
          <a:xfrm>
            <a:off x="6798765" y="3926990"/>
            <a:ext cx="5393235" cy="2531745"/>
          </a:xfrm>
          <a:custGeom>
            <a:avLst/>
            <a:gdLst/>
            <a:ahLst/>
            <a:cxnLst/>
            <a:rect l="l" t="t" r="r" b="b"/>
            <a:pathLst>
              <a:path w="5447665" h="2531745">
                <a:moveTo>
                  <a:pt x="5447464" y="0"/>
                </a:moveTo>
                <a:lnTo>
                  <a:pt x="1263650" y="0"/>
                </a:lnTo>
                <a:lnTo>
                  <a:pt x="1215177" y="911"/>
                </a:lnTo>
                <a:lnTo>
                  <a:pt x="1167170" y="3627"/>
                </a:lnTo>
                <a:lnTo>
                  <a:pt x="1119656" y="8114"/>
                </a:lnTo>
                <a:lnTo>
                  <a:pt x="1072668" y="14337"/>
                </a:lnTo>
                <a:lnTo>
                  <a:pt x="1026242" y="22265"/>
                </a:lnTo>
                <a:lnTo>
                  <a:pt x="980406" y="31866"/>
                </a:lnTo>
                <a:lnTo>
                  <a:pt x="935197" y="43108"/>
                </a:lnTo>
                <a:lnTo>
                  <a:pt x="890644" y="55956"/>
                </a:lnTo>
                <a:lnTo>
                  <a:pt x="846782" y="70377"/>
                </a:lnTo>
                <a:lnTo>
                  <a:pt x="803647" y="86340"/>
                </a:lnTo>
                <a:lnTo>
                  <a:pt x="761262" y="103812"/>
                </a:lnTo>
                <a:lnTo>
                  <a:pt x="719668" y="122762"/>
                </a:lnTo>
                <a:lnTo>
                  <a:pt x="678896" y="143151"/>
                </a:lnTo>
                <a:lnTo>
                  <a:pt x="638977" y="164952"/>
                </a:lnTo>
                <a:lnTo>
                  <a:pt x="599948" y="188132"/>
                </a:lnTo>
                <a:lnTo>
                  <a:pt x="561834" y="212656"/>
                </a:lnTo>
                <a:lnTo>
                  <a:pt x="524675" y="238493"/>
                </a:lnTo>
                <a:lnTo>
                  <a:pt x="488500" y="265609"/>
                </a:lnTo>
                <a:lnTo>
                  <a:pt x="453343" y="293971"/>
                </a:lnTo>
                <a:lnTo>
                  <a:pt x="419237" y="323549"/>
                </a:lnTo>
                <a:lnTo>
                  <a:pt x="386213" y="354307"/>
                </a:lnTo>
                <a:lnTo>
                  <a:pt x="354307" y="386214"/>
                </a:lnTo>
                <a:lnTo>
                  <a:pt x="323549" y="419238"/>
                </a:lnTo>
                <a:lnTo>
                  <a:pt x="293970" y="453344"/>
                </a:lnTo>
                <a:lnTo>
                  <a:pt x="265609" y="488501"/>
                </a:lnTo>
                <a:lnTo>
                  <a:pt x="238492" y="524675"/>
                </a:lnTo>
                <a:lnTo>
                  <a:pt x="212655" y="561835"/>
                </a:lnTo>
                <a:lnTo>
                  <a:pt x="188131" y="599948"/>
                </a:lnTo>
                <a:lnTo>
                  <a:pt x="164952" y="638977"/>
                </a:lnTo>
                <a:lnTo>
                  <a:pt x="143150" y="678897"/>
                </a:lnTo>
                <a:lnTo>
                  <a:pt x="122759" y="719669"/>
                </a:lnTo>
                <a:lnTo>
                  <a:pt x="103811" y="761263"/>
                </a:lnTo>
                <a:lnTo>
                  <a:pt x="86339" y="803645"/>
                </a:lnTo>
                <a:lnTo>
                  <a:pt x="70377" y="846783"/>
                </a:lnTo>
                <a:lnTo>
                  <a:pt x="55954" y="890645"/>
                </a:lnTo>
                <a:lnTo>
                  <a:pt x="43107" y="935198"/>
                </a:lnTo>
                <a:lnTo>
                  <a:pt x="31868" y="980408"/>
                </a:lnTo>
                <a:lnTo>
                  <a:pt x="22265" y="1026243"/>
                </a:lnTo>
                <a:lnTo>
                  <a:pt x="14337" y="1072669"/>
                </a:lnTo>
                <a:lnTo>
                  <a:pt x="8114" y="1119657"/>
                </a:lnTo>
                <a:lnTo>
                  <a:pt x="3627" y="1167170"/>
                </a:lnTo>
                <a:lnTo>
                  <a:pt x="910" y="1215179"/>
                </a:lnTo>
                <a:lnTo>
                  <a:pt x="0" y="1263650"/>
                </a:lnTo>
                <a:lnTo>
                  <a:pt x="910" y="1312120"/>
                </a:lnTo>
                <a:lnTo>
                  <a:pt x="3627" y="1360129"/>
                </a:lnTo>
                <a:lnTo>
                  <a:pt x="8114" y="1407643"/>
                </a:lnTo>
                <a:lnTo>
                  <a:pt x="14337" y="1454632"/>
                </a:lnTo>
                <a:lnTo>
                  <a:pt x="22265" y="1501061"/>
                </a:lnTo>
                <a:lnTo>
                  <a:pt x="31868" y="1546896"/>
                </a:lnTo>
                <a:lnTo>
                  <a:pt x="43107" y="1592108"/>
                </a:lnTo>
                <a:lnTo>
                  <a:pt x="55954" y="1636661"/>
                </a:lnTo>
                <a:lnTo>
                  <a:pt x="70377" y="1680523"/>
                </a:lnTo>
                <a:lnTo>
                  <a:pt x="86339" y="1723661"/>
                </a:lnTo>
                <a:lnTo>
                  <a:pt x="103811" y="1766045"/>
                </a:lnTo>
                <a:lnTo>
                  <a:pt x="122759" y="1807639"/>
                </a:lnTo>
                <a:lnTo>
                  <a:pt x="143150" y="1848412"/>
                </a:lnTo>
                <a:lnTo>
                  <a:pt x="164952" y="1888329"/>
                </a:lnTo>
                <a:lnTo>
                  <a:pt x="188131" y="1927360"/>
                </a:lnTo>
                <a:lnTo>
                  <a:pt x="212655" y="1965473"/>
                </a:lnTo>
                <a:lnTo>
                  <a:pt x="238492" y="2002633"/>
                </a:lnTo>
                <a:lnTo>
                  <a:pt x="265609" y="2038807"/>
                </a:lnTo>
                <a:lnTo>
                  <a:pt x="293970" y="2073964"/>
                </a:lnTo>
                <a:lnTo>
                  <a:pt x="323549" y="2108070"/>
                </a:lnTo>
                <a:lnTo>
                  <a:pt x="354307" y="2141092"/>
                </a:lnTo>
                <a:lnTo>
                  <a:pt x="386213" y="2172999"/>
                </a:lnTo>
                <a:lnTo>
                  <a:pt x="419237" y="2203757"/>
                </a:lnTo>
                <a:lnTo>
                  <a:pt x="453343" y="2233334"/>
                </a:lnTo>
                <a:lnTo>
                  <a:pt x="488500" y="2261696"/>
                </a:lnTo>
                <a:lnTo>
                  <a:pt x="524675" y="2288812"/>
                </a:lnTo>
                <a:lnTo>
                  <a:pt x="561834" y="2314648"/>
                </a:lnTo>
                <a:lnTo>
                  <a:pt x="599948" y="2339171"/>
                </a:lnTo>
                <a:lnTo>
                  <a:pt x="638977" y="2362350"/>
                </a:lnTo>
                <a:lnTo>
                  <a:pt x="678896" y="2384151"/>
                </a:lnTo>
                <a:lnTo>
                  <a:pt x="719668" y="2404541"/>
                </a:lnTo>
                <a:lnTo>
                  <a:pt x="761262" y="2423488"/>
                </a:lnTo>
                <a:lnTo>
                  <a:pt x="803647" y="2440960"/>
                </a:lnTo>
                <a:lnTo>
                  <a:pt x="846782" y="2456922"/>
                </a:lnTo>
                <a:lnTo>
                  <a:pt x="890644" y="2471344"/>
                </a:lnTo>
                <a:lnTo>
                  <a:pt x="935197" y="2484191"/>
                </a:lnTo>
                <a:lnTo>
                  <a:pt x="980406" y="2495431"/>
                </a:lnTo>
                <a:lnTo>
                  <a:pt x="1026242" y="2505032"/>
                </a:lnTo>
                <a:lnTo>
                  <a:pt x="1072668" y="2512961"/>
                </a:lnTo>
                <a:lnTo>
                  <a:pt x="1119656" y="2519184"/>
                </a:lnTo>
                <a:lnTo>
                  <a:pt x="1167170" y="2523670"/>
                </a:lnTo>
                <a:lnTo>
                  <a:pt x="1215177" y="2526386"/>
                </a:lnTo>
                <a:lnTo>
                  <a:pt x="1263650" y="2527299"/>
                </a:lnTo>
                <a:lnTo>
                  <a:pt x="1263650" y="2531540"/>
                </a:lnTo>
                <a:lnTo>
                  <a:pt x="5447464" y="2531540"/>
                </a:lnTo>
                <a:lnTo>
                  <a:pt x="5447464" y="0"/>
                </a:lnTo>
                <a:close/>
              </a:path>
            </a:pathLst>
          </a:custGeom>
          <a:solidFill>
            <a:srgbClr val="1D2F58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Gambar 9">
            <a:extLst>
              <a:ext uri="{FF2B5EF4-FFF2-40B4-BE49-F238E27FC236}">
                <a16:creationId xmlns:a16="http://schemas.microsoft.com/office/drawing/2014/main" id="{C45FBC08-83CC-48BF-9173-5EECBB6812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37" y="4272409"/>
            <a:ext cx="416414" cy="385682"/>
          </a:xfrm>
          <a:prstGeom prst="rect">
            <a:avLst/>
          </a:prstGeom>
        </p:spPr>
      </p:pic>
      <p:pic>
        <p:nvPicPr>
          <p:cNvPr id="33" name="Gambar 32">
            <a:extLst>
              <a:ext uri="{FF2B5EF4-FFF2-40B4-BE49-F238E27FC236}">
                <a16:creationId xmlns:a16="http://schemas.microsoft.com/office/drawing/2014/main" id="{EC3772B6-48D1-425F-A4D1-068A476F1D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7888" y="5046023"/>
            <a:ext cx="480397" cy="444943"/>
          </a:xfrm>
          <a:prstGeom prst="rect">
            <a:avLst/>
          </a:prstGeom>
        </p:spPr>
      </p:pic>
      <p:pic>
        <p:nvPicPr>
          <p:cNvPr id="34" name="Gambar 33">
            <a:extLst>
              <a:ext uri="{FF2B5EF4-FFF2-40B4-BE49-F238E27FC236}">
                <a16:creationId xmlns:a16="http://schemas.microsoft.com/office/drawing/2014/main" id="{8F979399-715D-4580-9B9E-807D9F31C86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9432" y="5667880"/>
            <a:ext cx="480397" cy="444943"/>
          </a:xfrm>
          <a:prstGeom prst="rect">
            <a:avLst/>
          </a:prstGeom>
        </p:spPr>
      </p:pic>
      <p:pic>
        <p:nvPicPr>
          <p:cNvPr id="35" name="Gambar 34">
            <a:extLst>
              <a:ext uri="{FF2B5EF4-FFF2-40B4-BE49-F238E27FC236}">
                <a16:creationId xmlns:a16="http://schemas.microsoft.com/office/drawing/2014/main" id="{3DFAEB71-6442-406E-94BC-C8F58146633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8367" y="5046023"/>
            <a:ext cx="480397" cy="444943"/>
          </a:xfrm>
          <a:prstGeom prst="rect">
            <a:avLst/>
          </a:prstGeom>
        </p:spPr>
      </p:pic>
      <p:pic>
        <p:nvPicPr>
          <p:cNvPr id="37" name="Gambar 36">
            <a:extLst>
              <a:ext uri="{FF2B5EF4-FFF2-40B4-BE49-F238E27FC236}">
                <a16:creationId xmlns:a16="http://schemas.microsoft.com/office/drawing/2014/main" id="{E0AC7C62-BF16-43B3-89EA-435339FA319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90" y="5667880"/>
            <a:ext cx="480397" cy="444943"/>
          </a:xfrm>
          <a:prstGeom prst="rect">
            <a:avLst/>
          </a:prstGeom>
        </p:spPr>
      </p:pic>
      <p:sp>
        <p:nvSpPr>
          <p:cNvPr id="38" name="Kotak Teks 37">
            <a:extLst>
              <a:ext uri="{FF2B5EF4-FFF2-40B4-BE49-F238E27FC236}">
                <a16:creationId xmlns:a16="http://schemas.microsoft.com/office/drawing/2014/main" id="{B9215FC6-625D-4247-85D9-2583F78A935F}"/>
              </a:ext>
            </a:extLst>
          </p:cNvPr>
          <p:cNvSpPr txBox="1"/>
          <p:nvPr/>
        </p:nvSpPr>
        <p:spPr>
          <a:xfrm>
            <a:off x="1881308" y="5046023"/>
            <a:ext cx="16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F3368"/>
                </a:solidFill>
                <a:latin typeface="Gotham" pitchFamily="50" charset="0"/>
              </a:rPr>
              <a:t>lpjk.pu.go.id</a:t>
            </a:r>
            <a:endParaRPr lang="id-ID" dirty="0">
              <a:solidFill>
                <a:srgbClr val="1F3368"/>
              </a:solidFill>
              <a:latin typeface="Gotham" pitchFamily="50" charset="0"/>
            </a:endParaRPr>
          </a:p>
        </p:txBody>
      </p:sp>
      <p:sp>
        <p:nvSpPr>
          <p:cNvPr id="39" name="Kotak Teks 38">
            <a:extLst>
              <a:ext uri="{FF2B5EF4-FFF2-40B4-BE49-F238E27FC236}">
                <a16:creationId xmlns:a16="http://schemas.microsoft.com/office/drawing/2014/main" id="{AC82641A-CB24-45FD-99A7-653C35ECDD5D}"/>
              </a:ext>
            </a:extLst>
          </p:cNvPr>
          <p:cNvSpPr txBox="1"/>
          <p:nvPr/>
        </p:nvSpPr>
        <p:spPr>
          <a:xfrm>
            <a:off x="4047395" y="5076503"/>
            <a:ext cx="14712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F3368"/>
                </a:solidFill>
                <a:latin typeface="Gotham" pitchFamily="50" charset="0"/>
              </a:rPr>
              <a:t>PUPR.LPJK</a:t>
            </a:r>
            <a:endParaRPr lang="id-ID" dirty="0">
              <a:solidFill>
                <a:srgbClr val="1F3368"/>
              </a:solidFill>
              <a:latin typeface="Gotham" pitchFamily="50" charset="0"/>
            </a:endParaRPr>
          </a:p>
        </p:txBody>
      </p:sp>
      <p:sp>
        <p:nvSpPr>
          <p:cNvPr id="40" name="Kotak Teks 39">
            <a:extLst>
              <a:ext uri="{FF2B5EF4-FFF2-40B4-BE49-F238E27FC236}">
                <a16:creationId xmlns:a16="http://schemas.microsoft.com/office/drawing/2014/main" id="{64E84E86-6ACF-46F0-A428-425DB576048F}"/>
              </a:ext>
            </a:extLst>
          </p:cNvPr>
          <p:cNvSpPr txBox="1"/>
          <p:nvPr/>
        </p:nvSpPr>
        <p:spPr>
          <a:xfrm>
            <a:off x="1056190" y="566788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1F3368"/>
                </a:solidFill>
                <a:latin typeface="Gotham" pitchFamily="50" charset="0"/>
              </a:rPr>
              <a:t>pu_lpjk</a:t>
            </a:r>
            <a:endParaRPr lang="id-ID" dirty="0">
              <a:solidFill>
                <a:srgbClr val="1F3368"/>
              </a:solidFill>
              <a:latin typeface="Gotham" pitchFamily="50" charset="0"/>
            </a:endParaRPr>
          </a:p>
        </p:txBody>
      </p:sp>
      <p:sp>
        <p:nvSpPr>
          <p:cNvPr id="47" name="Kotak Teks 46">
            <a:extLst>
              <a:ext uri="{FF2B5EF4-FFF2-40B4-BE49-F238E27FC236}">
                <a16:creationId xmlns:a16="http://schemas.microsoft.com/office/drawing/2014/main" id="{F831556C-91E3-4580-83C9-08169AEADDFE}"/>
              </a:ext>
            </a:extLst>
          </p:cNvPr>
          <p:cNvSpPr txBox="1"/>
          <p:nvPr/>
        </p:nvSpPr>
        <p:spPr>
          <a:xfrm>
            <a:off x="7255672" y="4614838"/>
            <a:ext cx="51660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spc="-300" dirty="0">
                <a:solidFill>
                  <a:schemeClr val="bg1"/>
                </a:solidFill>
                <a:latin typeface="Gotham" pitchFamily="50" charset="0"/>
              </a:rPr>
              <a:t>TERIMA KASIH</a:t>
            </a:r>
          </a:p>
        </p:txBody>
      </p:sp>
      <p:sp>
        <p:nvSpPr>
          <p:cNvPr id="22" name="Kotak Teks 29">
            <a:extLst>
              <a:ext uri="{FF2B5EF4-FFF2-40B4-BE49-F238E27FC236}">
                <a16:creationId xmlns:a16="http://schemas.microsoft.com/office/drawing/2014/main" id="{71159609-AB77-4DE4-8408-2F0729939B17}"/>
              </a:ext>
            </a:extLst>
          </p:cNvPr>
          <p:cNvSpPr txBox="1"/>
          <p:nvPr/>
        </p:nvSpPr>
        <p:spPr>
          <a:xfrm>
            <a:off x="480407" y="4240458"/>
            <a:ext cx="36551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1F3368"/>
                </a:solidFill>
                <a:latin typeface="Gotham" pitchFamily="50" charset="0"/>
                <a:hlinkClick r:id="rId8"/>
              </a:rPr>
              <a:t>sekretariatlpjk@pu.go.id</a:t>
            </a:r>
            <a:r>
              <a:rPr lang="en-US" dirty="0">
                <a:solidFill>
                  <a:srgbClr val="1F3368"/>
                </a:solidFill>
                <a:latin typeface="Gotham" pitchFamily="50" charset="0"/>
              </a:rPr>
              <a:t> | </a:t>
            </a:r>
            <a:r>
              <a:rPr lang="en-US" sz="1600" dirty="0">
                <a:solidFill>
                  <a:srgbClr val="1F3368"/>
                </a:solidFill>
                <a:latin typeface="Gotham" pitchFamily="50" charset="0"/>
              </a:rPr>
              <a:t>(021)72789126</a:t>
            </a:r>
            <a:endParaRPr lang="id-ID" sz="1600" dirty="0">
              <a:solidFill>
                <a:srgbClr val="1F3368"/>
              </a:solidFill>
              <a:latin typeface="Gotham" pitchFamily="50" charset="0"/>
            </a:endParaRPr>
          </a:p>
          <a:p>
            <a:r>
              <a:rPr lang="en-US" dirty="0">
                <a:solidFill>
                  <a:srgbClr val="1F3368"/>
                </a:solidFill>
                <a:latin typeface="Gotham" pitchFamily="50" charset="0"/>
              </a:rPr>
              <a:t> </a:t>
            </a:r>
            <a:endParaRPr lang="id-ID" dirty="0">
              <a:solidFill>
                <a:srgbClr val="1F3368"/>
              </a:solidFill>
              <a:latin typeface="Gotham" pitchFamily="50" charset="0"/>
            </a:endParaRPr>
          </a:p>
        </p:txBody>
      </p:sp>
      <p:sp>
        <p:nvSpPr>
          <p:cNvPr id="24" name="Kotak Teks 40">
            <a:extLst>
              <a:ext uri="{FF2B5EF4-FFF2-40B4-BE49-F238E27FC236}">
                <a16:creationId xmlns:a16="http://schemas.microsoft.com/office/drawing/2014/main" id="{ECFD015C-4986-4699-B45C-58A13C8831A2}"/>
              </a:ext>
            </a:extLst>
          </p:cNvPr>
          <p:cNvSpPr txBox="1"/>
          <p:nvPr/>
        </p:nvSpPr>
        <p:spPr>
          <a:xfrm>
            <a:off x="4817158" y="5682447"/>
            <a:ext cx="960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F3368"/>
                </a:solidFill>
                <a:latin typeface="Gotham" pitchFamily="50" charset="0"/>
              </a:rPr>
              <a:t>PU_LPJK</a:t>
            </a:r>
            <a:endParaRPr lang="id-ID" dirty="0">
              <a:solidFill>
                <a:srgbClr val="1F3368"/>
              </a:solidFill>
              <a:latin typeface="Gotham" pitchFamily="50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8695" y="4290003"/>
            <a:ext cx="440050" cy="400746"/>
          </a:xfrm>
          <a:prstGeom prst="rect">
            <a:avLst/>
          </a:prstGeom>
        </p:spPr>
      </p:pic>
      <p:sp>
        <p:nvSpPr>
          <p:cNvPr id="28" name="Kotak Teks 29">
            <a:extLst>
              <a:ext uri="{FF2B5EF4-FFF2-40B4-BE49-F238E27FC236}">
                <a16:creationId xmlns:a16="http://schemas.microsoft.com/office/drawing/2014/main" id="{71159609-AB77-4DE4-8408-2F0729939B17}"/>
              </a:ext>
            </a:extLst>
          </p:cNvPr>
          <p:cNvSpPr txBox="1"/>
          <p:nvPr/>
        </p:nvSpPr>
        <p:spPr>
          <a:xfrm>
            <a:off x="4425769" y="4234656"/>
            <a:ext cx="2812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1F3368"/>
                </a:solidFill>
                <a:latin typeface="Gotham" pitchFamily="50" charset="0"/>
              </a:rPr>
              <a:t>Jl. </a:t>
            </a:r>
            <a:r>
              <a:rPr lang="en-US" sz="1200" dirty="0" err="1">
                <a:solidFill>
                  <a:srgbClr val="1F3368"/>
                </a:solidFill>
                <a:latin typeface="Gotham" pitchFamily="50" charset="0"/>
              </a:rPr>
              <a:t>Wijaya</a:t>
            </a:r>
            <a:r>
              <a:rPr lang="en-US" sz="1200" dirty="0">
                <a:solidFill>
                  <a:srgbClr val="1F3368"/>
                </a:solidFill>
                <a:latin typeface="Gotham" pitchFamily="50" charset="0"/>
              </a:rPr>
              <a:t> I No. 68 </a:t>
            </a:r>
            <a:r>
              <a:rPr lang="en-US" sz="1200" dirty="0" err="1">
                <a:solidFill>
                  <a:srgbClr val="1F3368"/>
                </a:solidFill>
                <a:latin typeface="Gotham" pitchFamily="50" charset="0"/>
              </a:rPr>
              <a:t>Kebayoran</a:t>
            </a:r>
            <a:r>
              <a:rPr lang="en-US" sz="1200" dirty="0">
                <a:solidFill>
                  <a:srgbClr val="1F3368"/>
                </a:solidFill>
                <a:latin typeface="Gotham" pitchFamily="50" charset="0"/>
              </a:rPr>
              <a:t> </a:t>
            </a:r>
            <a:r>
              <a:rPr lang="en-US" sz="1200" dirty="0" err="1">
                <a:solidFill>
                  <a:srgbClr val="1F3368"/>
                </a:solidFill>
                <a:latin typeface="Gotham" pitchFamily="50" charset="0"/>
              </a:rPr>
              <a:t>Baru,Jakarta</a:t>
            </a:r>
            <a:r>
              <a:rPr lang="en-US" sz="1200" dirty="0">
                <a:solidFill>
                  <a:srgbClr val="1F3368"/>
                </a:solidFill>
                <a:latin typeface="Gotham" pitchFamily="50" charset="0"/>
              </a:rPr>
              <a:t> Selatan, Indonesia, 12110</a:t>
            </a:r>
            <a:endParaRPr lang="id-ID" sz="1200" dirty="0">
              <a:solidFill>
                <a:srgbClr val="1F3368"/>
              </a:solidFill>
              <a:latin typeface="Gotham" pitchFamily="50" charset="0"/>
            </a:endParaRPr>
          </a:p>
        </p:txBody>
      </p:sp>
      <p:pic>
        <p:nvPicPr>
          <p:cNvPr id="29" name="Gambar 35">
            <a:extLst>
              <a:ext uri="{FF2B5EF4-FFF2-40B4-BE49-F238E27FC236}">
                <a16:creationId xmlns:a16="http://schemas.microsoft.com/office/drawing/2014/main" id="{3F8F70A5-8547-43DD-B32F-A746E403023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8548" y="5667880"/>
            <a:ext cx="480397" cy="444943"/>
          </a:xfrm>
          <a:prstGeom prst="rect">
            <a:avLst/>
          </a:prstGeom>
        </p:spPr>
      </p:pic>
      <p:sp>
        <p:nvSpPr>
          <p:cNvPr id="30" name="Kotak Teks 40">
            <a:extLst>
              <a:ext uri="{FF2B5EF4-FFF2-40B4-BE49-F238E27FC236}">
                <a16:creationId xmlns:a16="http://schemas.microsoft.com/office/drawing/2014/main" id="{ECFD015C-4986-4699-B45C-58A13C8831A2}"/>
              </a:ext>
            </a:extLst>
          </p:cNvPr>
          <p:cNvSpPr txBox="1"/>
          <p:nvPr/>
        </p:nvSpPr>
        <p:spPr>
          <a:xfrm>
            <a:off x="2778145" y="5667880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F3368"/>
                </a:solidFill>
                <a:latin typeface="Gotham" pitchFamily="50" charset="0"/>
              </a:rPr>
              <a:t>PUPR_LPJK</a:t>
            </a:r>
            <a:endParaRPr lang="id-ID" dirty="0">
              <a:solidFill>
                <a:srgbClr val="1F3368"/>
              </a:solidFill>
              <a:latin typeface="Gotham" pitchFamily="50" charset="0"/>
            </a:endParaRPr>
          </a:p>
        </p:txBody>
      </p:sp>
      <p:pic>
        <p:nvPicPr>
          <p:cNvPr id="2" name="Google Shape;94;p13">
            <a:extLst>
              <a:ext uri="{FF2B5EF4-FFF2-40B4-BE49-F238E27FC236}">
                <a16:creationId xmlns:a16="http://schemas.microsoft.com/office/drawing/2014/main" id="{BE8EB86C-9516-3FAE-EA55-52A8CEB07B1C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0007600" y="93412"/>
            <a:ext cx="2097802" cy="471094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14694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BB5BA-6671-64C5-DD60-514042C7F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E0F89E-0779-478B-7669-F43B5B303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66" y="6817662"/>
            <a:ext cx="12192000" cy="505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5977C-009B-3DFB-D5AA-9ED28613FE82}"/>
              </a:ext>
            </a:extLst>
          </p:cNvPr>
          <p:cNvSpPr txBox="1">
            <a:spLocks/>
          </p:cNvSpPr>
          <p:nvPr/>
        </p:nvSpPr>
        <p:spPr>
          <a:xfrm>
            <a:off x="216471" y="217283"/>
            <a:ext cx="9002400" cy="4342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576">
              <a:defRPr/>
            </a:pPr>
            <a:r>
              <a:rPr lang="sv-SE" sz="2800" b="1" dirty="0">
                <a:solidFill>
                  <a:prstClr val="black"/>
                </a:solidFill>
                <a:latin typeface="Segoe UI"/>
              </a:rPr>
              <a:t>SATU DATA INDONESIA</a:t>
            </a:r>
          </a:p>
        </p:txBody>
      </p:sp>
      <p:sp>
        <p:nvSpPr>
          <p:cNvPr id="10" name="Freeform 27">
            <a:extLst>
              <a:ext uri="{FF2B5EF4-FFF2-40B4-BE49-F238E27FC236}">
                <a16:creationId xmlns:a16="http://schemas.microsoft.com/office/drawing/2014/main" id="{4745F3D8-0655-5915-7D52-A09065A881A8}"/>
              </a:ext>
            </a:extLst>
          </p:cNvPr>
          <p:cNvSpPr/>
          <p:nvPr/>
        </p:nvSpPr>
        <p:spPr>
          <a:xfrm>
            <a:off x="-131314" y="-279372"/>
            <a:ext cx="360514" cy="1261799"/>
          </a:xfrm>
          <a:custGeom>
            <a:avLst/>
            <a:gdLst/>
            <a:ahLst/>
            <a:cxnLst/>
            <a:rect l="l" t="t" r="r" b="b"/>
            <a:pathLst>
              <a:path w="540771" h="1892699">
                <a:moveTo>
                  <a:pt x="0" y="0"/>
                </a:moveTo>
                <a:lnTo>
                  <a:pt x="540771" y="0"/>
                </a:lnTo>
                <a:lnTo>
                  <a:pt x="540771" y="1892699"/>
                </a:lnTo>
                <a:lnTo>
                  <a:pt x="0" y="189269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TextBox 27">
            <a:extLst>
              <a:ext uri="{FF2B5EF4-FFF2-40B4-BE49-F238E27FC236}">
                <a16:creationId xmlns:a16="http://schemas.microsoft.com/office/drawing/2014/main" id="{008DAB18-7C22-20E9-D330-81E87DA2926F}"/>
              </a:ext>
            </a:extLst>
          </p:cNvPr>
          <p:cNvSpPr txBox="1"/>
          <p:nvPr/>
        </p:nvSpPr>
        <p:spPr>
          <a:xfrm>
            <a:off x="482396" y="1385560"/>
            <a:ext cx="9133092" cy="4873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eratur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eside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No 39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hu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2019</a:t>
            </a:r>
          </a:p>
          <a:p>
            <a:pPr marL="0" marR="0" lvl="0" indent="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atu data Indonesia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alah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kebijakan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tata Kelola data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emerintan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27">
            <a:extLst>
              <a:ext uri="{FF2B5EF4-FFF2-40B4-BE49-F238E27FC236}">
                <a16:creationId xmlns:a16="http://schemas.microsoft.com/office/drawing/2014/main" id="{D37032EC-787F-376A-5916-CCB51D74E62F}"/>
              </a:ext>
            </a:extLst>
          </p:cNvPr>
          <p:cNvSpPr txBox="1"/>
          <p:nvPr/>
        </p:nvSpPr>
        <p:spPr>
          <a:xfrm>
            <a:off x="991983" y="2081491"/>
            <a:ext cx="7266192" cy="33855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marR="0" lvl="0" indent="-34290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imakasudkan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ntuk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engatur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enyelenggaraan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ta Kelola data yang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ihasilk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oleh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emerintah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Pusat dan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stans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Daerah</a:t>
            </a:r>
          </a:p>
          <a:p>
            <a:pPr marL="342900" marR="0" lvl="0" indent="-34290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Dengan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tujuan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enghasilkan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data yang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kurat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mutakhir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terpadu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dan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dapat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dipertanggungjawabkan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serta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mudah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diakses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dan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dibagipakaikan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ntar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instansi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Pusat dan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Instansi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Daerah</a:t>
            </a:r>
          </a:p>
          <a:p>
            <a:pPr marL="342900" marR="0" lvl="0" indent="-34290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Dilaksanakan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dengan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memenuhi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standar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Data, metadata,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interoperabilitas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data dan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enggunakan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kode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referensi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dan data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induk</a:t>
            </a:r>
            <a:endParaRPr lang="en-US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E12F94-1CD3-2AC2-85CF-E18348D404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83960" y="2586619"/>
            <a:ext cx="2597787" cy="1283195"/>
          </a:xfrm>
          <a:prstGeom prst="rect">
            <a:avLst/>
          </a:prstGeom>
        </p:spPr>
      </p:pic>
      <p:pic>
        <p:nvPicPr>
          <p:cNvPr id="7" name="Google Shape;94;p13">
            <a:extLst>
              <a:ext uri="{FF2B5EF4-FFF2-40B4-BE49-F238E27FC236}">
                <a16:creationId xmlns:a16="http://schemas.microsoft.com/office/drawing/2014/main" id="{1253B9BC-5B76-A02A-F158-D4C8F3FA1F9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051588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BB5BA-6671-64C5-DD60-514042C7F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E0F89E-0779-478B-7669-F43B5B303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66" y="6817662"/>
            <a:ext cx="12192000" cy="505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5977C-009B-3DFB-D5AA-9ED28613FE82}"/>
              </a:ext>
            </a:extLst>
          </p:cNvPr>
          <p:cNvSpPr txBox="1">
            <a:spLocks/>
          </p:cNvSpPr>
          <p:nvPr/>
        </p:nvSpPr>
        <p:spPr>
          <a:xfrm>
            <a:off x="216471" y="217283"/>
            <a:ext cx="9002400" cy="4342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576">
              <a:defRPr/>
            </a:pPr>
            <a:r>
              <a:rPr lang="nn-NO" sz="2800" b="1" dirty="0">
                <a:solidFill>
                  <a:prstClr val="black"/>
                </a:solidFill>
                <a:latin typeface="Segoe UI"/>
              </a:rPr>
              <a:t>SISTEM INFORMASI JASA KONSTRUKSI TERINTEGRASI (SIJKT)</a:t>
            </a:r>
          </a:p>
        </p:txBody>
      </p:sp>
      <p:sp>
        <p:nvSpPr>
          <p:cNvPr id="10" name="Freeform 27">
            <a:extLst>
              <a:ext uri="{FF2B5EF4-FFF2-40B4-BE49-F238E27FC236}">
                <a16:creationId xmlns:a16="http://schemas.microsoft.com/office/drawing/2014/main" id="{4745F3D8-0655-5915-7D52-A09065A881A8}"/>
              </a:ext>
            </a:extLst>
          </p:cNvPr>
          <p:cNvSpPr/>
          <p:nvPr/>
        </p:nvSpPr>
        <p:spPr>
          <a:xfrm>
            <a:off x="-131314" y="-279372"/>
            <a:ext cx="360514" cy="1261799"/>
          </a:xfrm>
          <a:custGeom>
            <a:avLst/>
            <a:gdLst/>
            <a:ahLst/>
            <a:cxnLst/>
            <a:rect l="l" t="t" r="r" b="b"/>
            <a:pathLst>
              <a:path w="540771" h="1892699">
                <a:moveTo>
                  <a:pt x="0" y="0"/>
                </a:moveTo>
                <a:lnTo>
                  <a:pt x="540771" y="0"/>
                </a:lnTo>
                <a:lnTo>
                  <a:pt x="540771" y="1892699"/>
                </a:lnTo>
                <a:lnTo>
                  <a:pt x="0" y="189269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1232427-AF97-180D-02AA-9281CDFE289E}"/>
              </a:ext>
            </a:extLst>
          </p:cNvPr>
          <p:cNvSpPr/>
          <p:nvPr/>
        </p:nvSpPr>
        <p:spPr>
          <a:xfrm>
            <a:off x="1035744" y="1075629"/>
            <a:ext cx="10726510" cy="1282822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713EBA-3250-7F55-D428-5F8C4BC625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85368" y="3127728"/>
            <a:ext cx="977022" cy="95763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CFB239-D442-FE6C-2B94-0F9A19EBEB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3018" y="3271327"/>
            <a:ext cx="1313789" cy="763749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D73BB73E-7B8C-7EA3-4C82-D0A5B0160789}"/>
              </a:ext>
            </a:extLst>
          </p:cNvPr>
          <p:cNvSpPr/>
          <p:nvPr/>
        </p:nvSpPr>
        <p:spPr>
          <a:xfrm>
            <a:off x="80317" y="2758205"/>
            <a:ext cx="12111683" cy="2722843"/>
          </a:xfrm>
          <a:prstGeom prst="ellipse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3146851-DF80-21F7-9A73-44559A6AFCE2}"/>
              </a:ext>
            </a:extLst>
          </p:cNvPr>
          <p:cNvSpPr/>
          <p:nvPr/>
        </p:nvSpPr>
        <p:spPr>
          <a:xfrm>
            <a:off x="943961" y="5950427"/>
            <a:ext cx="10343224" cy="45421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D6FB6F-AA5C-8E22-51C3-D1E85A93B541}"/>
              </a:ext>
            </a:extLst>
          </p:cNvPr>
          <p:cNvSpPr txBox="1"/>
          <p:nvPr/>
        </p:nvSpPr>
        <p:spPr>
          <a:xfrm>
            <a:off x="1035744" y="1671397"/>
            <a:ext cx="10639602" cy="7317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sv-S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ses Pengadaan barang/Jasa Pemerintah menggunakan </a:t>
            </a:r>
            <a:r>
              <a:rPr lang="sv-SE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stem Informasi Jasa Konstruksi Terintegrasi</a:t>
            </a:r>
            <a:r>
              <a:rPr lang="sv-S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sv-SE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ling lambat 1 (satu) tahun</a:t>
            </a:r>
            <a:r>
              <a:rPr lang="sv-S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ejak Peraturan Pemerintah ini diundangka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1A995D1-39EE-47A9-3F6F-B4117334A78D}"/>
              </a:ext>
            </a:extLst>
          </p:cNvPr>
          <p:cNvSpPr txBox="1"/>
          <p:nvPr/>
        </p:nvSpPr>
        <p:spPr>
          <a:xfrm>
            <a:off x="4847370" y="1073119"/>
            <a:ext cx="2566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354878"/>
                </a:solidFill>
                <a:latin typeface="Century Gothic" panose="020B0502020202020204" pitchFamily="34" charset="0"/>
              </a:rPr>
              <a:t>PP No. 14 </a:t>
            </a:r>
            <a:r>
              <a:rPr lang="en-US" b="1" dirty="0" err="1">
                <a:solidFill>
                  <a:srgbClr val="354878"/>
                </a:solidFill>
                <a:latin typeface="Century Gothic" panose="020B0502020202020204" pitchFamily="34" charset="0"/>
              </a:rPr>
              <a:t>Tahun</a:t>
            </a:r>
            <a:r>
              <a:rPr lang="en-US" b="1" dirty="0">
                <a:solidFill>
                  <a:srgbClr val="354878"/>
                </a:solidFill>
                <a:latin typeface="Century Gothic" panose="020B0502020202020204" pitchFamily="34" charset="0"/>
              </a:rPr>
              <a:t> 2021</a:t>
            </a:r>
            <a:endParaRPr lang="en-ID" b="1" dirty="0">
              <a:solidFill>
                <a:srgbClr val="354878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5840A3-86D0-0E5F-9644-3F9F07E92AFF}"/>
              </a:ext>
            </a:extLst>
          </p:cNvPr>
          <p:cNvSpPr txBox="1"/>
          <p:nvPr/>
        </p:nvSpPr>
        <p:spPr>
          <a:xfrm>
            <a:off x="5209526" y="1412519"/>
            <a:ext cx="196969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al 176A </a:t>
            </a:r>
            <a:r>
              <a:rPr lang="en-US" sz="1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uruf</a:t>
            </a:r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75B26B-91D4-4096-4C8C-7426A9E4AA51}"/>
              </a:ext>
            </a:extLst>
          </p:cNvPr>
          <p:cNvSpPr txBox="1"/>
          <p:nvPr/>
        </p:nvSpPr>
        <p:spPr>
          <a:xfrm>
            <a:off x="1297479" y="6006239"/>
            <a:ext cx="9989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/>
              <a:t>Belum </a:t>
            </a:r>
            <a:r>
              <a:rPr lang="en-US" b="1" dirty="0" err="1"/>
              <a:t>Seluruh</a:t>
            </a:r>
            <a:r>
              <a:rPr lang="en-US" b="1" dirty="0"/>
              <a:t> </a:t>
            </a:r>
            <a:r>
              <a:rPr lang="en-US" b="1" dirty="0" err="1"/>
              <a:t>Sistem</a:t>
            </a:r>
            <a:r>
              <a:rPr lang="en-US" b="1" dirty="0"/>
              <a:t> </a:t>
            </a:r>
            <a:r>
              <a:rPr lang="en-US" b="1" dirty="0" err="1"/>
              <a:t>Informasi</a:t>
            </a:r>
            <a:r>
              <a:rPr lang="en-US" b="1" dirty="0"/>
              <a:t> Jasa </a:t>
            </a:r>
            <a:r>
              <a:rPr lang="en-US" b="1" dirty="0" err="1"/>
              <a:t>Konstruksi</a:t>
            </a:r>
            <a:r>
              <a:rPr lang="en-US" b="1" dirty="0"/>
              <a:t> </a:t>
            </a:r>
            <a:r>
              <a:rPr lang="en-US" b="1" dirty="0" err="1"/>
              <a:t>Terintegrasi</a:t>
            </a:r>
            <a:r>
              <a:rPr lang="en-US" b="1" dirty="0"/>
              <a:t> (</a:t>
            </a:r>
            <a:r>
              <a:rPr lang="en-US" b="1" dirty="0" err="1"/>
              <a:t>dalam</a:t>
            </a:r>
            <a:r>
              <a:rPr lang="en-US" b="1" dirty="0"/>
              <a:t> proses </a:t>
            </a:r>
            <a:r>
              <a:rPr lang="en-US" b="1" dirty="0" err="1"/>
              <a:t>integrasi</a:t>
            </a:r>
            <a:r>
              <a:rPr lang="en-US" b="1" dirty="0"/>
              <a:t>)</a:t>
            </a:r>
            <a:endParaRPr lang="en-ID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38DF4B-589C-CFD7-4844-59CD6224C6B2}"/>
              </a:ext>
            </a:extLst>
          </p:cNvPr>
          <p:cNvSpPr txBox="1"/>
          <p:nvPr/>
        </p:nvSpPr>
        <p:spPr>
          <a:xfrm>
            <a:off x="655268" y="4181288"/>
            <a:ext cx="18092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pres No. 39 Tahun 2019 </a:t>
            </a:r>
            <a:r>
              <a:rPr lang="it-IT" sz="1200" b="0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ntang Satu Data Indonesia</a:t>
            </a:r>
            <a:endParaRPr lang="en-ID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9F6E0CD-72A0-D141-F934-6E5DDA40C06A}"/>
              </a:ext>
            </a:extLst>
          </p:cNvPr>
          <p:cNvSpPr txBox="1"/>
          <p:nvPr/>
        </p:nvSpPr>
        <p:spPr>
          <a:xfrm>
            <a:off x="4479186" y="4732695"/>
            <a:ext cx="33026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men PUPR No. 9 Tahun 2023 </a:t>
            </a:r>
            <a:r>
              <a:rPr lang="it-IT" sz="1200" b="0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ntang Penerapan Sistem Pemerintahan Berbasis Elektronik</a:t>
            </a:r>
            <a:endParaRPr lang="en-ID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19B7C2A-F86C-FEAD-26F4-5401D1B1E839}"/>
              </a:ext>
            </a:extLst>
          </p:cNvPr>
          <p:cNvSpPr txBox="1"/>
          <p:nvPr/>
        </p:nvSpPr>
        <p:spPr>
          <a:xfrm>
            <a:off x="9386057" y="4096297"/>
            <a:ext cx="219842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pres No. 132 Tahun 2022 </a:t>
            </a:r>
            <a:r>
              <a:rPr lang="it-IT" sz="1200" b="0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ntang </a:t>
            </a:r>
            <a:r>
              <a:rPr lang="nn-NO" sz="1200" b="0" i="0" dirty="0">
                <a:solidFill>
                  <a:srgbClr val="181C3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rsitektur Sistem Pemerintahan Berbasis Elektronik Nasional</a:t>
            </a:r>
            <a:endParaRPr lang="en-ID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0CD323-6DA6-1355-6A6D-8EBC607B47D2}"/>
              </a:ext>
            </a:extLst>
          </p:cNvPr>
          <p:cNvSpPr txBox="1"/>
          <p:nvPr/>
        </p:nvSpPr>
        <p:spPr>
          <a:xfrm>
            <a:off x="5556041" y="3300921"/>
            <a:ext cx="11489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Candara" panose="020E0502030303020204" pitchFamily="34" charset="0"/>
              </a:rPr>
              <a:t>SIJKT</a:t>
            </a:r>
            <a:endParaRPr lang="en-ID" sz="2800" b="1" dirty="0">
              <a:latin typeface="Candara" panose="020E0502030303020204" pitchFamily="34" charset="0"/>
            </a:endParaRPr>
          </a:p>
        </p:txBody>
      </p:sp>
      <p:sp>
        <p:nvSpPr>
          <p:cNvPr id="22" name="Half Frame 21">
            <a:extLst>
              <a:ext uri="{FF2B5EF4-FFF2-40B4-BE49-F238E27FC236}">
                <a16:creationId xmlns:a16="http://schemas.microsoft.com/office/drawing/2014/main" id="{511BCDC1-C9B6-9563-E277-970F6B964298}"/>
              </a:ext>
            </a:extLst>
          </p:cNvPr>
          <p:cNvSpPr/>
          <p:nvPr/>
        </p:nvSpPr>
        <p:spPr>
          <a:xfrm>
            <a:off x="5344060" y="3211839"/>
            <a:ext cx="314960" cy="359212"/>
          </a:xfrm>
          <a:prstGeom prst="halfFrame">
            <a:avLst>
              <a:gd name="adj1" fmla="val 33333"/>
              <a:gd name="adj2" fmla="val 26882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24" name="Half Frame 23">
            <a:extLst>
              <a:ext uri="{FF2B5EF4-FFF2-40B4-BE49-F238E27FC236}">
                <a16:creationId xmlns:a16="http://schemas.microsoft.com/office/drawing/2014/main" id="{D5BBACB2-2D78-923A-0A65-FB13FCED508E}"/>
              </a:ext>
            </a:extLst>
          </p:cNvPr>
          <p:cNvSpPr/>
          <p:nvPr/>
        </p:nvSpPr>
        <p:spPr>
          <a:xfrm rot="10800000">
            <a:off x="6390029" y="3501894"/>
            <a:ext cx="314960" cy="359212"/>
          </a:xfrm>
          <a:prstGeom prst="halfFrame">
            <a:avLst>
              <a:gd name="adj1" fmla="val 33333"/>
              <a:gd name="adj2" fmla="val 26882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F702F23-DBF7-6E51-5FBA-209DD9867D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769" y="4289055"/>
            <a:ext cx="434260" cy="434260"/>
          </a:xfrm>
          <a:prstGeom prst="rect">
            <a:avLst/>
          </a:prstGeom>
          <a:ln w="3175">
            <a:solidFill>
              <a:srgbClr val="354878"/>
            </a:solidFill>
          </a:ln>
        </p:spPr>
      </p:pic>
      <p:sp>
        <p:nvSpPr>
          <p:cNvPr id="26" name="Arrow: Striped Right 25">
            <a:extLst>
              <a:ext uri="{FF2B5EF4-FFF2-40B4-BE49-F238E27FC236}">
                <a16:creationId xmlns:a16="http://schemas.microsoft.com/office/drawing/2014/main" id="{2ED44EDF-2F57-8B9C-A590-AE85CE1D4810}"/>
              </a:ext>
            </a:extLst>
          </p:cNvPr>
          <p:cNvSpPr/>
          <p:nvPr/>
        </p:nvSpPr>
        <p:spPr>
          <a:xfrm rot="5400000">
            <a:off x="5757766" y="2303949"/>
            <a:ext cx="873217" cy="977022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7" name="Google Shape;94;p13">
            <a:extLst>
              <a:ext uri="{FF2B5EF4-FFF2-40B4-BE49-F238E27FC236}">
                <a16:creationId xmlns:a16="http://schemas.microsoft.com/office/drawing/2014/main" id="{6714D014-CD67-1F76-D41D-3946505A05B3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9500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BB5BA-6671-64C5-DD60-514042C7F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E0F89E-0779-478B-7669-F43B5B303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66" y="6817662"/>
            <a:ext cx="12192000" cy="505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5977C-009B-3DFB-D5AA-9ED28613FE82}"/>
              </a:ext>
            </a:extLst>
          </p:cNvPr>
          <p:cNvSpPr txBox="1">
            <a:spLocks/>
          </p:cNvSpPr>
          <p:nvPr/>
        </p:nvSpPr>
        <p:spPr>
          <a:xfrm>
            <a:off x="216471" y="217283"/>
            <a:ext cx="9002400" cy="4342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576">
              <a:defRPr/>
            </a:pPr>
            <a:r>
              <a:rPr lang="sv-SE" sz="2800" b="1" dirty="0">
                <a:solidFill>
                  <a:prstClr val="black"/>
                </a:solidFill>
                <a:latin typeface="Segoe UI"/>
              </a:rPr>
              <a:t>MODERNISASI PENGADAAN BARANG DAN JASA</a:t>
            </a:r>
          </a:p>
        </p:txBody>
      </p:sp>
      <p:sp>
        <p:nvSpPr>
          <p:cNvPr id="10" name="Freeform 27">
            <a:extLst>
              <a:ext uri="{FF2B5EF4-FFF2-40B4-BE49-F238E27FC236}">
                <a16:creationId xmlns:a16="http://schemas.microsoft.com/office/drawing/2014/main" id="{4745F3D8-0655-5915-7D52-A09065A881A8}"/>
              </a:ext>
            </a:extLst>
          </p:cNvPr>
          <p:cNvSpPr/>
          <p:nvPr/>
        </p:nvSpPr>
        <p:spPr>
          <a:xfrm>
            <a:off x="-131314" y="-279372"/>
            <a:ext cx="360514" cy="1261799"/>
          </a:xfrm>
          <a:custGeom>
            <a:avLst/>
            <a:gdLst/>
            <a:ahLst/>
            <a:cxnLst/>
            <a:rect l="l" t="t" r="r" b="b"/>
            <a:pathLst>
              <a:path w="540771" h="1892699">
                <a:moveTo>
                  <a:pt x="0" y="0"/>
                </a:moveTo>
                <a:lnTo>
                  <a:pt x="540771" y="0"/>
                </a:lnTo>
                <a:lnTo>
                  <a:pt x="540771" y="1892699"/>
                </a:lnTo>
                <a:lnTo>
                  <a:pt x="0" y="189269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7" name="object 5">
            <a:extLst>
              <a:ext uri="{FF2B5EF4-FFF2-40B4-BE49-F238E27FC236}">
                <a16:creationId xmlns:a16="http://schemas.microsoft.com/office/drawing/2014/main" id="{61771E59-3F66-E4D6-7BA4-24F6C2305F93}"/>
              </a:ext>
            </a:extLst>
          </p:cNvPr>
          <p:cNvGrpSpPr/>
          <p:nvPr/>
        </p:nvGrpSpPr>
        <p:grpSpPr>
          <a:xfrm>
            <a:off x="334136" y="1227835"/>
            <a:ext cx="10101073" cy="4777613"/>
            <a:chOff x="334136" y="1316735"/>
            <a:chExt cx="10101073" cy="4777613"/>
          </a:xfrm>
        </p:grpSpPr>
        <p:sp>
          <p:nvSpPr>
            <p:cNvPr id="9" name="object 7">
              <a:extLst>
                <a:ext uri="{FF2B5EF4-FFF2-40B4-BE49-F238E27FC236}">
                  <a16:creationId xmlns:a16="http://schemas.microsoft.com/office/drawing/2014/main" id="{2FC12B2A-D80E-586A-A5B8-698440BB89B6}"/>
                </a:ext>
              </a:extLst>
            </p:cNvPr>
            <p:cNvSpPr/>
            <p:nvPr/>
          </p:nvSpPr>
          <p:spPr>
            <a:xfrm>
              <a:off x="9968102" y="3790314"/>
              <a:ext cx="450215" cy="309880"/>
            </a:xfrm>
            <a:custGeom>
              <a:avLst/>
              <a:gdLst/>
              <a:ahLst/>
              <a:cxnLst/>
              <a:rect l="l" t="t" r="r" b="b"/>
              <a:pathLst>
                <a:path w="450215" h="309879">
                  <a:moveTo>
                    <a:pt x="187071" y="297180"/>
                  </a:moveTo>
                  <a:lnTo>
                    <a:pt x="0" y="297180"/>
                  </a:lnTo>
                  <a:lnTo>
                    <a:pt x="0" y="309880"/>
                  </a:lnTo>
                  <a:lnTo>
                    <a:pt x="199771" y="309880"/>
                  </a:lnTo>
                  <a:lnTo>
                    <a:pt x="199771" y="303530"/>
                  </a:lnTo>
                  <a:lnTo>
                    <a:pt x="187071" y="303530"/>
                  </a:lnTo>
                  <a:lnTo>
                    <a:pt x="187071" y="297180"/>
                  </a:lnTo>
                  <a:close/>
                </a:path>
                <a:path w="450215" h="309879">
                  <a:moveTo>
                    <a:pt x="324498" y="57150"/>
                  </a:moveTo>
                  <a:lnTo>
                    <a:pt x="187071" y="57150"/>
                  </a:lnTo>
                  <a:lnTo>
                    <a:pt x="187071" y="303530"/>
                  </a:lnTo>
                  <a:lnTo>
                    <a:pt x="193421" y="297180"/>
                  </a:lnTo>
                  <a:lnTo>
                    <a:pt x="199771" y="297180"/>
                  </a:lnTo>
                  <a:lnTo>
                    <a:pt x="199771" y="69850"/>
                  </a:lnTo>
                  <a:lnTo>
                    <a:pt x="193421" y="69850"/>
                  </a:lnTo>
                  <a:lnTo>
                    <a:pt x="199771" y="63500"/>
                  </a:lnTo>
                  <a:lnTo>
                    <a:pt x="323215" y="63500"/>
                  </a:lnTo>
                  <a:lnTo>
                    <a:pt x="324498" y="57150"/>
                  </a:lnTo>
                  <a:close/>
                </a:path>
                <a:path w="450215" h="309879">
                  <a:moveTo>
                    <a:pt x="199771" y="297180"/>
                  </a:moveTo>
                  <a:lnTo>
                    <a:pt x="193421" y="297180"/>
                  </a:lnTo>
                  <a:lnTo>
                    <a:pt x="187071" y="303530"/>
                  </a:lnTo>
                  <a:lnTo>
                    <a:pt x="199771" y="303530"/>
                  </a:lnTo>
                  <a:lnTo>
                    <a:pt x="199771" y="297180"/>
                  </a:lnTo>
                  <a:close/>
                </a:path>
                <a:path w="450215" h="309879">
                  <a:moveTo>
                    <a:pt x="386715" y="0"/>
                  </a:moveTo>
                  <a:lnTo>
                    <a:pt x="362005" y="4992"/>
                  </a:lnTo>
                  <a:lnTo>
                    <a:pt x="341820" y="18605"/>
                  </a:lnTo>
                  <a:lnTo>
                    <a:pt x="328207" y="38790"/>
                  </a:lnTo>
                  <a:lnTo>
                    <a:pt x="323215" y="63500"/>
                  </a:lnTo>
                  <a:lnTo>
                    <a:pt x="328207" y="88209"/>
                  </a:lnTo>
                  <a:lnTo>
                    <a:pt x="341820" y="108394"/>
                  </a:lnTo>
                  <a:lnTo>
                    <a:pt x="362005" y="122007"/>
                  </a:lnTo>
                  <a:lnTo>
                    <a:pt x="386715" y="127000"/>
                  </a:lnTo>
                  <a:lnTo>
                    <a:pt x="411424" y="122007"/>
                  </a:lnTo>
                  <a:lnTo>
                    <a:pt x="431609" y="108394"/>
                  </a:lnTo>
                  <a:lnTo>
                    <a:pt x="445222" y="88209"/>
                  </a:lnTo>
                  <a:lnTo>
                    <a:pt x="448931" y="69850"/>
                  </a:lnTo>
                  <a:lnTo>
                    <a:pt x="386715" y="69850"/>
                  </a:lnTo>
                  <a:lnTo>
                    <a:pt x="386715" y="57150"/>
                  </a:lnTo>
                  <a:lnTo>
                    <a:pt x="448931" y="57150"/>
                  </a:lnTo>
                  <a:lnTo>
                    <a:pt x="445222" y="38790"/>
                  </a:lnTo>
                  <a:lnTo>
                    <a:pt x="431609" y="18605"/>
                  </a:lnTo>
                  <a:lnTo>
                    <a:pt x="411424" y="4992"/>
                  </a:lnTo>
                  <a:lnTo>
                    <a:pt x="386715" y="0"/>
                  </a:lnTo>
                  <a:close/>
                </a:path>
                <a:path w="450215" h="309879">
                  <a:moveTo>
                    <a:pt x="199771" y="63500"/>
                  </a:moveTo>
                  <a:lnTo>
                    <a:pt x="193421" y="69850"/>
                  </a:lnTo>
                  <a:lnTo>
                    <a:pt x="199771" y="69850"/>
                  </a:lnTo>
                  <a:lnTo>
                    <a:pt x="199771" y="63500"/>
                  </a:lnTo>
                  <a:close/>
                </a:path>
                <a:path w="450215" h="309879">
                  <a:moveTo>
                    <a:pt x="323215" y="63500"/>
                  </a:moveTo>
                  <a:lnTo>
                    <a:pt x="199771" y="63500"/>
                  </a:lnTo>
                  <a:lnTo>
                    <a:pt x="199771" y="69850"/>
                  </a:lnTo>
                  <a:lnTo>
                    <a:pt x="324498" y="69850"/>
                  </a:lnTo>
                  <a:lnTo>
                    <a:pt x="323215" y="63500"/>
                  </a:lnTo>
                  <a:close/>
                </a:path>
                <a:path w="450215" h="309879">
                  <a:moveTo>
                    <a:pt x="448931" y="57150"/>
                  </a:moveTo>
                  <a:lnTo>
                    <a:pt x="386715" y="57150"/>
                  </a:lnTo>
                  <a:lnTo>
                    <a:pt x="386715" y="69850"/>
                  </a:lnTo>
                  <a:lnTo>
                    <a:pt x="448931" y="69850"/>
                  </a:lnTo>
                  <a:lnTo>
                    <a:pt x="450215" y="63500"/>
                  </a:lnTo>
                  <a:lnTo>
                    <a:pt x="448931" y="5715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8">
              <a:extLst>
                <a:ext uri="{FF2B5EF4-FFF2-40B4-BE49-F238E27FC236}">
                  <a16:creationId xmlns:a16="http://schemas.microsoft.com/office/drawing/2014/main" id="{198B250C-91F6-3DA1-E77C-B785647D9883}"/>
                </a:ext>
              </a:extLst>
            </p:cNvPr>
            <p:cNvSpPr/>
            <p:nvPr/>
          </p:nvSpPr>
          <p:spPr>
            <a:xfrm>
              <a:off x="8036178" y="2248027"/>
              <a:ext cx="267335" cy="1155065"/>
            </a:xfrm>
            <a:custGeom>
              <a:avLst/>
              <a:gdLst/>
              <a:ahLst/>
              <a:cxnLst/>
              <a:rect l="l" t="t" r="r" b="b"/>
              <a:pathLst>
                <a:path w="267334" h="1155064">
                  <a:moveTo>
                    <a:pt x="141237" y="57150"/>
                  </a:moveTo>
                  <a:lnTo>
                    <a:pt x="0" y="57150"/>
                  </a:lnTo>
                  <a:lnTo>
                    <a:pt x="0" y="1154557"/>
                  </a:lnTo>
                  <a:lnTo>
                    <a:pt x="12700" y="1154557"/>
                  </a:lnTo>
                  <a:lnTo>
                    <a:pt x="12700" y="69850"/>
                  </a:lnTo>
                  <a:lnTo>
                    <a:pt x="6350" y="69850"/>
                  </a:lnTo>
                  <a:lnTo>
                    <a:pt x="12700" y="63500"/>
                  </a:lnTo>
                  <a:lnTo>
                    <a:pt x="139953" y="63500"/>
                  </a:lnTo>
                  <a:lnTo>
                    <a:pt x="141237" y="57150"/>
                  </a:lnTo>
                  <a:close/>
                </a:path>
                <a:path w="267334" h="1155064">
                  <a:moveTo>
                    <a:pt x="203453" y="0"/>
                  </a:moveTo>
                  <a:lnTo>
                    <a:pt x="178744" y="4992"/>
                  </a:lnTo>
                  <a:lnTo>
                    <a:pt x="158559" y="18605"/>
                  </a:lnTo>
                  <a:lnTo>
                    <a:pt x="144946" y="38790"/>
                  </a:lnTo>
                  <a:lnTo>
                    <a:pt x="139953" y="63500"/>
                  </a:lnTo>
                  <a:lnTo>
                    <a:pt x="144946" y="88209"/>
                  </a:lnTo>
                  <a:lnTo>
                    <a:pt x="158559" y="108394"/>
                  </a:lnTo>
                  <a:lnTo>
                    <a:pt x="178744" y="122007"/>
                  </a:lnTo>
                  <a:lnTo>
                    <a:pt x="203453" y="127000"/>
                  </a:lnTo>
                  <a:lnTo>
                    <a:pt x="228163" y="122007"/>
                  </a:lnTo>
                  <a:lnTo>
                    <a:pt x="248348" y="108394"/>
                  </a:lnTo>
                  <a:lnTo>
                    <a:pt x="261961" y="88209"/>
                  </a:lnTo>
                  <a:lnTo>
                    <a:pt x="265670" y="69850"/>
                  </a:lnTo>
                  <a:lnTo>
                    <a:pt x="203453" y="69850"/>
                  </a:lnTo>
                  <a:lnTo>
                    <a:pt x="203453" y="57150"/>
                  </a:lnTo>
                  <a:lnTo>
                    <a:pt x="265670" y="57150"/>
                  </a:lnTo>
                  <a:lnTo>
                    <a:pt x="261961" y="38790"/>
                  </a:lnTo>
                  <a:lnTo>
                    <a:pt x="248348" y="18605"/>
                  </a:lnTo>
                  <a:lnTo>
                    <a:pt x="228163" y="4992"/>
                  </a:lnTo>
                  <a:lnTo>
                    <a:pt x="203453" y="0"/>
                  </a:lnTo>
                  <a:close/>
                </a:path>
                <a:path w="267334" h="1155064">
                  <a:moveTo>
                    <a:pt x="12700" y="63500"/>
                  </a:moveTo>
                  <a:lnTo>
                    <a:pt x="6350" y="69850"/>
                  </a:lnTo>
                  <a:lnTo>
                    <a:pt x="12700" y="69850"/>
                  </a:lnTo>
                  <a:lnTo>
                    <a:pt x="12700" y="63500"/>
                  </a:lnTo>
                  <a:close/>
                </a:path>
                <a:path w="267334" h="1155064">
                  <a:moveTo>
                    <a:pt x="139953" y="63500"/>
                  </a:moveTo>
                  <a:lnTo>
                    <a:pt x="12700" y="63500"/>
                  </a:lnTo>
                  <a:lnTo>
                    <a:pt x="12700" y="69850"/>
                  </a:lnTo>
                  <a:lnTo>
                    <a:pt x="141237" y="69850"/>
                  </a:lnTo>
                  <a:lnTo>
                    <a:pt x="139953" y="63500"/>
                  </a:lnTo>
                  <a:close/>
                </a:path>
                <a:path w="267334" h="1155064">
                  <a:moveTo>
                    <a:pt x="265670" y="57150"/>
                  </a:moveTo>
                  <a:lnTo>
                    <a:pt x="203453" y="57150"/>
                  </a:lnTo>
                  <a:lnTo>
                    <a:pt x="203453" y="69850"/>
                  </a:lnTo>
                  <a:lnTo>
                    <a:pt x="265670" y="69850"/>
                  </a:lnTo>
                  <a:lnTo>
                    <a:pt x="266953" y="63500"/>
                  </a:lnTo>
                  <a:lnTo>
                    <a:pt x="265670" y="5715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9">
              <a:extLst>
                <a:ext uri="{FF2B5EF4-FFF2-40B4-BE49-F238E27FC236}">
                  <a16:creationId xmlns:a16="http://schemas.microsoft.com/office/drawing/2014/main" id="{08E4EA71-B2AF-1696-0C62-A11E91872CD1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048625" y="2794381"/>
              <a:ext cx="225551" cy="127000"/>
            </a:xfrm>
            <a:prstGeom prst="rect">
              <a:avLst/>
            </a:prstGeom>
          </p:spPr>
        </p:pic>
        <p:sp>
          <p:nvSpPr>
            <p:cNvPr id="29" name="object 10">
              <a:extLst>
                <a:ext uri="{FF2B5EF4-FFF2-40B4-BE49-F238E27FC236}">
                  <a16:creationId xmlns:a16="http://schemas.microsoft.com/office/drawing/2014/main" id="{28CCC1C6-633A-3437-F8C1-F8A9D8555EC5}"/>
                </a:ext>
              </a:extLst>
            </p:cNvPr>
            <p:cNvSpPr/>
            <p:nvPr/>
          </p:nvSpPr>
          <p:spPr>
            <a:xfrm>
              <a:off x="8036179" y="3420236"/>
              <a:ext cx="2399030" cy="1499870"/>
            </a:xfrm>
            <a:custGeom>
              <a:avLst/>
              <a:gdLst/>
              <a:ahLst/>
              <a:cxnLst/>
              <a:rect l="l" t="t" r="r" b="b"/>
              <a:pathLst>
                <a:path w="2399029" h="1499870">
                  <a:moveTo>
                    <a:pt x="152019" y="634238"/>
                  </a:moveTo>
                  <a:lnTo>
                    <a:pt x="150723" y="627888"/>
                  </a:lnTo>
                  <a:lnTo>
                    <a:pt x="147015" y="609536"/>
                  </a:lnTo>
                  <a:lnTo>
                    <a:pt x="133413" y="589343"/>
                  </a:lnTo>
                  <a:lnTo>
                    <a:pt x="113220" y="575741"/>
                  </a:lnTo>
                  <a:lnTo>
                    <a:pt x="88519" y="570738"/>
                  </a:lnTo>
                  <a:lnTo>
                    <a:pt x="63804" y="575741"/>
                  </a:lnTo>
                  <a:lnTo>
                    <a:pt x="43624" y="589343"/>
                  </a:lnTo>
                  <a:lnTo>
                    <a:pt x="30010" y="609536"/>
                  </a:lnTo>
                  <a:lnTo>
                    <a:pt x="26301" y="627888"/>
                  </a:lnTo>
                  <a:lnTo>
                    <a:pt x="12700" y="627888"/>
                  </a:lnTo>
                  <a:lnTo>
                    <a:pt x="12700" y="0"/>
                  </a:lnTo>
                  <a:lnTo>
                    <a:pt x="0" y="0"/>
                  </a:lnTo>
                  <a:lnTo>
                    <a:pt x="0" y="640588"/>
                  </a:lnTo>
                  <a:lnTo>
                    <a:pt x="26289" y="640588"/>
                  </a:lnTo>
                  <a:lnTo>
                    <a:pt x="30010" y="658952"/>
                  </a:lnTo>
                  <a:lnTo>
                    <a:pt x="43624" y="679132"/>
                  </a:lnTo>
                  <a:lnTo>
                    <a:pt x="63804" y="692746"/>
                  </a:lnTo>
                  <a:lnTo>
                    <a:pt x="88519" y="697738"/>
                  </a:lnTo>
                  <a:lnTo>
                    <a:pt x="113220" y="692746"/>
                  </a:lnTo>
                  <a:lnTo>
                    <a:pt x="133413" y="679132"/>
                  </a:lnTo>
                  <a:lnTo>
                    <a:pt x="147015" y="658952"/>
                  </a:lnTo>
                  <a:lnTo>
                    <a:pt x="150723" y="640588"/>
                  </a:lnTo>
                  <a:lnTo>
                    <a:pt x="152019" y="634238"/>
                  </a:lnTo>
                  <a:close/>
                </a:path>
                <a:path w="2399029" h="1499870">
                  <a:moveTo>
                    <a:pt x="2399030" y="1435862"/>
                  </a:moveTo>
                  <a:lnTo>
                    <a:pt x="2397734" y="1429512"/>
                  </a:lnTo>
                  <a:lnTo>
                    <a:pt x="2394026" y="1411160"/>
                  </a:lnTo>
                  <a:lnTo>
                    <a:pt x="2380411" y="1390967"/>
                  </a:lnTo>
                  <a:lnTo>
                    <a:pt x="2360231" y="1377365"/>
                  </a:lnTo>
                  <a:lnTo>
                    <a:pt x="2335530" y="1372362"/>
                  </a:lnTo>
                  <a:lnTo>
                    <a:pt x="2310815" y="1377365"/>
                  </a:lnTo>
                  <a:lnTo>
                    <a:pt x="2290635" y="1390967"/>
                  </a:lnTo>
                  <a:lnTo>
                    <a:pt x="2277021" y="1411160"/>
                  </a:lnTo>
                  <a:lnTo>
                    <a:pt x="2273312" y="1429512"/>
                  </a:lnTo>
                  <a:lnTo>
                    <a:pt x="2136394" y="1429512"/>
                  </a:lnTo>
                  <a:lnTo>
                    <a:pt x="2136394" y="673608"/>
                  </a:lnTo>
                  <a:lnTo>
                    <a:pt x="2123694" y="673608"/>
                  </a:lnTo>
                  <a:lnTo>
                    <a:pt x="2123694" y="1442212"/>
                  </a:lnTo>
                  <a:lnTo>
                    <a:pt x="2273300" y="1442212"/>
                  </a:lnTo>
                  <a:lnTo>
                    <a:pt x="2277021" y="1460576"/>
                  </a:lnTo>
                  <a:lnTo>
                    <a:pt x="2290635" y="1480756"/>
                  </a:lnTo>
                  <a:lnTo>
                    <a:pt x="2310815" y="1494370"/>
                  </a:lnTo>
                  <a:lnTo>
                    <a:pt x="2335530" y="1499362"/>
                  </a:lnTo>
                  <a:lnTo>
                    <a:pt x="2360231" y="1494370"/>
                  </a:lnTo>
                  <a:lnTo>
                    <a:pt x="2380411" y="1480756"/>
                  </a:lnTo>
                  <a:lnTo>
                    <a:pt x="2394026" y="1460576"/>
                  </a:lnTo>
                  <a:lnTo>
                    <a:pt x="2397734" y="1442212"/>
                  </a:lnTo>
                  <a:lnTo>
                    <a:pt x="2399030" y="1435862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0" name="object 11">
              <a:extLst>
                <a:ext uri="{FF2B5EF4-FFF2-40B4-BE49-F238E27FC236}">
                  <a16:creationId xmlns:a16="http://schemas.microsoft.com/office/drawing/2014/main" id="{88838627-C21B-5D23-150F-1F1C0123854D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490460" y="2997670"/>
              <a:ext cx="639305" cy="935011"/>
            </a:xfrm>
            <a:prstGeom prst="rect">
              <a:avLst/>
            </a:prstGeom>
          </p:spPr>
        </p:pic>
        <p:sp>
          <p:nvSpPr>
            <p:cNvPr id="31" name="object 12">
              <a:extLst>
                <a:ext uri="{FF2B5EF4-FFF2-40B4-BE49-F238E27FC236}">
                  <a16:creationId xmlns:a16="http://schemas.microsoft.com/office/drawing/2014/main" id="{3689FA93-3DE6-3804-52A7-62C766DD6D13}"/>
                </a:ext>
              </a:extLst>
            </p:cNvPr>
            <p:cNvSpPr/>
            <p:nvPr/>
          </p:nvSpPr>
          <p:spPr>
            <a:xfrm>
              <a:off x="7515605" y="3022853"/>
              <a:ext cx="542925" cy="838200"/>
            </a:xfrm>
            <a:custGeom>
              <a:avLst/>
              <a:gdLst/>
              <a:ahLst/>
              <a:cxnLst/>
              <a:rect l="l" t="t" r="r" b="b"/>
              <a:pathLst>
                <a:path w="542925" h="838200">
                  <a:moveTo>
                    <a:pt x="160527" y="0"/>
                  </a:moveTo>
                  <a:lnTo>
                    <a:pt x="0" y="419100"/>
                  </a:lnTo>
                  <a:lnTo>
                    <a:pt x="160527" y="838200"/>
                  </a:lnTo>
                  <a:lnTo>
                    <a:pt x="160527" y="605409"/>
                  </a:lnTo>
                  <a:lnTo>
                    <a:pt x="471182" y="605409"/>
                  </a:lnTo>
                  <a:lnTo>
                    <a:pt x="542544" y="419100"/>
                  </a:lnTo>
                  <a:lnTo>
                    <a:pt x="471182" y="232791"/>
                  </a:lnTo>
                  <a:lnTo>
                    <a:pt x="160527" y="232791"/>
                  </a:lnTo>
                  <a:lnTo>
                    <a:pt x="160527" y="0"/>
                  </a:lnTo>
                  <a:close/>
                </a:path>
                <a:path w="542925" h="838200">
                  <a:moveTo>
                    <a:pt x="471182" y="605409"/>
                  </a:moveTo>
                  <a:lnTo>
                    <a:pt x="382016" y="605409"/>
                  </a:lnTo>
                  <a:lnTo>
                    <a:pt x="382016" y="838200"/>
                  </a:lnTo>
                  <a:lnTo>
                    <a:pt x="471182" y="605409"/>
                  </a:lnTo>
                  <a:close/>
                </a:path>
                <a:path w="542925" h="838200">
                  <a:moveTo>
                    <a:pt x="382016" y="0"/>
                  </a:moveTo>
                  <a:lnTo>
                    <a:pt x="382016" y="232791"/>
                  </a:lnTo>
                  <a:lnTo>
                    <a:pt x="471182" y="232791"/>
                  </a:lnTo>
                  <a:lnTo>
                    <a:pt x="38201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3">
              <a:extLst>
                <a:ext uri="{FF2B5EF4-FFF2-40B4-BE49-F238E27FC236}">
                  <a16:creationId xmlns:a16="http://schemas.microsoft.com/office/drawing/2014/main" id="{69D2B01F-3E33-E53E-978B-7915F418A812}"/>
                </a:ext>
              </a:extLst>
            </p:cNvPr>
            <p:cNvSpPr/>
            <p:nvPr/>
          </p:nvSpPr>
          <p:spPr>
            <a:xfrm>
              <a:off x="334136" y="1474088"/>
              <a:ext cx="7165340" cy="4620260"/>
            </a:xfrm>
            <a:custGeom>
              <a:avLst/>
              <a:gdLst/>
              <a:ahLst/>
              <a:cxnLst/>
              <a:rect l="l" t="t" r="r" b="b"/>
              <a:pathLst>
                <a:path w="7165340" h="4620260">
                  <a:moveTo>
                    <a:pt x="6395085" y="0"/>
                  </a:moveTo>
                  <a:lnTo>
                    <a:pt x="770014" y="0"/>
                  </a:lnTo>
                  <a:lnTo>
                    <a:pt x="721316" y="1515"/>
                  </a:lnTo>
                  <a:lnTo>
                    <a:pt x="673423" y="6000"/>
                  </a:lnTo>
                  <a:lnTo>
                    <a:pt x="626426" y="13365"/>
                  </a:lnTo>
                  <a:lnTo>
                    <a:pt x="580414" y="23520"/>
                  </a:lnTo>
                  <a:lnTo>
                    <a:pt x="535478" y="36374"/>
                  </a:lnTo>
                  <a:lnTo>
                    <a:pt x="491707" y="51837"/>
                  </a:lnTo>
                  <a:lnTo>
                    <a:pt x="449192" y="69819"/>
                  </a:lnTo>
                  <a:lnTo>
                    <a:pt x="408023" y="90230"/>
                  </a:lnTo>
                  <a:lnTo>
                    <a:pt x="368291" y="112979"/>
                  </a:lnTo>
                  <a:lnTo>
                    <a:pt x="330085" y="137975"/>
                  </a:lnTo>
                  <a:lnTo>
                    <a:pt x="293496" y="165130"/>
                  </a:lnTo>
                  <a:lnTo>
                    <a:pt x="258614" y="194352"/>
                  </a:lnTo>
                  <a:lnTo>
                    <a:pt x="225529" y="225552"/>
                  </a:lnTo>
                  <a:lnTo>
                    <a:pt x="194331" y="258638"/>
                  </a:lnTo>
                  <a:lnTo>
                    <a:pt x="165111" y="293521"/>
                  </a:lnTo>
                  <a:lnTo>
                    <a:pt x="137959" y="330110"/>
                  </a:lnTo>
                  <a:lnTo>
                    <a:pt x="112964" y="368316"/>
                  </a:lnTo>
                  <a:lnTo>
                    <a:pt x="90218" y="408047"/>
                  </a:lnTo>
                  <a:lnTo>
                    <a:pt x="69809" y="449215"/>
                  </a:lnTo>
                  <a:lnTo>
                    <a:pt x="51829" y="491727"/>
                  </a:lnTo>
                  <a:lnTo>
                    <a:pt x="36368" y="535495"/>
                  </a:lnTo>
                  <a:lnTo>
                    <a:pt x="23516" y="580427"/>
                  </a:lnTo>
                  <a:lnTo>
                    <a:pt x="13363" y="626434"/>
                  </a:lnTo>
                  <a:lnTo>
                    <a:pt x="5999" y="673426"/>
                  </a:lnTo>
                  <a:lnTo>
                    <a:pt x="1514" y="721311"/>
                  </a:lnTo>
                  <a:lnTo>
                    <a:pt x="0" y="770001"/>
                  </a:lnTo>
                  <a:lnTo>
                    <a:pt x="0" y="3850004"/>
                  </a:lnTo>
                  <a:lnTo>
                    <a:pt x="1514" y="3898701"/>
                  </a:lnTo>
                  <a:lnTo>
                    <a:pt x="5999" y="3946592"/>
                  </a:lnTo>
                  <a:lnTo>
                    <a:pt x="13363" y="3993588"/>
                  </a:lnTo>
                  <a:lnTo>
                    <a:pt x="23516" y="4039599"/>
                  </a:lnTo>
                  <a:lnTo>
                    <a:pt x="36368" y="4084534"/>
                  </a:lnTo>
                  <a:lnTo>
                    <a:pt x="51829" y="4128304"/>
                  </a:lnTo>
                  <a:lnTo>
                    <a:pt x="69809" y="4170818"/>
                  </a:lnTo>
                  <a:lnTo>
                    <a:pt x="90218" y="4211986"/>
                  </a:lnTo>
                  <a:lnTo>
                    <a:pt x="112964" y="4251717"/>
                  </a:lnTo>
                  <a:lnTo>
                    <a:pt x="137959" y="4289922"/>
                  </a:lnTo>
                  <a:lnTo>
                    <a:pt x="165111" y="4326511"/>
                  </a:lnTo>
                  <a:lnTo>
                    <a:pt x="194331" y="4361393"/>
                  </a:lnTo>
                  <a:lnTo>
                    <a:pt x="225529" y="4394477"/>
                  </a:lnTo>
                  <a:lnTo>
                    <a:pt x="258614" y="4425675"/>
                  </a:lnTo>
                  <a:lnTo>
                    <a:pt x="293496" y="4454895"/>
                  </a:lnTo>
                  <a:lnTo>
                    <a:pt x="330085" y="4482047"/>
                  </a:lnTo>
                  <a:lnTo>
                    <a:pt x="368291" y="4507041"/>
                  </a:lnTo>
                  <a:lnTo>
                    <a:pt x="408023" y="4529788"/>
                  </a:lnTo>
                  <a:lnTo>
                    <a:pt x="449192" y="4550196"/>
                  </a:lnTo>
                  <a:lnTo>
                    <a:pt x="491707" y="4568176"/>
                  </a:lnTo>
                  <a:lnTo>
                    <a:pt x="535478" y="4583637"/>
                  </a:lnTo>
                  <a:lnTo>
                    <a:pt x="580414" y="4596489"/>
                  </a:lnTo>
                  <a:lnTo>
                    <a:pt x="626426" y="4606642"/>
                  </a:lnTo>
                  <a:lnTo>
                    <a:pt x="673423" y="4614006"/>
                  </a:lnTo>
                  <a:lnTo>
                    <a:pt x="721316" y="4618491"/>
                  </a:lnTo>
                  <a:lnTo>
                    <a:pt x="770014" y="4620006"/>
                  </a:lnTo>
                  <a:lnTo>
                    <a:pt x="6395085" y="4620006"/>
                  </a:lnTo>
                  <a:lnTo>
                    <a:pt x="6443774" y="4618491"/>
                  </a:lnTo>
                  <a:lnTo>
                    <a:pt x="6491659" y="4614006"/>
                  </a:lnTo>
                  <a:lnTo>
                    <a:pt x="6538651" y="4606642"/>
                  </a:lnTo>
                  <a:lnTo>
                    <a:pt x="6584658" y="4596489"/>
                  </a:lnTo>
                  <a:lnTo>
                    <a:pt x="6629590" y="4583637"/>
                  </a:lnTo>
                  <a:lnTo>
                    <a:pt x="6673358" y="4568176"/>
                  </a:lnTo>
                  <a:lnTo>
                    <a:pt x="6715870" y="4550196"/>
                  </a:lnTo>
                  <a:lnTo>
                    <a:pt x="6757038" y="4529788"/>
                  </a:lnTo>
                  <a:lnTo>
                    <a:pt x="6796769" y="4507041"/>
                  </a:lnTo>
                  <a:lnTo>
                    <a:pt x="6834975" y="4482047"/>
                  </a:lnTo>
                  <a:lnTo>
                    <a:pt x="6871564" y="4454895"/>
                  </a:lnTo>
                  <a:lnTo>
                    <a:pt x="6906447" y="4425675"/>
                  </a:lnTo>
                  <a:lnTo>
                    <a:pt x="6939534" y="4394477"/>
                  </a:lnTo>
                  <a:lnTo>
                    <a:pt x="6970733" y="4361393"/>
                  </a:lnTo>
                  <a:lnTo>
                    <a:pt x="6999955" y="4326511"/>
                  </a:lnTo>
                  <a:lnTo>
                    <a:pt x="7027110" y="4289922"/>
                  </a:lnTo>
                  <a:lnTo>
                    <a:pt x="7052106" y="4251717"/>
                  </a:lnTo>
                  <a:lnTo>
                    <a:pt x="7074855" y="4211986"/>
                  </a:lnTo>
                  <a:lnTo>
                    <a:pt x="7095266" y="4170818"/>
                  </a:lnTo>
                  <a:lnTo>
                    <a:pt x="7113248" y="4128304"/>
                  </a:lnTo>
                  <a:lnTo>
                    <a:pt x="7128711" y="4084534"/>
                  </a:lnTo>
                  <a:lnTo>
                    <a:pt x="7141565" y="4039599"/>
                  </a:lnTo>
                  <a:lnTo>
                    <a:pt x="7151720" y="3993588"/>
                  </a:lnTo>
                  <a:lnTo>
                    <a:pt x="7159085" y="3946592"/>
                  </a:lnTo>
                  <a:lnTo>
                    <a:pt x="7163570" y="3898701"/>
                  </a:lnTo>
                  <a:lnTo>
                    <a:pt x="7165086" y="3850004"/>
                  </a:lnTo>
                  <a:lnTo>
                    <a:pt x="7165086" y="770001"/>
                  </a:lnTo>
                  <a:lnTo>
                    <a:pt x="7163570" y="721311"/>
                  </a:lnTo>
                  <a:lnTo>
                    <a:pt x="7159085" y="673426"/>
                  </a:lnTo>
                  <a:lnTo>
                    <a:pt x="7151720" y="626434"/>
                  </a:lnTo>
                  <a:lnTo>
                    <a:pt x="7141565" y="580427"/>
                  </a:lnTo>
                  <a:lnTo>
                    <a:pt x="7128711" y="535495"/>
                  </a:lnTo>
                  <a:lnTo>
                    <a:pt x="7113248" y="491727"/>
                  </a:lnTo>
                  <a:lnTo>
                    <a:pt x="7095266" y="449215"/>
                  </a:lnTo>
                  <a:lnTo>
                    <a:pt x="7074855" y="408047"/>
                  </a:lnTo>
                  <a:lnTo>
                    <a:pt x="7052106" y="368316"/>
                  </a:lnTo>
                  <a:lnTo>
                    <a:pt x="7027110" y="330110"/>
                  </a:lnTo>
                  <a:lnTo>
                    <a:pt x="6999955" y="293521"/>
                  </a:lnTo>
                  <a:lnTo>
                    <a:pt x="6970733" y="258638"/>
                  </a:lnTo>
                  <a:lnTo>
                    <a:pt x="6939534" y="225552"/>
                  </a:lnTo>
                  <a:lnTo>
                    <a:pt x="6906447" y="194352"/>
                  </a:lnTo>
                  <a:lnTo>
                    <a:pt x="6871564" y="165130"/>
                  </a:lnTo>
                  <a:lnTo>
                    <a:pt x="6834975" y="137975"/>
                  </a:lnTo>
                  <a:lnTo>
                    <a:pt x="6796769" y="112979"/>
                  </a:lnTo>
                  <a:lnTo>
                    <a:pt x="6757038" y="90230"/>
                  </a:lnTo>
                  <a:lnTo>
                    <a:pt x="6715870" y="69819"/>
                  </a:lnTo>
                  <a:lnTo>
                    <a:pt x="6673358" y="51837"/>
                  </a:lnTo>
                  <a:lnTo>
                    <a:pt x="6629590" y="36374"/>
                  </a:lnTo>
                  <a:lnTo>
                    <a:pt x="6584658" y="23520"/>
                  </a:lnTo>
                  <a:lnTo>
                    <a:pt x="6538651" y="13365"/>
                  </a:lnTo>
                  <a:lnTo>
                    <a:pt x="6491659" y="6000"/>
                  </a:lnTo>
                  <a:lnTo>
                    <a:pt x="6443774" y="1515"/>
                  </a:lnTo>
                  <a:lnTo>
                    <a:pt x="6395085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14">
              <a:extLst>
                <a:ext uri="{FF2B5EF4-FFF2-40B4-BE49-F238E27FC236}">
                  <a16:creationId xmlns:a16="http://schemas.microsoft.com/office/drawing/2014/main" id="{1997C4AE-59AC-003C-A6FB-FFC1112FF53C}"/>
                </a:ext>
              </a:extLst>
            </p:cNvPr>
            <p:cNvSpPr/>
            <p:nvPr/>
          </p:nvSpPr>
          <p:spPr>
            <a:xfrm>
              <a:off x="334136" y="1474088"/>
              <a:ext cx="7165340" cy="4620260"/>
            </a:xfrm>
            <a:custGeom>
              <a:avLst/>
              <a:gdLst/>
              <a:ahLst/>
              <a:cxnLst/>
              <a:rect l="l" t="t" r="r" b="b"/>
              <a:pathLst>
                <a:path w="7165340" h="4620260">
                  <a:moveTo>
                    <a:pt x="0" y="770001"/>
                  </a:moveTo>
                  <a:lnTo>
                    <a:pt x="1514" y="721311"/>
                  </a:lnTo>
                  <a:lnTo>
                    <a:pt x="5999" y="673426"/>
                  </a:lnTo>
                  <a:lnTo>
                    <a:pt x="13363" y="626434"/>
                  </a:lnTo>
                  <a:lnTo>
                    <a:pt x="23516" y="580427"/>
                  </a:lnTo>
                  <a:lnTo>
                    <a:pt x="36368" y="535495"/>
                  </a:lnTo>
                  <a:lnTo>
                    <a:pt x="51829" y="491727"/>
                  </a:lnTo>
                  <a:lnTo>
                    <a:pt x="69809" y="449215"/>
                  </a:lnTo>
                  <a:lnTo>
                    <a:pt x="90218" y="408047"/>
                  </a:lnTo>
                  <a:lnTo>
                    <a:pt x="112964" y="368316"/>
                  </a:lnTo>
                  <a:lnTo>
                    <a:pt x="137959" y="330110"/>
                  </a:lnTo>
                  <a:lnTo>
                    <a:pt x="165111" y="293521"/>
                  </a:lnTo>
                  <a:lnTo>
                    <a:pt x="194331" y="258638"/>
                  </a:lnTo>
                  <a:lnTo>
                    <a:pt x="225529" y="225551"/>
                  </a:lnTo>
                  <a:lnTo>
                    <a:pt x="258614" y="194352"/>
                  </a:lnTo>
                  <a:lnTo>
                    <a:pt x="293496" y="165130"/>
                  </a:lnTo>
                  <a:lnTo>
                    <a:pt x="330085" y="137975"/>
                  </a:lnTo>
                  <a:lnTo>
                    <a:pt x="368291" y="112979"/>
                  </a:lnTo>
                  <a:lnTo>
                    <a:pt x="408023" y="90230"/>
                  </a:lnTo>
                  <a:lnTo>
                    <a:pt x="449192" y="69819"/>
                  </a:lnTo>
                  <a:lnTo>
                    <a:pt x="491707" y="51837"/>
                  </a:lnTo>
                  <a:lnTo>
                    <a:pt x="535477" y="36374"/>
                  </a:lnTo>
                  <a:lnTo>
                    <a:pt x="580414" y="23520"/>
                  </a:lnTo>
                  <a:lnTo>
                    <a:pt x="626426" y="13365"/>
                  </a:lnTo>
                  <a:lnTo>
                    <a:pt x="673423" y="6000"/>
                  </a:lnTo>
                  <a:lnTo>
                    <a:pt x="721316" y="1515"/>
                  </a:lnTo>
                  <a:lnTo>
                    <a:pt x="770013" y="0"/>
                  </a:lnTo>
                  <a:lnTo>
                    <a:pt x="6395085" y="0"/>
                  </a:lnTo>
                  <a:lnTo>
                    <a:pt x="6443774" y="1515"/>
                  </a:lnTo>
                  <a:lnTo>
                    <a:pt x="6491659" y="6000"/>
                  </a:lnTo>
                  <a:lnTo>
                    <a:pt x="6538651" y="13365"/>
                  </a:lnTo>
                  <a:lnTo>
                    <a:pt x="6584658" y="23520"/>
                  </a:lnTo>
                  <a:lnTo>
                    <a:pt x="6629590" y="36374"/>
                  </a:lnTo>
                  <a:lnTo>
                    <a:pt x="6673358" y="51837"/>
                  </a:lnTo>
                  <a:lnTo>
                    <a:pt x="6715870" y="69819"/>
                  </a:lnTo>
                  <a:lnTo>
                    <a:pt x="6757038" y="90230"/>
                  </a:lnTo>
                  <a:lnTo>
                    <a:pt x="6796769" y="112979"/>
                  </a:lnTo>
                  <a:lnTo>
                    <a:pt x="6834975" y="137975"/>
                  </a:lnTo>
                  <a:lnTo>
                    <a:pt x="6871564" y="165130"/>
                  </a:lnTo>
                  <a:lnTo>
                    <a:pt x="6906447" y="194352"/>
                  </a:lnTo>
                  <a:lnTo>
                    <a:pt x="6939533" y="225552"/>
                  </a:lnTo>
                  <a:lnTo>
                    <a:pt x="6970733" y="258638"/>
                  </a:lnTo>
                  <a:lnTo>
                    <a:pt x="6999955" y="293521"/>
                  </a:lnTo>
                  <a:lnTo>
                    <a:pt x="7027110" y="330110"/>
                  </a:lnTo>
                  <a:lnTo>
                    <a:pt x="7052106" y="368316"/>
                  </a:lnTo>
                  <a:lnTo>
                    <a:pt x="7074855" y="408047"/>
                  </a:lnTo>
                  <a:lnTo>
                    <a:pt x="7095266" y="449215"/>
                  </a:lnTo>
                  <a:lnTo>
                    <a:pt x="7113248" y="491727"/>
                  </a:lnTo>
                  <a:lnTo>
                    <a:pt x="7128711" y="535495"/>
                  </a:lnTo>
                  <a:lnTo>
                    <a:pt x="7141565" y="580427"/>
                  </a:lnTo>
                  <a:lnTo>
                    <a:pt x="7151720" y="626434"/>
                  </a:lnTo>
                  <a:lnTo>
                    <a:pt x="7159085" y="673426"/>
                  </a:lnTo>
                  <a:lnTo>
                    <a:pt x="7163570" y="721311"/>
                  </a:lnTo>
                  <a:lnTo>
                    <a:pt x="7165085" y="770001"/>
                  </a:lnTo>
                  <a:lnTo>
                    <a:pt x="7165085" y="3850004"/>
                  </a:lnTo>
                  <a:lnTo>
                    <a:pt x="7163570" y="3898701"/>
                  </a:lnTo>
                  <a:lnTo>
                    <a:pt x="7159085" y="3946592"/>
                  </a:lnTo>
                  <a:lnTo>
                    <a:pt x="7151720" y="3993588"/>
                  </a:lnTo>
                  <a:lnTo>
                    <a:pt x="7141565" y="4039599"/>
                  </a:lnTo>
                  <a:lnTo>
                    <a:pt x="7128711" y="4084534"/>
                  </a:lnTo>
                  <a:lnTo>
                    <a:pt x="7113248" y="4128304"/>
                  </a:lnTo>
                  <a:lnTo>
                    <a:pt x="7095266" y="4170818"/>
                  </a:lnTo>
                  <a:lnTo>
                    <a:pt x="7074855" y="4211986"/>
                  </a:lnTo>
                  <a:lnTo>
                    <a:pt x="7052106" y="4251717"/>
                  </a:lnTo>
                  <a:lnTo>
                    <a:pt x="7027110" y="4289922"/>
                  </a:lnTo>
                  <a:lnTo>
                    <a:pt x="6999955" y="4326511"/>
                  </a:lnTo>
                  <a:lnTo>
                    <a:pt x="6970733" y="4361393"/>
                  </a:lnTo>
                  <a:lnTo>
                    <a:pt x="6939533" y="4394477"/>
                  </a:lnTo>
                  <a:lnTo>
                    <a:pt x="6906447" y="4425675"/>
                  </a:lnTo>
                  <a:lnTo>
                    <a:pt x="6871564" y="4454895"/>
                  </a:lnTo>
                  <a:lnTo>
                    <a:pt x="6834975" y="4482047"/>
                  </a:lnTo>
                  <a:lnTo>
                    <a:pt x="6796769" y="4507041"/>
                  </a:lnTo>
                  <a:lnTo>
                    <a:pt x="6757038" y="4529788"/>
                  </a:lnTo>
                  <a:lnTo>
                    <a:pt x="6715870" y="4550196"/>
                  </a:lnTo>
                  <a:lnTo>
                    <a:pt x="6673358" y="4568176"/>
                  </a:lnTo>
                  <a:lnTo>
                    <a:pt x="6629590" y="4583637"/>
                  </a:lnTo>
                  <a:lnTo>
                    <a:pt x="6584658" y="4596489"/>
                  </a:lnTo>
                  <a:lnTo>
                    <a:pt x="6538651" y="4606642"/>
                  </a:lnTo>
                  <a:lnTo>
                    <a:pt x="6491659" y="4614006"/>
                  </a:lnTo>
                  <a:lnTo>
                    <a:pt x="6443774" y="4618491"/>
                  </a:lnTo>
                  <a:lnTo>
                    <a:pt x="6395085" y="4620006"/>
                  </a:lnTo>
                  <a:lnTo>
                    <a:pt x="770013" y="4620006"/>
                  </a:lnTo>
                  <a:lnTo>
                    <a:pt x="721316" y="4618491"/>
                  </a:lnTo>
                  <a:lnTo>
                    <a:pt x="673423" y="4614006"/>
                  </a:lnTo>
                  <a:lnTo>
                    <a:pt x="626426" y="4606642"/>
                  </a:lnTo>
                  <a:lnTo>
                    <a:pt x="580414" y="4596489"/>
                  </a:lnTo>
                  <a:lnTo>
                    <a:pt x="535477" y="4583637"/>
                  </a:lnTo>
                  <a:lnTo>
                    <a:pt x="491707" y="4568176"/>
                  </a:lnTo>
                  <a:lnTo>
                    <a:pt x="449192" y="4550196"/>
                  </a:lnTo>
                  <a:lnTo>
                    <a:pt x="408023" y="4529788"/>
                  </a:lnTo>
                  <a:lnTo>
                    <a:pt x="368291" y="4507041"/>
                  </a:lnTo>
                  <a:lnTo>
                    <a:pt x="330085" y="4482047"/>
                  </a:lnTo>
                  <a:lnTo>
                    <a:pt x="293496" y="4454895"/>
                  </a:lnTo>
                  <a:lnTo>
                    <a:pt x="258614" y="4425675"/>
                  </a:lnTo>
                  <a:lnTo>
                    <a:pt x="225529" y="4394477"/>
                  </a:lnTo>
                  <a:lnTo>
                    <a:pt x="194331" y="4361393"/>
                  </a:lnTo>
                  <a:lnTo>
                    <a:pt x="165111" y="4326511"/>
                  </a:lnTo>
                  <a:lnTo>
                    <a:pt x="137959" y="4289922"/>
                  </a:lnTo>
                  <a:lnTo>
                    <a:pt x="112964" y="4251717"/>
                  </a:lnTo>
                  <a:lnTo>
                    <a:pt x="90218" y="4211986"/>
                  </a:lnTo>
                  <a:lnTo>
                    <a:pt x="69809" y="4170818"/>
                  </a:lnTo>
                  <a:lnTo>
                    <a:pt x="51829" y="4128304"/>
                  </a:lnTo>
                  <a:lnTo>
                    <a:pt x="36368" y="4084534"/>
                  </a:lnTo>
                  <a:lnTo>
                    <a:pt x="23516" y="4039599"/>
                  </a:lnTo>
                  <a:lnTo>
                    <a:pt x="13363" y="3993588"/>
                  </a:lnTo>
                  <a:lnTo>
                    <a:pt x="5999" y="3946592"/>
                  </a:lnTo>
                  <a:lnTo>
                    <a:pt x="1514" y="3898701"/>
                  </a:lnTo>
                  <a:lnTo>
                    <a:pt x="0" y="3850004"/>
                  </a:lnTo>
                  <a:lnTo>
                    <a:pt x="0" y="770001"/>
                  </a:lnTo>
                  <a:close/>
                </a:path>
              </a:pathLst>
            </a:custGeom>
            <a:ln w="12954">
              <a:solidFill>
                <a:srgbClr val="30528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15">
              <a:extLst>
                <a:ext uri="{FF2B5EF4-FFF2-40B4-BE49-F238E27FC236}">
                  <a16:creationId xmlns:a16="http://schemas.microsoft.com/office/drawing/2014/main" id="{A0FCCF56-7E39-2451-E4AD-7EFCC8E8766A}"/>
                </a:ext>
              </a:extLst>
            </p:cNvPr>
            <p:cNvSpPr/>
            <p:nvPr/>
          </p:nvSpPr>
          <p:spPr>
            <a:xfrm>
              <a:off x="2140839" y="2496693"/>
              <a:ext cx="3256279" cy="2806065"/>
            </a:xfrm>
            <a:custGeom>
              <a:avLst/>
              <a:gdLst/>
              <a:ahLst/>
              <a:cxnLst/>
              <a:rect l="l" t="t" r="r" b="b"/>
              <a:pathLst>
                <a:path w="3256279" h="2806065">
                  <a:moveTo>
                    <a:pt x="0" y="1402842"/>
                  </a:moveTo>
                  <a:lnTo>
                    <a:pt x="804" y="1358306"/>
                  </a:lnTo>
                  <a:lnTo>
                    <a:pt x="3202" y="1314117"/>
                  </a:lnTo>
                  <a:lnTo>
                    <a:pt x="7170" y="1270295"/>
                  </a:lnTo>
                  <a:lnTo>
                    <a:pt x="12683" y="1226860"/>
                  </a:lnTo>
                  <a:lnTo>
                    <a:pt x="19719" y="1183834"/>
                  </a:lnTo>
                  <a:lnTo>
                    <a:pt x="28252" y="1141235"/>
                  </a:lnTo>
                  <a:lnTo>
                    <a:pt x="38260" y="1099086"/>
                  </a:lnTo>
                  <a:lnTo>
                    <a:pt x="49719" y="1057406"/>
                  </a:lnTo>
                  <a:lnTo>
                    <a:pt x="62603" y="1016216"/>
                  </a:lnTo>
                  <a:lnTo>
                    <a:pt x="76891" y="975537"/>
                  </a:lnTo>
                  <a:lnTo>
                    <a:pt x="92558" y="935388"/>
                  </a:lnTo>
                  <a:lnTo>
                    <a:pt x="109579" y="895792"/>
                  </a:lnTo>
                  <a:lnTo>
                    <a:pt x="127932" y="856767"/>
                  </a:lnTo>
                  <a:lnTo>
                    <a:pt x="147593" y="818336"/>
                  </a:lnTo>
                  <a:lnTo>
                    <a:pt x="168536" y="780517"/>
                  </a:lnTo>
                  <a:lnTo>
                    <a:pt x="190740" y="743332"/>
                  </a:lnTo>
                  <a:lnTo>
                    <a:pt x="214180" y="706802"/>
                  </a:lnTo>
                  <a:lnTo>
                    <a:pt x="238832" y="670946"/>
                  </a:lnTo>
                  <a:lnTo>
                    <a:pt x="264672" y="635786"/>
                  </a:lnTo>
                  <a:lnTo>
                    <a:pt x="291676" y="601342"/>
                  </a:lnTo>
                  <a:lnTo>
                    <a:pt x="319821" y="567634"/>
                  </a:lnTo>
                  <a:lnTo>
                    <a:pt x="349083" y="534683"/>
                  </a:lnTo>
                  <a:lnTo>
                    <a:pt x="379438" y="502510"/>
                  </a:lnTo>
                  <a:lnTo>
                    <a:pt x="410861" y="471135"/>
                  </a:lnTo>
                  <a:lnTo>
                    <a:pt x="443331" y="440578"/>
                  </a:lnTo>
                  <a:lnTo>
                    <a:pt x="476821" y="410860"/>
                  </a:lnTo>
                  <a:lnTo>
                    <a:pt x="511309" y="382002"/>
                  </a:lnTo>
                  <a:lnTo>
                    <a:pt x="546771" y="354025"/>
                  </a:lnTo>
                  <a:lnTo>
                    <a:pt x="583183" y="326948"/>
                  </a:lnTo>
                  <a:lnTo>
                    <a:pt x="620521" y="300792"/>
                  </a:lnTo>
                  <a:lnTo>
                    <a:pt x="658761" y="275578"/>
                  </a:lnTo>
                  <a:lnTo>
                    <a:pt x="697879" y="251326"/>
                  </a:lnTo>
                  <a:lnTo>
                    <a:pt x="737852" y="228057"/>
                  </a:lnTo>
                  <a:lnTo>
                    <a:pt x="778656" y="205792"/>
                  </a:lnTo>
                  <a:lnTo>
                    <a:pt x="820267" y="184550"/>
                  </a:lnTo>
                  <a:lnTo>
                    <a:pt x="862661" y="164353"/>
                  </a:lnTo>
                  <a:lnTo>
                    <a:pt x="905814" y="145221"/>
                  </a:lnTo>
                  <a:lnTo>
                    <a:pt x="949702" y="127174"/>
                  </a:lnTo>
                  <a:lnTo>
                    <a:pt x="994302" y="110234"/>
                  </a:lnTo>
                  <a:lnTo>
                    <a:pt x="1039590" y="94420"/>
                  </a:lnTo>
                  <a:lnTo>
                    <a:pt x="1085542" y="79753"/>
                  </a:lnTo>
                  <a:lnTo>
                    <a:pt x="1132134" y="66253"/>
                  </a:lnTo>
                  <a:lnTo>
                    <a:pt x="1179342" y="53942"/>
                  </a:lnTo>
                  <a:lnTo>
                    <a:pt x="1227142" y="42840"/>
                  </a:lnTo>
                  <a:lnTo>
                    <a:pt x="1275511" y="32967"/>
                  </a:lnTo>
                  <a:lnTo>
                    <a:pt x="1324425" y="24344"/>
                  </a:lnTo>
                  <a:lnTo>
                    <a:pt x="1373860" y="16991"/>
                  </a:lnTo>
                  <a:lnTo>
                    <a:pt x="1423791" y="10929"/>
                  </a:lnTo>
                  <a:lnTo>
                    <a:pt x="1474196" y="6178"/>
                  </a:lnTo>
                  <a:lnTo>
                    <a:pt x="1525051" y="2759"/>
                  </a:lnTo>
                  <a:lnTo>
                    <a:pt x="1576331" y="693"/>
                  </a:lnTo>
                  <a:lnTo>
                    <a:pt x="1628013" y="0"/>
                  </a:lnTo>
                  <a:lnTo>
                    <a:pt x="1679694" y="693"/>
                  </a:lnTo>
                  <a:lnTo>
                    <a:pt x="1730974" y="2759"/>
                  </a:lnTo>
                  <a:lnTo>
                    <a:pt x="1781829" y="6178"/>
                  </a:lnTo>
                  <a:lnTo>
                    <a:pt x="1832234" y="10929"/>
                  </a:lnTo>
                  <a:lnTo>
                    <a:pt x="1882165" y="16991"/>
                  </a:lnTo>
                  <a:lnTo>
                    <a:pt x="1931600" y="24344"/>
                  </a:lnTo>
                  <a:lnTo>
                    <a:pt x="1980514" y="32967"/>
                  </a:lnTo>
                  <a:lnTo>
                    <a:pt x="2028883" y="42840"/>
                  </a:lnTo>
                  <a:lnTo>
                    <a:pt x="2076683" y="53942"/>
                  </a:lnTo>
                  <a:lnTo>
                    <a:pt x="2123891" y="66253"/>
                  </a:lnTo>
                  <a:lnTo>
                    <a:pt x="2170483" y="79753"/>
                  </a:lnTo>
                  <a:lnTo>
                    <a:pt x="2216435" y="94420"/>
                  </a:lnTo>
                  <a:lnTo>
                    <a:pt x="2261723" y="110234"/>
                  </a:lnTo>
                  <a:lnTo>
                    <a:pt x="2306323" y="127174"/>
                  </a:lnTo>
                  <a:lnTo>
                    <a:pt x="2350211" y="145221"/>
                  </a:lnTo>
                  <a:lnTo>
                    <a:pt x="2393364" y="164353"/>
                  </a:lnTo>
                  <a:lnTo>
                    <a:pt x="2435758" y="184550"/>
                  </a:lnTo>
                  <a:lnTo>
                    <a:pt x="2477369" y="205792"/>
                  </a:lnTo>
                  <a:lnTo>
                    <a:pt x="2518173" y="228057"/>
                  </a:lnTo>
                  <a:lnTo>
                    <a:pt x="2558146" y="251326"/>
                  </a:lnTo>
                  <a:lnTo>
                    <a:pt x="2597264" y="275578"/>
                  </a:lnTo>
                  <a:lnTo>
                    <a:pt x="2635504" y="300792"/>
                  </a:lnTo>
                  <a:lnTo>
                    <a:pt x="2672842" y="326948"/>
                  </a:lnTo>
                  <a:lnTo>
                    <a:pt x="2709254" y="354025"/>
                  </a:lnTo>
                  <a:lnTo>
                    <a:pt x="2744716" y="382002"/>
                  </a:lnTo>
                  <a:lnTo>
                    <a:pt x="2779204" y="410860"/>
                  </a:lnTo>
                  <a:lnTo>
                    <a:pt x="2812694" y="440578"/>
                  </a:lnTo>
                  <a:lnTo>
                    <a:pt x="2845164" y="471135"/>
                  </a:lnTo>
                  <a:lnTo>
                    <a:pt x="2876587" y="502510"/>
                  </a:lnTo>
                  <a:lnTo>
                    <a:pt x="2906942" y="534683"/>
                  </a:lnTo>
                  <a:lnTo>
                    <a:pt x="2936204" y="567634"/>
                  </a:lnTo>
                  <a:lnTo>
                    <a:pt x="2964349" y="601342"/>
                  </a:lnTo>
                  <a:lnTo>
                    <a:pt x="2991353" y="635786"/>
                  </a:lnTo>
                  <a:lnTo>
                    <a:pt x="3017193" y="670946"/>
                  </a:lnTo>
                  <a:lnTo>
                    <a:pt x="3041845" y="706802"/>
                  </a:lnTo>
                  <a:lnTo>
                    <a:pt x="3065285" y="743332"/>
                  </a:lnTo>
                  <a:lnTo>
                    <a:pt x="3087489" y="780517"/>
                  </a:lnTo>
                  <a:lnTo>
                    <a:pt x="3108432" y="818336"/>
                  </a:lnTo>
                  <a:lnTo>
                    <a:pt x="3128093" y="856767"/>
                  </a:lnTo>
                  <a:lnTo>
                    <a:pt x="3146446" y="895792"/>
                  </a:lnTo>
                  <a:lnTo>
                    <a:pt x="3163467" y="935388"/>
                  </a:lnTo>
                  <a:lnTo>
                    <a:pt x="3179134" y="975537"/>
                  </a:lnTo>
                  <a:lnTo>
                    <a:pt x="3193422" y="1016216"/>
                  </a:lnTo>
                  <a:lnTo>
                    <a:pt x="3206306" y="1057406"/>
                  </a:lnTo>
                  <a:lnTo>
                    <a:pt x="3217765" y="1099086"/>
                  </a:lnTo>
                  <a:lnTo>
                    <a:pt x="3227773" y="1141235"/>
                  </a:lnTo>
                  <a:lnTo>
                    <a:pt x="3236306" y="1183834"/>
                  </a:lnTo>
                  <a:lnTo>
                    <a:pt x="3243342" y="1226860"/>
                  </a:lnTo>
                  <a:lnTo>
                    <a:pt x="3248855" y="1270295"/>
                  </a:lnTo>
                  <a:lnTo>
                    <a:pt x="3252823" y="1314117"/>
                  </a:lnTo>
                  <a:lnTo>
                    <a:pt x="3255221" y="1358306"/>
                  </a:lnTo>
                  <a:lnTo>
                    <a:pt x="3256026" y="1402842"/>
                  </a:lnTo>
                  <a:lnTo>
                    <a:pt x="3255221" y="1447377"/>
                  </a:lnTo>
                  <a:lnTo>
                    <a:pt x="3252823" y="1491566"/>
                  </a:lnTo>
                  <a:lnTo>
                    <a:pt x="3248855" y="1535388"/>
                  </a:lnTo>
                  <a:lnTo>
                    <a:pt x="3243342" y="1578823"/>
                  </a:lnTo>
                  <a:lnTo>
                    <a:pt x="3236306" y="1621849"/>
                  </a:lnTo>
                  <a:lnTo>
                    <a:pt x="3227773" y="1664448"/>
                  </a:lnTo>
                  <a:lnTo>
                    <a:pt x="3217765" y="1706597"/>
                  </a:lnTo>
                  <a:lnTo>
                    <a:pt x="3206306" y="1748277"/>
                  </a:lnTo>
                  <a:lnTo>
                    <a:pt x="3193422" y="1789467"/>
                  </a:lnTo>
                  <a:lnTo>
                    <a:pt x="3179134" y="1830146"/>
                  </a:lnTo>
                  <a:lnTo>
                    <a:pt x="3163467" y="1870295"/>
                  </a:lnTo>
                  <a:lnTo>
                    <a:pt x="3146446" y="1909891"/>
                  </a:lnTo>
                  <a:lnTo>
                    <a:pt x="3128093" y="1948916"/>
                  </a:lnTo>
                  <a:lnTo>
                    <a:pt x="3108432" y="1987347"/>
                  </a:lnTo>
                  <a:lnTo>
                    <a:pt x="3087489" y="2025166"/>
                  </a:lnTo>
                  <a:lnTo>
                    <a:pt x="3065285" y="2062351"/>
                  </a:lnTo>
                  <a:lnTo>
                    <a:pt x="3041845" y="2098881"/>
                  </a:lnTo>
                  <a:lnTo>
                    <a:pt x="3017193" y="2134737"/>
                  </a:lnTo>
                  <a:lnTo>
                    <a:pt x="2991353" y="2169897"/>
                  </a:lnTo>
                  <a:lnTo>
                    <a:pt x="2964349" y="2204341"/>
                  </a:lnTo>
                  <a:lnTo>
                    <a:pt x="2936204" y="2238049"/>
                  </a:lnTo>
                  <a:lnTo>
                    <a:pt x="2906942" y="2271000"/>
                  </a:lnTo>
                  <a:lnTo>
                    <a:pt x="2876587" y="2303173"/>
                  </a:lnTo>
                  <a:lnTo>
                    <a:pt x="2845164" y="2334548"/>
                  </a:lnTo>
                  <a:lnTo>
                    <a:pt x="2812694" y="2365105"/>
                  </a:lnTo>
                  <a:lnTo>
                    <a:pt x="2779204" y="2394823"/>
                  </a:lnTo>
                  <a:lnTo>
                    <a:pt x="2744716" y="2423681"/>
                  </a:lnTo>
                  <a:lnTo>
                    <a:pt x="2709254" y="2451658"/>
                  </a:lnTo>
                  <a:lnTo>
                    <a:pt x="2672842" y="2478735"/>
                  </a:lnTo>
                  <a:lnTo>
                    <a:pt x="2635504" y="2504891"/>
                  </a:lnTo>
                  <a:lnTo>
                    <a:pt x="2597264" y="2530105"/>
                  </a:lnTo>
                  <a:lnTo>
                    <a:pt x="2558146" y="2554357"/>
                  </a:lnTo>
                  <a:lnTo>
                    <a:pt x="2518173" y="2577626"/>
                  </a:lnTo>
                  <a:lnTo>
                    <a:pt x="2477369" y="2599891"/>
                  </a:lnTo>
                  <a:lnTo>
                    <a:pt x="2435758" y="2621133"/>
                  </a:lnTo>
                  <a:lnTo>
                    <a:pt x="2393364" y="2641330"/>
                  </a:lnTo>
                  <a:lnTo>
                    <a:pt x="2350211" y="2660462"/>
                  </a:lnTo>
                  <a:lnTo>
                    <a:pt x="2306323" y="2678509"/>
                  </a:lnTo>
                  <a:lnTo>
                    <a:pt x="2261723" y="2695449"/>
                  </a:lnTo>
                  <a:lnTo>
                    <a:pt x="2216435" y="2711263"/>
                  </a:lnTo>
                  <a:lnTo>
                    <a:pt x="2170483" y="2725930"/>
                  </a:lnTo>
                  <a:lnTo>
                    <a:pt x="2123891" y="2739430"/>
                  </a:lnTo>
                  <a:lnTo>
                    <a:pt x="2076683" y="2751741"/>
                  </a:lnTo>
                  <a:lnTo>
                    <a:pt x="2028883" y="2762843"/>
                  </a:lnTo>
                  <a:lnTo>
                    <a:pt x="1980514" y="2772716"/>
                  </a:lnTo>
                  <a:lnTo>
                    <a:pt x="1931600" y="2781339"/>
                  </a:lnTo>
                  <a:lnTo>
                    <a:pt x="1882165" y="2788692"/>
                  </a:lnTo>
                  <a:lnTo>
                    <a:pt x="1832234" y="2794754"/>
                  </a:lnTo>
                  <a:lnTo>
                    <a:pt x="1781829" y="2799505"/>
                  </a:lnTo>
                  <a:lnTo>
                    <a:pt x="1730974" y="2802924"/>
                  </a:lnTo>
                  <a:lnTo>
                    <a:pt x="1679694" y="2804990"/>
                  </a:lnTo>
                  <a:lnTo>
                    <a:pt x="1628013" y="2805684"/>
                  </a:lnTo>
                  <a:lnTo>
                    <a:pt x="1576331" y="2804990"/>
                  </a:lnTo>
                  <a:lnTo>
                    <a:pt x="1525051" y="2802924"/>
                  </a:lnTo>
                  <a:lnTo>
                    <a:pt x="1474196" y="2799505"/>
                  </a:lnTo>
                  <a:lnTo>
                    <a:pt x="1423791" y="2794754"/>
                  </a:lnTo>
                  <a:lnTo>
                    <a:pt x="1373860" y="2788692"/>
                  </a:lnTo>
                  <a:lnTo>
                    <a:pt x="1324425" y="2781339"/>
                  </a:lnTo>
                  <a:lnTo>
                    <a:pt x="1275511" y="2772716"/>
                  </a:lnTo>
                  <a:lnTo>
                    <a:pt x="1227142" y="2762843"/>
                  </a:lnTo>
                  <a:lnTo>
                    <a:pt x="1179342" y="2751741"/>
                  </a:lnTo>
                  <a:lnTo>
                    <a:pt x="1132134" y="2739430"/>
                  </a:lnTo>
                  <a:lnTo>
                    <a:pt x="1085542" y="2725930"/>
                  </a:lnTo>
                  <a:lnTo>
                    <a:pt x="1039590" y="2711263"/>
                  </a:lnTo>
                  <a:lnTo>
                    <a:pt x="994302" y="2695449"/>
                  </a:lnTo>
                  <a:lnTo>
                    <a:pt x="949702" y="2678509"/>
                  </a:lnTo>
                  <a:lnTo>
                    <a:pt x="905814" y="2660462"/>
                  </a:lnTo>
                  <a:lnTo>
                    <a:pt x="862661" y="2641330"/>
                  </a:lnTo>
                  <a:lnTo>
                    <a:pt x="820267" y="2621133"/>
                  </a:lnTo>
                  <a:lnTo>
                    <a:pt x="778656" y="2599891"/>
                  </a:lnTo>
                  <a:lnTo>
                    <a:pt x="737852" y="2577626"/>
                  </a:lnTo>
                  <a:lnTo>
                    <a:pt x="697879" y="2554357"/>
                  </a:lnTo>
                  <a:lnTo>
                    <a:pt x="658761" y="2530105"/>
                  </a:lnTo>
                  <a:lnTo>
                    <a:pt x="620521" y="2504891"/>
                  </a:lnTo>
                  <a:lnTo>
                    <a:pt x="583183" y="2478735"/>
                  </a:lnTo>
                  <a:lnTo>
                    <a:pt x="546771" y="2451658"/>
                  </a:lnTo>
                  <a:lnTo>
                    <a:pt x="511309" y="2423681"/>
                  </a:lnTo>
                  <a:lnTo>
                    <a:pt x="476821" y="2394823"/>
                  </a:lnTo>
                  <a:lnTo>
                    <a:pt x="443331" y="2365105"/>
                  </a:lnTo>
                  <a:lnTo>
                    <a:pt x="410861" y="2334548"/>
                  </a:lnTo>
                  <a:lnTo>
                    <a:pt x="379438" y="2303173"/>
                  </a:lnTo>
                  <a:lnTo>
                    <a:pt x="349083" y="2271000"/>
                  </a:lnTo>
                  <a:lnTo>
                    <a:pt x="319821" y="2238049"/>
                  </a:lnTo>
                  <a:lnTo>
                    <a:pt x="291676" y="2204341"/>
                  </a:lnTo>
                  <a:lnTo>
                    <a:pt x="264672" y="2169897"/>
                  </a:lnTo>
                  <a:lnTo>
                    <a:pt x="238832" y="2134737"/>
                  </a:lnTo>
                  <a:lnTo>
                    <a:pt x="214180" y="2098881"/>
                  </a:lnTo>
                  <a:lnTo>
                    <a:pt x="190740" y="2062351"/>
                  </a:lnTo>
                  <a:lnTo>
                    <a:pt x="168536" y="2025166"/>
                  </a:lnTo>
                  <a:lnTo>
                    <a:pt x="147593" y="1987347"/>
                  </a:lnTo>
                  <a:lnTo>
                    <a:pt x="127932" y="1948916"/>
                  </a:lnTo>
                  <a:lnTo>
                    <a:pt x="109579" y="1909891"/>
                  </a:lnTo>
                  <a:lnTo>
                    <a:pt x="92558" y="1870295"/>
                  </a:lnTo>
                  <a:lnTo>
                    <a:pt x="76891" y="1830146"/>
                  </a:lnTo>
                  <a:lnTo>
                    <a:pt x="62603" y="1789467"/>
                  </a:lnTo>
                  <a:lnTo>
                    <a:pt x="49719" y="1748277"/>
                  </a:lnTo>
                  <a:lnTo>
                    <a:pt x="38260" y="1706597"/>
                  </a:lnTo>
                  <a:lnTo>
                    <a:pt x="28252" y="1664448"/>
                  </a:lnTo>
                  <a:lnTo>
                    <a:pt x="19719" y="1621849"/>
                  </a:lnTo>
                  <a:lnTo>
                    <a:pt x="12683" y="1578823"/>
                  </a:lnTo>
                  <a:lnTo>
                    <a:pt x="7170" y="1535388"/>
                  </a:lnTo>
                  <a:lnTo>
                    <a:pt x="3202" y="1491566"/>
                  </a:lnTo>
                  <a:lnTo>
                    <a:pt x="804" y="1447377"/>
                  </a:lnTo>
                  <a:lnTo>
                    <a:pt x="0" y="1402842"/>
                  </a:lnTo>
                  <a:close/>
                </a:path>
              </a:pathLst>
            </a:custGeom>
            <a:ln w="12954">
              <a:solidFill>
                <a:srgbClr val="1124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16">
              <a:extLst>
                <a:ext uri="{FF2B5EF4-FFF2-40B4-BE49-F238E27FC236}">
                  <a16:creationId xmlns:a16="http://schemas.microsoft.com/office/drawing/2014/main" id="{ADF3818C-7A51-C020-868F-ADD52B5326E1}"/>
                </a:ext>
              </a:extLst>
            </p:cNvPr>
            <p:cNvSpPr/>
            <p:nvPr/>
          </p:nvSpPr>
          <p:spPr>
            <a:xfrm>
              <a:off x="838199" y="1316735"/>
              <a:ext cx="6204967" cy="388368"/>
            </a:xfrm>
            <a:custGeom>
              <a:avLst/>
              <a:gdLst/>
              <a:ahLst/>
              <a:cxnLst/>
              <a:rect l="l" t="t" r="r" b="b"/>
              <a:pathLst>
                <a:path w="6047740" h="321310">
                  <a:moveTo>
                    <a:pt x="5993765" y="0"/>
                  </a:moveTo>
                  <a:lnTo>
                    <a:pt x="53466" y="0"/>
                  </a:lnTo>
                  <a:lnTo>
                    <a:pt x="32656" y="4192"/>
                  </a:lnTo>
                  <a:lnTo>
                    <a:pt x="15660" y="15636"/>
                  </a:lnTo>
                  <a:lnTo>
                    <a:pt x="4201" y="32629"/>
                  </a:lnTo>
                  <a:lnTo>
                    <a:pt x="0" y="53466"/>
                  </a:lnTo>
                  <a:lnTo>
                    <a:pt x="0" y="267335"/>
                  </a:lnTo>
                  <a:lnTo>
                    <a:pt x="4201" y="288172"/>
                  </a:lnTo>
                  <a:lnTo>
                    <a:pt x="15660" y="305165"/>
                  </a:lnTo>
                  <a:lnTo>
                    <a:pt x="32656" y="316609"/>
                  </a:lnTo>
                  <a:lnTo>
                    <a:pt x="53466" y="320801"/>
                  </a:lnTo>
                  <a:lnTo>
                    <a:pt x="5993765" y="320801"/>
                  </a:lnTo>
                  <a:lnTo>
                    <a:pt x="6014602" y="316609"/>
                  </a:lnTo>
                  <a:lnTo>
                    <a:pt x="6031595" y="305165"/>
                  </a:lnTo>
                  <a:lnTo>
                    <a:pt x="6043039" y="288172"/>
                  </a:lnTo>
                  <a:lnTo>
                    <a:pt x="6047232" y="267335"/>
                  </a:lnTo>
                  <a:lnTo>
                    <a:pt x="6047232" y="53466"/>
                  </a:lnTo>
                  <a:lnTo>
                    <a:pt x="6043039" y="32629"/>
                  </a:lnTo>
                  <a:lnTo>
                    <a:pt x="6031595" y="15636"/>
                  </a:lnTo>
                  <a:lnTo>
                    <a:pt x="6014602" y="4192"/>
                  </a:lnTo>
                  <a:lnTo>
                    <a:pt x="599376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r>
                <a:rPr lang="nn-NO" sz="1800" spc="-5" dirty="0">
                  <a:solidFill>
                    <a:srgbClr val="081F58"/>
                  </a:solidFill>
                  <a:latin typeface="Arial MT"/>
                  <a:cs typeface="Arial MT"/>
                </a:rPr>
                <a:t>SISTEM</a:t>
              </a:r>
              <a:r>
                <a:rPr lang="nn-NO" sz="1800" spc="5" dirty="0">
                  <a:solidFill>
                    <a:srgbClr val="081F58"/>
                  </a:solidFill>
                  <a:latin typeface="Arial MT"/>
                  <a:cs typeface="Arial MT"/>
                </a:rPr>
                <a:t> </a:t>
              </a:r>
              <a:r>
                <a:rPr lang="nn-NO" sz="1800" spc="-5" dirty="0">
                  <a:solidFill>
                    <a:srgbClr val="081F58"/>
                  </a:solidFill>
                  <a:latin typeface="Arial MT"/>
                  <a:cs typeface="Arial MT"/>
                </a:rPr>
                <a:t>INFORMASI</a:t>
              </a:r>
              <a:r>
                <a:rPr lang="nn-NO" sz="1800" dirty="0">
                  <a:solidFill>
                    <a:srgbClr val="081F58"/>
                  </a:solidFill>
                  <a:latin typeface="Arial MT"/>
                  <a:cs typeface="Arial MT"/>
                </a:rPr>
                <a:t> JASA</a:t>
              </a:r>
              <a:r>
                <a:rPr lang="nn-NO" sz="1800" spc="5" dirty="0">
                  <a:solidFill>
                    <a:srgbClr val="081F58"/>
                  </a:solidFill>
                  <a:latin typeface="Arial MT"/>
                  <a:cs typeface="Arial MT"/>
                </a:rPr>
                <a:t> </a:t>
              </a:r>
              <a:r>
                <a:rPr lang="nn-NO" sz="1800" spc="-5" dirty="0">
                  <a:solidFill>
                    <a:srgbClr val="081F58"/>
                  </a:solidFill>
                  <a:latin typeface="Arial MT"/>
                  <a:cs typeface="Arial MT"/>
                </a:rPr>
                <a:t>KONSTRUKSI</a:t>
              </a:r>
              <a:r>
                <a:rPr lang="nn-NO" sz="1800" dirty="0">
                  <a:solidFill>
                    <a:srgbClr val="081F58"/>
                  </a:solidFill>
                  <a:latin typeface="Arial MT"/>
                  <a:cs typeface="Arial MT"/>
                </a:rPr>
                <a:t> </a:t>
              </a:r>
              <a:r>
                <a:rPr lang="nn-NO" sz="1800" spc="-5" dirty="0">
                  <a:solidFill>
                    <a:srgbClr val="081F58"/>
                  </a:solidFill>
                  <a:latin typeface="Arial MT"/>
                  <a:cs typeface="Arial MT"/>
                </a:rPr>
                <a:t>TERINTEGRASI</a:t>
              </a:r>
              <a:endParaRPr lang="nn-NO" sz="1800" dirty="0">
                <a:latin typeface="Arial MT"/>
                <a:cs typeface="Arial MT"/>
              </a:endParaRPr>
            </a:p>
            <a:p>
              <a:endParaRPr lang="en-ID" dirty="0"/>
            </a:p>
          </p:txBody>
        </p:sp>
        <p:sp>
          <p:nvSpPr>
            <p:cNvPr id="36" name="object 17">
              <a:extLst>
                <a:ext uri="{FF2B5EF4-FFF2-40B4-BE49-F238E27FC236}">
                  <a16:creationId xmlns:a16="http://schemas.microsoft.com/office/drawing/2014/main" id="{0B973C9B-3DB4-D55E-DB12-9E9599209A12}"/>
                </a:ext>
              </a:extLst>
            </p:cNvPr>
            <p:cNvSpPr/>
            <p:nvPr/>
          </p:nvSpPr>
          <p:spPr>
            <a:xfrm>
              <a:off x="2921127" y="2300859"/>
              <a:ext cx="1741170" cy="723265"/>
            </a:xfrm>
            <a:custGeom>
              <a:avLst/>
              <a:gdLst/>
              <a:ahLst/>
              <a:cxnLst/>
              <a:rect l="l" t="t" r="r" b="b"/>
              <a:pathLst>
                <a:path w="1741170" h="723264">
                  <a:moveTo>
                    <a:pt x="1620647" y="0"/>
                  </a:moveTo>
                  <a:lnTo>
                    <a:pt x="120523" y="0"/>
                  </a:lnTo>
                  <a:lnTo>
                    <a:pt x="73616" y="9473"/>
                  </a:lnTo>
                  <a:lnTo>
                    <a:pt x="35305" y="35306"/>
                  </a:lnTo>
                  <a:lnTo>
                    <a:pt x="9473" y="73616"/>
                  </a:lnTo>
                  <a:lnTo>
                    <a:pt x="0" y="120523"/>
                  </a:lnTo>
                  <a:lnTo>
                    <a:pt x="0" y="602614"/>
                  </a:lnTo>
                  <a:lnTo>
                    <a:pt x="9473" y="649521"/>
                  </a:lnTo>
                  <a:lnTo>
                    <a:pt x="35306" y="687832"/>
                  </a:lnTo>
                  <a:lnTo>
                    <a:pt x="73616" y="713664"/>
                  </a:lnTo>
                  <a:lnTo>
                    <a:pt x="120523" y="723138"/>
                  </a:lnTo>
                  <a:lnTo>
                    <a:pt x="1620647" y="723138"/>
                  </a:lnTo>
                  <a:lnTo>
                    <a:pt x="1667553" y="713664"/>
                  </a:lnTo>
                  <a:lnTo>
                    <a:pt x="1705864" y="687832"/>
                  </a:lnTo>
                  <a:lnTo>
                    <a:pt x="1731696" y="649521"/>
                  </a:lnTo>
                  <a:lnTo>
                    <a:pt x="1741170" y="602614"/>
                  </a:lnTo>
                  <a:lnTo>
                    <a:pt x="1741170" y="120523"/>
                  </a:lnTo>
                  <a:lnTo>
                    <a:pt x="1731696" y="73616"/>
                  </a:lnTo>
                  <a:lnTo>
                    <a:pt x="1705864" y="35306"/>
                  </a:lnTo>
                  <a:lnTo>
                    <a:pt x="1667553" y="9473"/>
                  </a:lnTo>
                  <a:lnTo>
                    <a:pt x="1620647" y="0"/>
                  </a:lnTo>
                  <a:close/>
                </a:path>
              </a:pathLst>
            </a:custGeom>
            <a:solidFill>
              <a:srgbClr val="081F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18">
              <a:extLst>
                <a:ext uri="{FF2B5EF4-FFF2-40B4-BE49-F238E27FC236}">
                  <a16:creationId xmlns:a16="http://schemas.microsoft.com/office/drawing/2014/main" id="{E2B7A416-2C0E-6703-F362-C5296C84DC50}"/>
                </a:ext>
              </a:extLst>
            </p:cNvPr>
            <p:cNvSpPr/>
            <p:nvPr/>
          </p:nvSpPr>
          <p:spPr>
            <a:xfrm>
              <a:off x="2921127" y="2300859"/>
              <a:ext cx="1741170" cy="723265"/>
            </a:xfrm>
            <a:custGeom>
              <a:avLst/>
              <a:gdLst/>
              <a:ahLst/>
              <a:cxnLst/>
              <a:rect l="l" t="t" r="r" b="b"/>
              <a:pathLst>
                <a:path w="1741170" h="723264">
                  <a:moveTo>
                    <a:pt x="0" y="120523"/>
                  </a:moveTo>
                  <a:lnTo>
                    <a:pt x="9473" y="73616"/>
                  </a:lnTo>
                  <a:lnTo>
                    <a:pt x="35306" y="35306"/>
                  </a:lnTo>
                  <a:lnTo>
                    <a:pt x="73616" y="9473"/>
                  </a:lnTo>
                  <a:lnTo>
                    <a:pt x="120523" y="0"/>
                  </a:lnTo>
                  <a:lnTo>
                    <a:pt x="1620647" y="0"/>
                  </a:lnTo>
                  <a:lnTo>
                    <a:pt x="1667553" y="9473"/>
                  </a:lnTo>
                  <a:lnTo>
                    <a:pt x="1705864" y="35306"/>
                  </a:lnTo>
                  <a:lnTo>
                    <a:pt x="1731696" y="73616"/>
                  </a:lnTo>
                  <a:lnTo>
                    <a:pt x="1741170" y="120523"/>
                  </a:lnTo>
                  <a:lnTo>
                    <a:pt x="1741170" y="602615"/>
                  </a:lnTo>
                  <a:lnTo>
                    <a:pt x="1731696" y="649521"/>
                  </a:lnTo>
                  <a:lnTo>
                    <a:pt x="1705864" y="687832"/>
                  </a:lnTo>
                  <a:lnTo>
                    <a:pt x="1667553" y="713664"/>
                  </a:lnTo>
                  <a:lnTo>
                    <a:pt x="1620647" y="723138"/>
                  </a:lnTo>
                  <a:lnTo>
                    <a:pt x="120523" y="723138"/>
                  </a:lnTo>
                  <a:lnTo>
                    <a:pt x="73616" y="713664"/>
                  </a:lnTo>
                  <a:lnTo>
                    <a:pt x="35306" y="687832"/>
                  </a:lnTo>
                  <a:lnTo>
                    <a:pt x="9473" y="649521"/>
                  </a:lnTo>
                  <a:lnTo>
                    <a:pt x="0" y="602615"/>
                  </a:lnTo>
                  <a:lnTo>
                    <a:pt x="0" y="120523"/>
                  </a:lnTo>
                  <a:close/>
                </a:path>
              </a:pathLst>
            </a:custGeom>
            <a:ln w="12954">
              <a:solidFill>
                <a:srgbClr val="2E539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8" name="object 20">
            <a:extLst>
              <a:ext uri="{FF2B5EF4-FFF2-40B4-BE49-F238E27FC236}">
                <a16:creationId xmlns:a16="http://schemas.microsoft.com/office/drawing/2014/main" id="{02249AEA-ADE1-B757-B26C-CC4CA8100EB5}"/>
              </a:ext>
            </a:extLst>
          </p:cNvPr>
          <p:cNvSpPr txBox="1"/>
          <p:nvPr/>
        </p:nvSpPr>
        <p:spPr>
          <a:xfrm>
            <a:off x="10548366" y="3317546"/>
            <a:ext cx="1382395" cy="873315"/>
          </a:xfrm>
          <a:prstGeom prst="rect">
            <a:avLst/>
          </a:prstGeom>
        </p:spPr>
        <p:txBody>
          <a:bodyPr vert="horz" wrap="square" lIns="0" tIns="52069" rIns="0" bIns="0" rtlCol="0">
            <a:spAutoFit/>
          </a:bodyPr>
          <a:lstStyle/>
          <a:p>
            <a:pPr marL="22860" marR="133985">
              <a:lnSpc>
                <a:spcPts val="1500"/>
              </a:lnSpc>
              <a:spcBef>
                <a:spcPts val="409"/>
              </a:spcBef>
            </a:pPr>
            <a:r>
              <a:rPr lang="en-US" sz="1300" dirty="0">
                <a:solidFill>
                  <a:srgbClr val="33434A"/>
                </a:solidFill>
                <a:latin typeface="Arial MT"/>
              </a:rPr>
              <a:t>PAJAK ONLINE (KEMENKEU)</a:t>
            </a:r>
          </a:p>
          <a:p>
            <a:pPr marL="22860" marR="133985">
              <a:lnSpc>
                <a:spcPts val="1500"/>
              </a:lnSpc>
              <a:spcBef>
                <a:spcPts val="409"/>
              </a:spcBef>
            </a:pPr>
            <a:r>
              <a:rPr lang="en-US" sz="1300" dirty="0">
                <a:solidFill>
                  <a:srgbClr val="33434A"/>
                </a:solidFill>
                <a:latin typeface="Arial MT"/>
              </a:rPr>
              <a:t>Database </a:t>
            </a:r>
            <a:r>
              <a:rPr lang="en-US" sz="1300" dirty="0" err="1">
                <a:solidFill>
                  <a:srgbClr val="33434A"/>
                </a:solidFill>
                <a:latin typeface="Arial MT"/>
              </a:rPr>
              <a:t>wajib</a:t>
            </a:r>
            <a:r>
              <a:rPr lang="en-US" sz="1300" dirty="0">
                <a:solidFill>
                  <a:srgbClr val="33434A"/>
                </a:solidFill>
                <a:latin typeface="Arial MT"/>
              </a:rPr>
              <a:t> </a:t>
            </a:r>
            <a:r>
              <a:rPr lang="en-US" sz="1300" dirty="0" err="1">
                <a:solidFill>
                  <a:srgbClr val="33434A"/>
                </a:solidFill>
                <a:latin typeface="Arial MT"/>
              </a:rPr>
              <a:t>pajak</a:t>
            </a:r>
            <a:endParaRPr sz="1300" dirty="0">
              <a:solidFill>
                <a:srgbClr val="33434A"/>
              </a:solidFill>
              <a:latin typeface="Arial MT"/>
            </a:endParaRPr>
          </a:p>
        </p:txBody>
      </p:sp>
      <p:sp>
        <p:nvSpPr>
          <p:cNvPr id="39" name="object 21">
            <a:extLst>
              <a:ext uri="{FF2B5EF4-FFF2-40B4-BE49-F238E27FC236}">
                <a16:creationId xmlns:a16="http://schemas.microsoft.com/office/drawing/2014/main" id="{0F2B7FB9-B3E4-7F6F-C6EE-4480A98166FA}"/>
              </a:ext>
            </a:extLst>
          </p:cNvPr>
          <p:cNvSpPr txBox="1"/>
          <p:nvPr/>
        </p:nvSpPr>
        <p:spPr>
          <a:xfrm>
            <a:off x="10523980" y="4300056"/>
            <a:ext cx="1619206" cy="10259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860" marR="133985">
              <a:lnSpc>
                <a:spcPts val="1500"/>
              </a:lnSpc>
              <a:spcBef>
                <a:spcPts val="409"/>
              </a:spcBef>
            </a:pPr>
            <a:r>
              <a:rPr lang="en-US" sz="1300" dirty="0">
                <a:solidFill>
                  <a:srgbClr val="33434A"/>
                </a:solidFill>
                <a:latin typeface="Arial MT"/>
              </a:rPr>
              <a:t>AHU (KEMENKUMHAM)</a:t>
            </a:r>
          </a:p>
          <a:p>
            <a:pPr marL="22860" marR="133985">
              <a:lnSpc>
                <a:spcPts val="1500"/>
              </a:lnSpc>
              <a:spcBef>
                <a:spcPts val="409"/>
              </a:spcBef>
            </a:pPr>
            <a:r>
              <a:rPr lang="en-US" sz="1300" dirty="0">
                <a:solidFill>
                  <a:srgbClr val="33434A"/>
                </a:solidFill>
                <a:latin typeface="Arial MT"/>
              </a:rPr>
              <a:t>Database </a:t>
            </a:r>
            <a:r>
              <a:rPr lang="en-US" sz="1300" dirty="0" err="1">
                <a:solidFill>
                  <a:srgbClr val="33434A"/>
                </a:solidFill>
                <a:latin typeface="Arial MT"/>
              </a:rPr>
              <a:t>instansi</a:t>
            </a:r>
            <a:r>
              <a:rPr lang="en-US" sz="1300" dirty="0">
                <a:solidFill>
                  <a:srgbClr val="33434A"/>
                </a:solidFill>
                <a:latin typeface="Arial MT"/>
              </a:rPr>
              <a:t>/Lembaga </a:t>
            </a:r>
            <a:r>
              <a:rPr lang="en-US" sz="1300" dirty="0" err="1">
                <a:solidFill>
                  <a:srgbClr val="33434A"/>
                </a:solidFill>
                <a:latin typeface="Arial MT"/>
              </a:rPr>
              <a:t>berbadan</a:t>
            </a:r>
            <a:r>
              <a:rPr lang="en-US" sz="1300" dirty="0">
                <a:solidFill>
                  <a:srgbClr val="33434A"/>
                </a:solidFill>
                <a:latin typeface="Arial MT"/>
              </a:rPr>
              <a:t> </a:t>
            </a:r>
            <a:r>
              <a:rPr lang="en-US" sz="1300" dirty="0" err="1">
                <a:solidFill>
                  <a:srgbClr val="33434A"/>
                </a:solidFill>
                <a:latin typeface="Arial MT"/>
              </a:rPr>
              <a:t>hukum</a:t>
            </a:r>
            <a:endParaRPr lang="en-ID" sz="1300" dirty="0">
              <a:solidFill>
                <a:srgbClr val="33434A"/>
              </a:solidFill>
              <a:latin typeface="Arial MT"/>
            </a:endParaRPr>
          </a:p>
        </p:txBody>
      </p:sp>
      <p:sp>
        <p:nvSpPr>
          <p:cNvPr id="40" name="object 22">
            <a:extLst>
              <a:ext uri="{FF2B5EF4-FFF2-40B4-BE49-F238E27FC236}">
                <a16:creationId xmlns:a16="http://schemas.microsoft.com/office/drawing/2014/main" id="{3F66E0F4-DECB-418D-1C4F-F68431878D36}"/>
              </a:ext>
            </a:extLst>
          </p:cNvPr>
          <p:cNvSpPr txBox="1"/>
          <p:nvPr/>
        </p:nvSpPr>
        <p:spPr>
          <a:xfrm>
            <a:off x="8394954" y="2032964"/>
            <a:ext cx="2345055" cy="11798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860">
              <a:lnSpc>
                <a:spcPts val="1500"/>
              </a:lnSpc>
              <a:spcBef>
                <a:spcPts val="100"/>
              </a:spcBef>
            </a:pPr>
            <a:r>
              <a:rPr lang="en-ID" sz="1300" dirty="0">
                <a:solidFill>
                  <a:srgbClr val="33434A"/>
                </a:solidFill>
                <a:latin typeface="Arial MT"/>
              </a:rPr>
              <a:t>DUKCAPIL (KEMENDAGRI)</a:t>
            </a:r>
          </a:p>
          <a:p>
            <a:pPr marL="22860">
              <a:lnSpc>
                <a:spcPts val="1500"/>
              </a:lnSpc>
            </a:pPr>
            <a:r>
              <a:rPr lang="en-US" sz="1300" dirty="0">
                <a:solidFill>
                  <a:srgbClr val="33434A"/>
                </a:solidFill>
                <a:latin typeface="Arial MT"/>
              </a:rPr>
              <a:t>Database </a:t>
            </a:r>
            <a:r>
              <a:rPr lang="en-US" sz="1300" dirty="0" err="1">
                <a:solidFill>
                  <a:srgbClr val="33434A"/>
                </a:solidFill>
                <a:latin typeface="Arial MT"/>
              </a:rPr>
              <a:t>Kependudukan</a:t>
            </a:r>
            <a:endParaRPr lang="en-US" sz="1300" dirty="0">
              <a:solidFill>
                <a:srgbClr val="33434A"/>
              </a:solidFill>
              <a:latin typeface="Arial MT"/>
            </a:endParaRPr>
          </a:p>
          <a:p>
            <a:pPr marL="50800">
              <a:lnSpc>
                <a:spcPts val="1570"/>
              </a:lnSpc>
            </a:pPr>
            <a:endParaRPr lang="en-US" sz="1300" dirty="0">
              <a:latin typeface="Arial MT"/>
              <a:cs typeface="Arial MT"/>
            </a:endParaRPr>
          </a:p>
          <a:p>
            <a:pPr marL="22860">
              <a:lnSpc>
                <a:spcPts val="1500"/>
              </a:lnSpc>
            </a:pPr>
            <a:r>
              <a:rPr lang="en-US" sz="1300" dirty="0">
                <a:solidFill>
                  <a:srgbClr val="33434A"/>
                </a:solidFill>
                <a:latin typeface="Arial MT"/>
              </a:rPr>
              <a:t>SPSE (LKPP)</a:t>
            </a:r>
          </a:p>
          <a:p>
            <a:pPr marL="22860">
              <a:lnSpc>
                <a:spcPts val="1500"/>
              </a:lnSpc>
            </a:pPr>
            <a:r>
              <a:rPr lang="en-US" sz="1300" dirty="0" err="1">
                <a:solidFill>
                  <a:srgbClr val="33434A"/>
                </a:solidFill>
                <a:latin typeface="Arial MT"/>
              </a:rPr>
              <a:t>Sistem</a:t>
            </a:r>
            <a:r>
              <a:rPr lang="en-US" sz="1300" dirty="0">
                <a:solidFill>
                  <a:srgbClr val="33434A"/>
                </a:solidFill>
                <a:latin typeface="Arial MT"/>
              </a:rPr>
              <a:t> </a:t>
            </a:r>
            <a:r>
              <a:rPr lang="en-US" sz="1300" dirty="0" err="1">
                <a:solidFill>
                  <a:srgbClr val="33434A"/>
                </a:solidFill>
                <a:latin typeface="Arial MT"/>
              </a:rPr>
              <a:t>Pengadaan</a:t>
            </a:r>
            <a:r>
              <a:rPr lang="en-US" sz="1300" dirty="0">
                <a:solidFill>
                  <a:srgbClr val="33434A"/>
                </a:solidFill>
                <a:latin typeface="Arial MT"/>
              </a:rPr>
              <a:t> </a:t>
            </a:r>
            <a:r>
              <a:rPr lang="en-US" sz="1300" dirty="0" err="1">
                <a:solidFill>
                  <a:srgbClr val="33434A"/>
                </a:solidFill>
                <a:latin typeface="Arial MT"/>
              </a:rPr>
              <a:t>Secara</a:t>
            </a:r>
            <a:r>
              <a:rPr lang="en-US" sz="1300" dirty="0">
                <a:solidFill>
                  <a:srgbClr val="33434A"/>
                </a:solidFill>
                <a:latin typeface="Arial MT"/>
              </a:rPr>
              <a:t> </a:t>
            </a:r>
            <a:r>
              <a:rPr lang="en-US" sz="1300" dirty="0" err="1">
                <a:solidFill>
                  <a:srgbClr val="33434A"/>
                </a:solidFill>
                <a:latin typeface="Arial MT"/>
              </a:rPr>
              <a:t>Elektronik</a:t>
            </a:r>
            <a:endParaRPr sz="1300" dirty="0">
              <a:solidFill>
                <a:srgbClr val="33434A"/>
              </a:solidFill>
              <a:latin typeface="Arial MT"/>
            </a:endParaRPr>
          </a:p>
        </p:txBody>
      </p:sp>
      <p:sp>
        <p:nvSpPr>
          <p:cNvPr id="41" name="object 23">
            <a:extLst>
              <a:ext uri="{FF2B5EF4-FFF2-40B4-BE49-F238E27FC236}">
                <a16:creationId xmlns:a16="http://schemas.microsoft.com/office/drawing/2014/main" id="{225CDF7F-2BBF-50F9-2FE4-BB9CF3CF4F9C}"/>
              </a:ext>
            </a:extLst>
          </p:cNvPr>
          <p:cNvSpPr txBox="1"/>
          <p:nvPr/>
        </p:nvSpPr>
        <p:spPr>
          <a:xfrm>
            <a:off x="3061716" y="2263715"/>
            <a:ext cx="1296670" cy="607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5270">
              <a:lnSpc>
                <a:spcPts val="2270"/>
              </a:lnSpc>
              <a:spcBef>
                <a:spcPts val="100"/>
              </a:spcBef>
            </a:pPr>
            <a:r>
              <a:rPr sz="1900" spc="-5" dirty="0">
                <a:solidFill>
                  <a:srgbClr val="FBC83D"/>
                </a:solidFill>
                <a:latin typeface="Arial MT"/>
                <a:cs typeface="Arial MT"/>
              </a:rPr>
              <a:t>SIMPAN</a:t>
            </a:r>
            <a:endParaRPr sz="1900">
              <a:latin typeface="Arial MT"/>
              <a:cs typeface="Arial MT"/>
            </a:endParaRPr>
          </a:p>
          <a:p>
            <a:pPr marL="293370">
              <a:lnSpc>
                <a:spcPts val="1070"/>
              </a:lnSpc>
            </a:pPr>
            <a:r>
              <a:rPr sz="900" spc="-5" dirty="0">
                <a:solidFill>
                  <a:srgbClr val="FFFFFF"/>
                </a:solidFill>
                <a:latin typeface="Arial MT"/>
                <a:cs typeface="Arial MT"/>
              </a:rPr>
              <a:t>Sistem</a:t>
            </a:r>
            <a:r>
              <a:rPr sz="900" spc="-3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Informasi</a:t>
            </a:r>
            <a:endParaRPr sz="9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160"/>
              </a:spcBef>
            </a:pP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Manajemen Pengalaman</a:t>
            </a:r>
            <a:endParaRPr sz="900">
              <a:latin typeface="Arial MT"/>
              <a:cs typeface="Arial MT"/>
            </a:endParaRPr>
          </a:p>
        </p:txBody>
      </p:sp>
      <p:grpSp>
        <p:nvGrpSpPr>
          <p:cNvPr id="42" name="object 24">
            <a:extLst>
              <a:ext uri="{FF2B5EF4-FFF2-40B4-BE49-F238E27FC236}">
                <a16:creationId xmlns:a16="http://schemas.microsoft.com/office/drawing/2014/main" id="{EE38A526-BE68-CF1E-FF7E-5BA93B12EE8F}"/>
              </a:ext>
            </a:extLst>
          </p:cNvPr>
          <p:cNvGrpSpPr/>
          <p:nvPr/>
        </p:nvGrpSpPr>
        <p:grpSpPr>
          <a:xfrm>
            <a:off x="756475" y="3058731"/>
            <a:ext cx="5747385" cy="861060"/>
            <a:chOff x="756475" y="3147631"/>
            <a:chExt cx="5747385" cy="861060"/>
          </a:xfrm>
        </p:grpSpPr>
        <p:sp>
          <p:nvSpPr>
            <p:cNvPr id="43" name="object 25">
              <a:extLst>
                <a:ext uri="{FF2B5EF4-FFF2-40B4-BE49-F238E27FC236}">
                  <a16:creationId xmlns:a16="http://schemas.microsoft.com/office/drawing/2014/main" id="{4749C507-93CF-6388-8E0F-4B1ADEA65277}"/>
                </a:ext>
              </a:extLst>
            </p:cNvPr>
            <p:cNvSpPr/>
            <p:nvPr/>
          </p:nvSpPr>
          <p:spPr>
            <a:xfrm>
              <a:off x="763142" y="3154299"/>
              <a:ext cx="1740535" cy="723265"/>
            </a:xfrm>
            <a:custGeom>
              <a:avLst/>
              <a:gdLst/>
              <a:ahLst/>
              <a:cxnLst/>
              <a:rect l="l" t="t" r="r" b="b"/>
              <a:pathLst>
                <a:path w="1740535" h="723264">
                  <a:moveTo>
                    <a:pt x="1619884" y="0"/>
                  </a:moveTo>
                  <a:lnTo>
                    <a:pt x="120522" y="0"/>
                  </a:lnTo>
                  <a:lnTo>
                    <a:pt x="73610" y="9473"/>
                  </a:lnTo>
                  <a:lnTo>
                    <a:pt x="35301" y="35306"/>
                  </a:lnTo>
                  <a:lnTo>
                    <a:pt x="9471" y="73616"/>
                  </a:lnTo>
                  <a:lnTo>
                    <a:pt x="0" y="120523"/>
                  </a:lnTo>
                  <a:lnTo>
                    <a:pt x="0" y="602614"/>
                  </a:lnTo>
                  <a:lnTo>
                    <a:pt x="9471" y="649521"/>
                  </a:lnTo>
                  <a:lnTo>
                    <a:pt x="35301" y="687832"/>
                  </a:lnTo>
                  <a:lnTo>
                    <a:pt x="73610" y="713664"/>
                  </a:lnTo>
                  <a:lnTo>
                    <a:pt x="120522" y="723138"/>
                  </a:lnTo>
                  <a:lnTo>
                    <a:pt x="1619884" y="723138"/>
                  </a:lnTo>
                  <a:lnTo>
                    <a:pt x="1666791" y="713664"/>
                  </a:lnTo>
                  <a:lnTo>
                    <a:pt x="1705102" y="687832"/>
                  </a:lnTo>
                  <a:lnTo>
                    <a:pt x="1730934" y="649521"/>
                  </a:lnTo>
                  <a:lnTo>
                    <a:pt x="1740408" y="602614"/>
                  </a:lnTo>
                  <a:lnTo>
                    <a:pt x="1740408" y="120523"/>
                  </a:lnTo>
                  <a:lnTo>
                    <a:pt x="1730934" y="73616"/>
                  </a:lnTo>
                  <a:lnTo>
                    <a:pt x="1705102" y="35306"/>
                  </a:lnTo>
                  <a:lnTo>
                    <a:pt x="1666791" y="9473"/>
                  </a:lnTo>
                  <a:lnTo>
                    <a:pt x="1619884" y="0"/>
                  </a:lnTo>
                  <a:close/>
                </a:path>
              </a:pathLst>
            </a:custGeom>
            <a:solidFill>
              <a:srgbClr val="081F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26">
              <a:extLst>
                <a:ext uri="{FF2B5EF4-FFF2-40B4-BE49-F238E27FC236}">
                  <a16:creationId xmlns:a16="http://schemas.microsoft.com/office/drawing/2014/main" id="{C27ED613-0E95-2DEC-000A-03DC0C93A899}"/>
                </a:ext>
              </a:extLst>
            </p:cNvPr>
            <p:cNvSpPr/>
            <p:nvPr/>
          </p:nvSpPr>
          <p:spPr>
            <a:xfrm>
              <a:off x="763142" y="3154299"/>
              <a:ext cx="1740535" cy="723265"/>
            </a:xfrm>
            <a:custGeom>
              <a:avLst/>
              <a:gdLst/>
              <a:ahLst/>
              <a:cxnLst/>
              <a:rect l="l" t="t" r="r" b="b"/>
              <a:pathLst>
                <a:path w="1740535" h="723264">
                  <a:moveTo>
                    <a:pt x="0" y="120523"/>
                  </a:moveTo>
                  <a:lnTo>
                    <a:pt x="9471" y="73616"/>
                  </a:lnTo>
                  <a:lnTo>
                    <a:pt x="35301" y="35306"/>
                  </a:lnTo>
                  <a:lnTo>
                    <a:pt x="73610" y="9473"/>
                  </a:lnTo>
                  <a:lnTo>
                    <a:pt x="120523" y="0"/>
                  </a:lnTo>
                  <a:lnTo>
                    <a:pt x="1619885" y="0"/>
                  </a:lnTo>
                  <a:lnTo>
                    <a:pt x="1666791" y="9473"/>
                  </a:lnTo>
                  <a:lnTo>
                    <a:pt x="1705102" y="35306"/>
                  </a:lnTo>
                  <a:lnTo>
                    <a:pt x="1730934" y="73616"/>
                  </a:lnTo>
                  <a:lnTo>
                    <a:pt x="1740408" y="120523"/>
                  </a:lnTo>
                  <a:lnTo>
                    <a:pt x="1740408" y="602615"/>
                  </a:lnTo>
                  <a:lnTo>
                    <a:pt x="1730934" y="649521"/>
                  </a:lnTo>
                  <a:lnTo>
                    <a:pt x="1705102" y="687832"/>
                  </a:lnTo>
                  <a:lnTo>
                    <a:pt x="1666791" y="713664"/>
                  </a:lnTo>
                  <a:lnTo>
                    <a:pt x="1619885" y="723138"/>
                  </a:lnTo>
                  <a:lnTo>
                    <a:pt x="120523" y="723138"/>
                  </a:lnTo>
                  <a:lnTo>
                    <a:pt x="73610" y="713664"/>
                  </a:lnTo>
                  <a:lnTo>
                    <a:pt x="35301" y="687832"/>
                  </a:lnTo>
                  <a:lnTo>
                    <a:pt x="9471" y="649521"/>
                  </a:lnTo>
                  <a:lnTo>
                    <a:pt x="0" y="602615"/>
                  </a:lnTo>
                  <a:lnTo>
                    <a:pt x="0" y="120523"/>
                  </a:lnTo>
                  <a:close/>
                </a:path>
              </a:pathLst>
            </a:custGeom>
            <a:ln w="12954">
              <a:solidFill>
                <a:srgbClr val="2E539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27">
              <a:extLst>
                <a:ext uri="{FF2B5EF4-FFF2-40B4-BE49-F238E27FC236}">
                  <a16:creationId xmlns:a16="http://schemas.microsoft.com/office/drawing/2014/main" id="{ABA3F987-6A15-89F5-ADEA-A1F5CBEF5EE9}"/>
                </a:ext>
              </a:extLst>
            </p:cNvPr>
            <p:cNvSpPr/>
            <p:nvPr/>
          </p:nvSpPr>
          <p:spPr>
            <a:xfrm>
              <a:off x="4756784" y="3278505"/>
              <a:ext cx="1740535" cy="723265"/>
            </a:xfrm>
            <a:custGeom>
              <a:avLst/>
              <a:gdLst/>
              <a:ahLst/>
              <a:cxnLst/>
              <a:rect l="l" t="t" r="r" b="b"/>
              <a:pathLst>
                <a:path w="1740535" h="723264">
                  <a:moveTo>
                    <a:pt x="1619885" y="0"/>
                  </a:moveTo>
                  <a:lnTo>
                    <a:pt x="120523" y="0"/>
                  </a:lnTo>
                  <a:lnTo>
                    <a:pt x="73616" y="9473"/>
                  </a:lnTo>
                  <a:lnTo>
                    <a:pt x="35305" y="35306"/>
                  </a:lnTo>
                  <a:lnTo>
                    <a:pt x="9473" y="73616"/>
                  </a:lnTo>
                  <a:lnTo>
                    <a:pt x="0" y="120523"/>
                  </a:lnTo>
                  <a:lnTo>
                    <a:pt x="0" y="602615"/>
                  </a:lnTo>
                  <a:lnTo>
                    <a:pt x="9473" y="649521"/>
                  </a:lnTo>
                  <a:lnTo>
                    <a:pt x="35305" y="687832"/>
                  </a:lnTo>
                  <a:lnTo>
                    <a:pt x="73616" y="713664"/>
                  </a:lnTo>
                  <a:lnTo>
                    <a:pt x="120523" y="723138"/>
                  </a:lnTo>
                  <a:lnTo>
                    <a:pt x="1619885" y="723138"/>
                  </a:lnTo>
                  <a:lnTo>
                    <a:pt x="1666791" y="713664"/>
                  </a:lnTo>
                  <a:lnTo>
                    <a:pt x="1705101" y="687832"/>
                  </a:lnTo>
                  <a:lnTo>
                    <a:pt x="1730934" y="649521"/>
                  </a:lnTo>
                  <a:lnTo>
                    <a:pt x="1740407" y="602615"/>
                  </a:lnTo>
                  <a:lnTo>
                    <a:pt x="1740407" y="120523"/>
                  </a:lnTo>
                  <a:lnTo>
                    <a:pt x="1730934" y="73616"/>
                  </a:lnTo>
                  <a:lnTo>
                    <a:pt x="1705101" y="35306"/>
                  </a:lnTo>
                  <a:lnTo>
                    <a:pt x="1666791" y="9473"/>
                  </a:lnTo>
                  <a:lnTo>
                    <a:pt x="1619885" y="0"/>
                  </a:lnTo>
                  <a:close/>
                </a:path>
              </a:pathLst>
            </a:custGeom>
            <a:solidFill>
              <a:srgbClr val="081F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28">
              <a:extLst>
                <a:ext uri="{FF2B5EF4-FFF2-40B4-BE49-F238E27FC236}">
                  <a16:creationId xmlns:a16="http://schemas.microsoft.com/office/drawing/2014/main" id="{196466F9-1A40-6EED-5D65-D971A0B39689}"/>
                </a:ext>
              </a:extLst>
            </p:cNvPr>
            <p:cNvSpPr/>
            <p:nvPr/>
          </p:nvSpPr>
          <p:spPr>
            <a:xfrm>
              <a:off x="4756784" y="3278505"/>
              <a:ext cx="1740535" cy="723265"/>
            </a:xfrm>
            <a:custGeom>
              <a:avLst/>
              <a:gdLst/>
              <a:ahLst/>
              <a:cxnLst/>
              <a:rect l="l" t="t" r="r" b="b"/>
              <a:pathLst>
                <a:path w="1740535" h="723264">
                  <a:moveTo>
                    <a:pt x="0" y="120523"/>
                  </a:moveTo>
                  <a:lnTo>
                    <a:pt x="9473" y="73616"/>
                  </a:lnTo>
                  <a:lnTo>
                    <a:pt x="35306" y="35306"/>
                  </a:lnTo>
                  <a:lnTo>
                    <a:pt x="73616" y="9473"/>
                  </a:lnTo>
                  <a:lnTo>
                    <a:pt x="120523" y="0"/>
                  </a:lnTo>
                  <a:lnTo>
                    <a:pt x="1619885" y="0"/>
                  </a:lnTo>
                  <a:lnTo>
                    <a:pt x="1666791" y="9473"/>
                  </a:lnTo>
                  <a:lnTo>
                    <a:pt x="1705102" y="35306"/>
                  </a:lnTo>
                  <a:lnTo>
                    <a:pt x="1730934" y="73616"/>
                  </a:lnTo>
                  <a:lnTo>
                    <a:pt x="1740408" y="120523"/>
                  </a:lnTo>
                  <a:lnTo>
                    <a:pt x="1740408" y="602615"/>
                  </a:lnTo>
                  <a:lnTo>
                    <a:pt x="1730934" y="649521"/>
                  </a:lnTo>
                  <a:lnTo>
                    <a:pt x="1705102" y="687832"/>
                  </a:lnTo>
                  <a:lnTo>
                    <a:pt x="1666791" y="713664"/>
                  </a:lnTo>
                  <a:lnTo>
                    <a:pt x="1619885" y="723138"/>
                  </a:lnTo>
                  <a:lnTo>
                    <a:pt x="120523" y="723138"/>
                  </a:lnTo>
                  <a:lnTo>
                    <a:pt x="73616" y="713664"/>
                  </a:lnTo>
                  <a:lnTo>
                    <a:pt x="35306" y="687832"/>
                  </a:lnTo>
                  <a:lnTo>
                    <a:pt x="9473" y="649521"/>
                  </a:lnTo>
                  <a:lnTo>
                    <a:pt x="0" y="602615"/>
                  </a:lnTo>
                  <a:lnTo>
                    <a:pt x="0" y="120523"/>
                  </a:lnTo>
                  <a:close/>
                </a:path>
              </a:pathLst>
            </a:custGeom>
            <a:ln w="12954">
              <a:solidFill>
                <a:srgbClr val="2E539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29">
            <a:extLst>
              <a:ext uri="{FF2B5EF4-FFF2-40B4-BE49-F238E27FC236}">
                <a16:creationId xmlns:a16="http://schemas.microsoft.com/office/drawing/2014/main" id="{F2FBE026-FB40-A248-6BE8-2B8AF3A42CD5}"/>
              </a:ext>
            </a:extLst>
          </p:cNvPr>
          <p:cNvSpPr txBox="1"/>
          <p:nvPr/>
        </p:nvSpPr>
        <p:spPr>
          <a:xfrm>
            <a:off x="4948173" y="3265975"/>
            <a:ext cx="1282065" cy="517525"/>
          </a:xfrm>
          <a:prstGeom prst="rect">
            <a:avLst/>
          </a:prstGeom>
        </p:spPr>
        <p:txBody>
          <a:bodyPr vert="horz" wrap="square" lIns="0" tIns="45085" rIns="0" bIns="0" rtlCol="0">
            <a:spAutoFit/>
          </a:bodyPr>
          <a:lstStyle/>
          <a:p>
            <a:pPr marL="313055">
              <a:lnSpc>
                <a:spcPct val="100000"/>
              </a:lnSpc>
              <a:spcBef>
                <a:spcPts val="355"/>
              </a:spcBef>
            </a:pPr>
            <a:r>
              <a:rPr sz="1900" spc="-5" dirty="0">
                <a:solidFill>
                  <a:srgbClr val="FBC83D"/>
                </a:solidFill>
                <a:latin typeface="Arial MT"/>
                <a:cs typeface="Arial MT"/>
              </a:rPr>
              <a:t>SIMPK</a:t>
            </a:r>
            <a:endParaRPr sz="19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1000" spc="-5" dirty="0">
                <a:solidFill>
                  <a:srgbClr val="FFFFFF"/>
                </a:solidFill>
                <a:latin typeface="Arial MT"/>
                <a:cs typeface="Arial MT"/>
              </a:rPr>
              <a:t>Sistem</a:t>
            </a:r>
            <a:r>
              <a:rPr sz="1000" spc="-3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000" dirty="0">
                <a:solidFill>
                  <a:srgbClr val="FFFFFF"/>
                </a:solidFill>
                <a:latin typeface="Arial MT"/>
                <a:cs typeface="Arial MT"/>
              </a:rPr>
              <a:t>Informasi</a:t>
            </a:r>
            <a:r>
              <a:rPr sz="1000" spc="-3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000" dirty="0">
                <a:solidFill>
                  <a:srgbClr val="FFFFFF"/>
                </a:solidFill>
                <a:latin typeface="Arial MT"/>
                <a:cs typeface="Arial MT"/>
              </a:rPr>
              <a:t>MPK</a:t>
            </a:r>
            <a:endParaRPr sz="1000">
              <a:latin typeface="Arial MT"/>
              <a:cs typeface="Arial MT"/>
            </a:endParaRPr>
          </a:p>
        </p:txBody>
      </p:sp>
      <p:grpSp>
        <p:nvGrpSpPr>
          <p:cNvPr id="48" name="object 30">
            <a:extLst>
              <a:ext uri="{FF2B5EF4-FFF2-40B4-BE49-F238E27FC236}">
                <a16:creationId xmlns:a16="http://schemas.microsoft.com/office/drawing/2014/main" id="{22CCEF3E-22F4-E4DB-6A04-809599A9B702}"/>
              </a:ext>
            </a:extLst>
          </p:cNvPr>
          <p:cNvGrpSpPr/>
          <p:nvPr/>
        </p:nvGrpSpPr>
        <p:grpSpPr>
          <a:xfrm>
            <a:off x="756475" y="4180395"/>
            <a:ext cx="1753870" cy="736600"/>
            <a:chOff x="756475" y="4269295"/>
            <a:chExt cx="1753870" cy="736600"/>
          </a:xfrm>
        </p:grpSpPr>
        <p:sp>
          <p:nvSpPr>
            <p:cNvPr id="49" name="object 31">
              <a:extLst>
                <a:ext uri="{FF2B5EF4-FFF2-40B4-BE49-F238E27FC236}">
                  <a16:creationId xmlns:a16="http://schemas.microsoft.com/office/drawing/2014/main" id="{DAE9847B-BAF8-A93F-5CB6-6A1C3D163691}"/>
                </a:ext>
              </a:extLst>
            </p:cNvPr>
            <p:cNvSpPr/>
            <p:nvPr/>
          </p:nvSpPr>
          <p:spPr>
            <a:xfrm>
              <a:off x="763142" y="4275963"/>
              <a:ext cx="1740535" cy="723265"/>
            </a:xfrm>
            <a:custGeom>
              <a:avLst/>
              <a:gdLst/>
              <a:ahLst/>
              <a:cxnLst/>
              <a:rect l="l" t="t" r="r" b="b"/>
              <a:pathLst>
                <a:path w="1740535" h="723264">
                  <a:moveTo>
                    <a:pt x="1619884" y="0"/>
                  </a:moveTo>
                  <a:lnTo>
                    <a:pt x="120522" y="0"/>
                  </a:lnTo>
                  <a:lnTo>
                    <a:pt x="73610" y="9473"/>
                  </a:lnTo>
                  <a:lnTo>
                    <a:pt x="35301" y="35306"/>
                  </a:lnTo>
                  <a:lnTo>
                    <a:pt x="9471" y="73616"/>
                  </a:lnTo>
                  <a:lnTo>
                    <a:pt x="0" y="120523"/>
                  </a:lnTo>
                  <a:lnTo>
                    <a:pt x="0" y="602614"/>
                  </a:lnTo>
                  <a:lnTo>
                    <a:pt x="9471" y="649521"/>
                  </a:lnTo>
                  <a:lnTo>
                    <a:pt x="35301" y="687832"/>
                  </a:lnTo>
                  <a:lnTo>
                    <a:pt x="73610" y="713664"/>
                  </a:lnTo>
                  <a:lnTo>
                    <a:pt x="120522" y="723138"/>
                  </a:lnTo>
                  <a:lnTo>
                    <a:pt x="1619884" y="723138"/>
                  </a:lnTo>
                  <a:lnTo>
                    <a:pt x="1666791" y="713664"/>
                  </a:lnTo>
                  <a:lnTo>
                    <a:pt x="1705102" y="687832"/>
                  </a:lnTo>
                  <a:lnTo>
                    <a:pt x="1730934" y="649521"/>
                  </a:lnTo>
                  <a:lnTo>
                    <a:pt x="1740408" y="602614"/>
                  </a:lnTo>
                  <a:lnTo>
                    <a:pt x="1740408" y="120523"/>
                  </a:lnTo>
                  <a:lnTo>
                    <a:pt x="1730934" y="73616"/>
                  </a:lnTo>
                  <a:lnTo>
                    <a:pt x="1705102" y="35306"/>
                  </a:lnTo>
                  <a:lnTo>
                    <a:pt x="1666791" y="9473"/>
                  </a:lnTo>
                  <a:lnTo>
                    <a:pt x="1619884" y="0"/>
                  </a:lnTo>
                  <a:close/>
                </a:path>
              </a:pathLst>
            </a:custGeom>
            <a:solidFill>
              <a:srgbClr val="081F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32">
              <a:extLst>
                <a:ext uri="{FF2B5EF4-FFF2-40B4-BE49-F238E27FC236}">
                  <a16:creationId xmlns:a16="http://schemas.microsoft.com/office/drawing/2014/main" id="{8CEA08EC-23D2-A8DA-8D19-8A045ADACE1B}"/>
                </a:ext>
              </a:extLst>
            </p:cNvPr>
            <p:cNvSpPr/>
            <p:nvPr/>
          </p:nvSpPr>
          <p:spPr>
            <a:xfrm>
              <a:off x="763142" y="4275963"/>
              <a:ext cx="1740535" cy="723265"/>
            </a:xfrm>
            <a:custGeom>
              <a:avLst/>
              <a:gdLst/>
              <a:ahLst/>
              <a:cxnLst/>
              <a:rect l="l" t="t" r="r" b="b"/>
              <a:pathLst>
                <a:path w="1740535" h="723264">
                  <a:moveTo>
                    <a:pt x="0" y="120523"/>
                  </a:moveTo>
                  <a:lnTo>
                    <a:pt x="9471" y="73616"/>
                  </a:lnTo>
                  <a:lnTo>
                    <a:pt x="35301" y="35306"/>
                  </a:lnTo>
                  <a:lnTo>
                    <a:pt x="73610" y="9473"/>
                  </a:lnTo>
                  <a:lnTo>
                    <a:pt x="120523" y="0"/>
                  </a:lnTo>
                  <a:lnTo>
                    <a:pt x="1619885" y="0"/>
                  </a:lnTo>
                  <a:lnTo>
                    <a:pt x="1666791" y="9473"/>
                  </a:lnTo>
                  <a:lnTo>
                    <a:pt x="1705102" y="35306"/>
                  </a:lnTo>
                  <a:lnTo>
                    <a:pt x="1730934" y="73616"/>
                  </a:lnTo>
                  <a:lnTo>
                    <a:pt x="1740408" y="120523"/>
                  </a:lnTo>
                  <a:lnTo>
                    <a:pt x="1740408" y="602615"/>
                  </a:lnTo>
                  <a:lnTo>
                    <a:pt x="1730934" y="649521"/>
                  </a:lnTo>
                  <a:lnTo>
                    <a:pt x="1705102" y="687832"/>
                  </a:lnTo>
                  <a:lnTo>
                    <a:pt x="1666791" y="713664"/>
                  </a:lnTo>
                  <a:lnTo>
                    <a:pt x="1619885" y="723138"/>
                  </a:lnTo>
                  <a:lnTo>
                    <a:pt x="120523" y="723138"/>
                  </a:lnTo>
                  <a:lnTo>
                    <a:pt x="73610" y="713664"/>
                  </a:lnTo>
                  <a:lnTo>
                    <a:pt x="35301" y="687832"/>
                  </a:lnTo>
                  <a:lnTo>
                    <a:pt x="9471" y="649521"/>
                  </a:lnTo>
                  <a:lnTo>
                    <a:pt x="0" y="602615"/>
                  </a:lnTo>
                  <a:lnTo>
                    <a:pt x="0" y="120523"/>
                  </a:lnTo>
                  <a:close/>
                </a:path>
              </a:pathLst>
            </a:custGeom>
            <a:ln w="12954">
              <a:solidFill>
                <a:srgbClr val="2E539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33">
            <a:extLst>
              <a:ext uri="{FF2B5EF4-FFF2-40B4-BE49-F238E27FC236}">
                <a16:creationId xmlns:a16="http://schemas.microsoft.com/office/drawing/2014/main" id="{6412ED5C-D090-99D9-D13F-CEC7CC81F79E}"/>
              </a:ext>
            </a:extLst>
          </p:cNvPr>
          <p:cNvSpPr txBox="1"/>
          <p:nvPr/>
        </p:nvSpPr>
        <p:spPr>
          <a:xfrm>
            <a:off x="953516" y="4254649"/>
            <a:ext cx="1239520" cy="525145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372110">
              <a:lnSpc>
                <a:spcPct val="100000"/>
              </a:lnSpc>
              <a:spcBef>
                <a:spcPts val="395"/>
              </a:spcBef>
            </a:pPr>
            <a:r>
              <a:rPr sz="1900" spc="-5" dirty="0">
                <a:solidFill>
                  <a:srgbClr val="FBC83D"/>
                </a:solidFill>
                <a:latin typeface="Arial MT"/>
                <a:cs typeface="Arial MT"/>
              </a:rPr>
              <a:t>SIPBJ</a:t>
            </a:r>
            <a:endParaRPr sz="19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155"/>
              </a:spcBef>
            </a:pPr>
            <a:r>
              <a:rPr sz="1000" spc="-5" dirty="0">
                <a:solidFill>
                  <a:srgbClr val="FFFFFF"/>
                </a:solidFill>
                <a:latin typeface="Arial MT"/>
                <a:cs typeface="Arial MT"/>
              </a:rPr>
              <a:t>Sistem</a:t>
            </a:r>
            <a:r>
              <a:rPr sz="1000" spc="-3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000" dirty="0">
                <a:solidFill>
                  <a:srgbClr val="FFFFFF"/>
                </a:solidFill>
                <a:latin typeface="Arial MT"/>
                <a:cs typeface="Arial MT"/>
              </a:rPr>
              <a:t>Informasi</a:t>
            </a:r>
            <a:r>
              <a:rPr sz="1000" spc="-3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000" dirty="0">
                <a:solidFill>
                  <a:srgbClr val="FFFFFF"/>
                </a:solidFill>
                <a:latin typeface="Arial MT"/>
                <a:cs typeface="Arial MT"/>
              </a:rPr>
              <a:t>PBJ</a:t>
            </a:r>
            <a:endParaRPr sz="1000">
              <a:latin typeface="Arial MT"/>
              <a:cs typeface="Arial MT"/>
            </a:endParaRPr>
          </a:p>
        </p:txBody>
      </p:sp>
      <p:grpSp>
        <p:nvGrpSpPr>
          <p:cNvPr id="52" name="object 34">
            <a:extLst>
              <a:ext uri="{FF2B5EF4-FFF2-40B4-BE49-F238E27FC236}">
                <a16:creationId xmlns:a16="http://schemas.microsoft.com/office/drawing/2014/main" id="{14339D92-1AD7-AA41-0954-FCEBA45E4C07}"/>
              </a:ext>
            </a:extLst>
          </p:cNvPr>
          <p:cNvGrpSpPr/>
          <p:nvPr/>
        </p:nvGrpSpPr>
        <p:grpSpPr>
          <a:xfrm>
            <a:off x="4750117" y="4140009"/>
            <a:ext cx="1753870" cy="736600"/>
            <a:chOff x="4750117" y="4228909"/>
            <a:chExt cx="1753870" cy="736600"/>
          </a:xfrm>
        </p:grpSpPr>
        <p:sp>
          <p:nvSpPr>
            <p:cNvPr id="53" name="object 35">
              <a:extLst>
                <a:ext uri="{FF2B5EF4-FFF2-40B4-BE49-F238E27FC236}">
                  <a16:creationId xmlns:a16="http://schemas.microsoft.com/office/drawing/2014/main" id="{BFC04D1D-36BA-AA42-856E-D6F42A3FAB56}"/>
                </a:ext>
              </a:extLst>
            </p:cNvPr>
            <p:cNvSpPr/>
            <p:nvPr/>
          </p:nvSpPr>
          <p:spPr>
            <a:xfrm>
              <a:off x="4756784" y="4235576"/>
              <a:ext cx="1740535" cy="723265"/>
            </a:xfrm>
            <a:custGeom>
              <a:avLst/>
              <a:gdLst/>
              <a:ahLst/>
              <a:cxnLst/>
              <a:rect l="l" t="t" r="r" b="b"/>
              <a:pathLst>
                <a:path w="1740535" h="723264">
                  <a:moveTo>
                    <a:pt x="1619885" y="0"/>
                  </a:moveTo>
                  <a:lnTo>
                    <a:pt x="120523" y="0"/>
                  </a:lnTo>
                  <a:lnTo>
                    <a:pt x="73616" y="9473"/>
                  </a:lnTo>
                  <a:lnTo>
                    <a:pt x="35306" y="35306"/>
                  </a:lnTo>
                  <a:lnTo>
                    <a:pt x="9473" y="73616"/>
                  </a:lnTo>
                  <a:lnTo>
                    <a:pt x="0" y="120523"/>
                  </a:lnTo>
                  <a:lnTo>
                    <a:pt x="0" y="602615"/>
                  </a:lnTo>
                  <a:lnTo>
                    <a:pt x="9473" y="649521"/>
                  </a:lnTo>
                  <a:lnTo>
                    <a:pt x="35305" y="687832"/>
                  </a:lnTo>
                  <a:lnTo>
                    <a:pt x="73616" y="713664"/>
                  </a:lnTo>
                  <a:lnTo>
                    <a:pt x="120523" y="723138"/>
                  </a:lnTo>
                  <a:lnTo>
                    <a:pt x="1619885" y="723138"/>
                  </a:lnTo>
                  <a:lnTo>
                    <a:pt x="1666791" y="713664"/>
                  </a:lnTo>
                  <a:lnTo>
                    <a:pt x="1705101" y="687832"/>
                  </a:lnTo>
                  <a:lnTo>
                    <a:pt x="1730934" y="649521"/>
                  </a:lnTo>
                  <a:lnTo>
                    <a:pt x="1740407" y="602615"/>
                  </a:lnTo>
                  <a:lnTo>
                    <a:pt x="1740407" y="120523"/>
                  </a:lnTo>
                  <a:lnTo>
                    <a:pt x="1730934" y="73616"/>
                  </a:lnTo>
                  <a:lnTo>
                    <a:pt x="1705101" y="35306"/>
                  </a:lnTo>
                  <a:lnTo>
                    <a:pt x="1666791" y="9473"/>
                  </a:lnTo>
                  <a:lnTo>
                    <a:pt x="1619885" y="0"/>
                  </a:lnTo>
                  <a:close/>
                </a:path>
              </a:pathLst>
            </a:custGeom>
            <a:solidFill>
              <a:srgbClr val="081F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36">
              <a:extLst>
                <a:ext uri="{FF2B5EF4-FFF2-40B4-BE49-F238E27FC236}">
                  <a16:creationId xmlns:a16="http://schemas.microsoft.com/office/drawing/2014/main" id="{FC595666-C92F-D90A-74D8-2265FEC3B642}"/>
                </a:ext>
              </a:extLst>
            </p:cNvPr>
            <p:cNvSpPr/>
            <p:nvPr/>
          </p:nvSpPr>
          <p:spPr>
            <a:xfrm>
              <a:off x="4756784" y="4235576"/>
              <a:ext cx="1740535" cy="723265"/>
            </a:xfrm>
            <a:custGeom>
              <a:avLst/>
              <a:gdLst/>
              <a:ahLst/>
              <a:cxnLst/>
              <a:rect l="l" t="t" r="r" b="b"/>
              <a:pathLst>
                <a:path w="1740535" h="723264">
                  <a:moveTo>
                    <a:pt x="0" y="120523"/>
                  </a:moveTo>
                  <a:lnTo>
                    <a:pt x="9473" y="73616"/>
                  </a:lnTo>
                  <a:lnTo>
                    <a:pt x="35306" y="35306"/>
                  </a:lnTo>
                  <a:lnTo>
                    <a:pt x="73616" y="9473"/>
                  </a:lnTo>
                  <a:lnTo>
                    <a:pt x="120523" y="0"/>
                  </a:lnTo>
                  <a:lnTo>
                    <a:pt x="1619885" y="0"/>
                  </a:lnTo>
                  <a:lnTo>
                    <a:pt x="1666791" y="9473"/>
                  </a:lnTo>
                  <a:lnTo>
                    <a:pt x="1705102" y="35306"/>
                  </a:lnTo>
                  <a:lnTo>
                    <a:pt x="1730934" y="73616"/>
                  </a:lnTo>
                  <a:lnTo>
                    <a:pt x="1740408" y="120523"/>
                  </a:lnTo>
                  <a:lnTo>
                    <a:pt x="1740408" y="602615"/>
                  </a:lnTo>
                  <a:lnTo>
                    <a:pt x="1730934" y="649521"/>
                  </a:lnTo>
                  <a:lnTo>
                    <a:pt x="1705102" y="687832"/>
                  </a:lnTo>
                  <a:lnTo>
                    <a:pt x="1666791" y="713664"/>
                  </a:lnTo>
                  <a:lnTo>
                    <a:pt x="1619885" y="723138"/>
                  </a:lnTo>
                  <a:lnTo>
                    <a:pt x="120523" y="723138"/>
                  </a:lnTo>
                  <a:lnTo>
                    <a:pt x="73616" y="713664"/>
                  </a:lnTo>
                  <a:lnTo>
                    <a:pt x="35306" y="687832"/>
                  </a:lnTo>
                  <a:lnTo>
                    <a:pt x="9473" y="649521"/>
                  </a:lnTo>
                  <a:lnTo>
                    <a:pt x="0" y="602615"/>
                  </a:lnTo>
                  <a:lnTo>
                    <a:pt x="0" y="120523"/>
                  </a:lnTo>
                  <a:close/>
                </a:path>
              </a:pathLst>
            </a:custGeom>
            <a:ln w="12954">
              <a:solidFill>
                <a:srgbClr val="2E539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5" name="object 38">
            <a:extLst>
              <a:ext uri="{FF2B5EF4-FFF2-40B4-BE49-F238E27FC236}">
                <a16:creationId xmlns:a16="http://schemas.microsoft.com/office/drawing/2014/main" id="{CAF891D3-6BE1-E33C-8559-4CBCC8CBCA64}"/>
              </a:ext>
            </a:extLst>
          </p:cNvPr>
          <p:cNvSpPr txBox="1"/>
          <p:nvPr/>
        </p:nvSpPr>
        <p:spPr>
          <a:xfrm>
            <a:off x="4945888" y="4131891"/>
            <a:ext cx="1904364" cy="667170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464820">
              <a:lnSpc>
                <a:spcPct val="100000"/>
              </a:lnSpc>
              <a:spcBef>
                <a:spcPts val="385"/>
              </a:spcBef>
            </a:pPr>
            <a:r>
              <a:rPr sz="1900" spc="-5" dirty="0">
                <a:solidFill>
                  <a:srgbClr val="FBC83D"/>
                </a:solidFill>
                <a:latin typeface="Arial MT"/>
                <a:cs typeface="Arial MT"/>
              </a:rPr>
              <a:t>SIKI</a:t>
            </a:r>
            <a:endParaRPr sz="1900" dirty="0">
              <a:latin typeface="Arial MT"/>
              <a:cs typeface="Arial MT"/>
            </a:endParaRPr>
          </a:p>
          <a:p>
            <a:pPr marL="12700" marR="704850" indent="39370" algn="ctr">
              <a:lnSpc>
                <a:spcPct val="109500"/>
              </a:lnSpc>
              <a:spcBef>
                <a:spcPts val="35"/>
              </a:spcBef>
            </a:pPr>
            <a:r>
              <a:rPr sz="1000" spc="-5" dirty="0">
                <a:solidFill>
                  <a:srgbClr val="FFFFFF"/>
                </a:solidFill>
                <a:latin typeface="Arial MT"/>
                <a:cs typeface="Arial MT"/>
              </a:rPr>
              <a:t>Sistem </a:t>
            </a:r>
            <a:r>
              <a:rPr sz="1000" dirty="0">
                <a:solidFill>
                  <a:srgbClr val="FFFFFF"/>
                </a:solidFill>
                <a:latin typeface="Arial MT"/>
                <a:cs typeface="Arial MT"/>
              </a:rPr>
              <a:t>Informasi </a:t>
            </a:r>
            <a:r>
              <a:rPr sz="1000" spc="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000" spc="-5" dirty="0" err="1">
                <a:solidFill>
                  <a:srgbClr val="FFFFFF"/>
                </a:solidFill>
                <a:latin typeface="Arial MT"/>
                <a:cs typeface="Arial MT"/>
              </a:rPr>
              <a:t>Konstruksi</a:t>
            </a:r>
            <a:r>
              <a:rPr sz="1000" spc="-5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000" dirty="0">
                <a:solidFill>
                  <a:srgbClr val="FFFFFF"/>
                </a:solidFill>
                <a:latin typeface="Arial MT"/>
                <a:cs typeface="Arial MT"/>
              </a:rPr>
              <a:t>Indonesia</a:t>
            </a:r>
            <a:endParaRPr sz="1000" dirty="0">
              <a:latin typeface="Arial MT"/>
              <a:cs typeface="Arial MT"/>
            </a:endParaRPr>
          </a:p>
        </p:txBody>
      </p:sp>
      <p:sp>
        <p:nvSpPr>
          <p:cNvPr id="56" name="object 40">
            <a:extLst>
              <a:ext uri="{FF2B5EF4-FFF2-40B4-BE49-F238E27FC236}">
                <a16:creationId xmlns:a16="http://schemas.microsoft.com/office/drawing/2014/main" id="{5EE65FE0-CD00-7E90-D60D-56EB4711947E}"/>
              </a:ext>
            </a:extLst>
          </p:cNvPr>
          <p:cNvSpPr txBox="1"/>
          <p:nvPr/>
        </p:nvSpPr>
        <p:spPr>
          <a:xfrm>
            <a:off x="661669" y="3098847"/>
            <a:ext cx="1713864" cy="6514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50545">
              <a:lnSpc>
                <a:spcPct val="100000"/>
              </a:lnSpc>
              <a:spcBef>
                <a:spcPts val="755"/>
              </a:spcBef>
            </a:pPr>
            <a:r>
              <a:rPr sz="1900" spc="-5" dirty="0">
                <a:solidFill>
                  <a:srgbClr val="FBC83D"/>
                </a:solidFill>
                <a:latin typeface="Arial MT"/>
                <a:cs typeface="Arial MT"/>
              </a:rPr>
              <a:t>SIPASTI</a:t>
            </a:r>
            <a:endParaRPr sz="1900" dirty="0">
              <a:latin typeface="Arial MT"/>
              <a:cs typeface="Arial MT"/>
            </a:endParaRPr>
          </a:p>
          <a:p>
            <a:pPr marL="439420">
              <a:lnSpc>
                <a:spcPts val="1170"/>
              </a:lnSpc>
              <a:spcBef>
                <a:spcPts val="155"/>
              </a:spcBef>
            </a:pPr>
            <a:r>
              <a:rPr sz="1000" spc="-5" dirty="0">
                <a:solidFill>
                  <a:srgbClr val="FFFFFF"/>
                </a:solidFill>
                <a:latin typeface="Arial MT"/>
                <a:cs typeface="Arial MT"/>
              </a:rPr>
              <a:t>Sistem</a:t>
            </a:r>
            <a:r>
              <a:rPr sz="1000" spc="-3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000" dirty="0">
                <a:solidFill>
                  <a:srgbClr val="FFFFFF"/>
                </a:solidFill>
                <a:latin typeface="Arial MT"/>
                <a:cs typeface="Arial MT"/>
              </a:rPr>
              <a:t>Informasi</a:t>
            </a:r>
            <a:endParaRPr sz="1000" dirty="0">
              <a:latin typeface="Arial MT"/>
              <a:cs typeface="Arial MT"/>
            </a:endParaRPr>
          </a:p>
          <a:p>
            <a:pPr marL="448945">
              <a:lnSpc>
                <a:spcPts val="1290"/>
              </a:lnSpc>
            </a:pPr>
            <a:r>
              <a:rPr sz="1100" dirty="0">
                <a:solidFill>
                  <a:srgbClr val="FFFFFF"/>
                </a:solidFill>
                <a:latin typeface="Arial MT"/>
                <a:cs typeface="Arial MT"/>
              </a:rPr>
              <a:t>HPS</a:t>
            </a:r>
            <a:r>
              <a:rPr sz="1100" spc="-5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FFFF"/>
                </a:solidFill>
                <a:latin typeface="Arial MT"/>
                <a:cs typeface="Arial MT"/>
              </a:rPr>
              <a:t>Terintegrasi</a:t>
            </a:r>
            <a:endParaRPr sz="1100" dirty="0">
              <a:latin typeface="Arial MT"/>
              <a:cs typeface="Arial MT"/>
            </a:endParaRPr>
          </a:p>
        </p:txBody>
      </p:sp>
      <p:grpSp>
        <p:nvGrpSpPr>
          <p:cNvPr id="57" name="object 44">
            <a:extLst>
              <a:ext uri="{FF2B5EF4-FFF2-40B4-BE49-F238E27FC236}">
                <a16:creationId xmlns:a16="http://schemas.microsoft.com/office/drawing/2014/main" id="{93523CB4-F6E3-FB04-C848-1D58A8404812}"/>
              </a:ext>
            </a:extLst>
          </p:cNvPr>
          <p:cNvGrpSpPr/>
          <p:nvPr/>
        </p:nvGrpSpPr>
        <p:grpSpPr>
          <a:xfrm>
            <a:off x="2877121" y="4761039"/>
            <a:ext cx="1754505" cy="736600"/>
            <a:chOff x="2877121" y="4849939"/>
            <a:chExt cx="1754505" cy="736600"/>
          </a:xfrm>
        </p:grpSpPr>
        <p:sp>
          <p:nvSpPr>
            <p:cNvPr id="58" name="object 45">
              <a:extLst>
                <a:ext uri="{FF2B5EF4-FFF2-40B4-BE49-F238E27FC236}">
                  <a16:creationId xmlns:a16="http://schemas.microsoft.com/office/drawing/2014/main" id="{D226A2F0-22B9-6106-00D4-F42765A4E77B}"/>
                </a:ext>
              </a:extLst>
            </p:cNvPr>
            <p:cNvSpPr/>
            <p:nvPr/>
          </p:nvSpPr>
          <p:spPr>
            <a:xfrm>
              <a:off x="2883788" y="4856607"/>
              <a:ext cx="1741170" cy="723265"/>
            </a:xfrm>
            <a:custGeom>
              <a:avLst/>
              <a:gdLst/>
              <a:ahLst/>
              <a:cxnLst/>
              <a:rect l="l" t="t" r="r" b="b"/>
              <a:pathLst>
                <a:path w="1741170" h="723264">
                  <a:moveTo>
                    <a:pt x="1620647" y="0"/>
                  </a:moveTo>
                  <a:lnTo>
                    <a:pt x="120523" y="0"/>
                  </a:lnTo>
                  <a:lnTo>
                    <a:pt x="73616" y="9473"/>
                  </a:lnTo>
                  <a:lnTo>
                    <a:pt x="35306" y="35306"/>
                  </a:lnTo>
                  <a:lnTo>
                    <a:pt x="9473" y="73616"/>
                  </a:lnTo>
                  <a:lnTo>
                    <a:pt x="0" y="120523"/>
                  </a:lnTo>
                  <a:lnTo>
                    <a:pt x="0" y="602615"/>
                  </a:lnTo>
                  <a:lnTo>
                    <a:pt x="9473" y="649521"/>
                  </a:lnTo>
                  <a:lnTo>
                    <a:pt x="35306" y="687832"/>
                  </a:lnTo>
                  <a:lnTo>
                    <a:pt x="73616" y="713664"/>
                  </a:lnTo>
                  <a:lnTo>
                    <a:pt x="120523" y="723138"/>
                  </a:lnTo>
                  <a:lnTo>
                    <a:pt x="1620647" y="723138"/>
                  </a:lnTo>
                  <a:lnTo>
                    <a:pt x="1667553" y="713664"/>
                  </a:lnTo>
                  <a:lnTo>
                    <a:pt x="1705864" y="687832"/>
                  </a:lnTo>
                  <a:lnTo>
                    <a:pt x="1731696" y="649521"/>
                  </a:lnTo>
                  <a:lnTo>
                    <a:pt x="1741170" y="602615"/>
                  </a:lnTo>
                  <a:lnTo>
                    <a:pt x="1741170" y="120523"/>
                  </a:lnTo>
                  <a:lnTo>
                    <a:pt x="1731696" y="73616"/>
                  </a:lnTo>
                  <a:lnTo>
                    <a:pt x="1705864" y="35306"/>
                  </a:lnTo>
                  <a:lnTo>
                    <a:pt x="1667553" y="9473"/>
                  </a:lnTo>
                  <a:lnTo>
                    <a:pt x="1620647" y="0"/>
                  </a:lnTo>
                  <a:close/>
                </a:path>
              </a:pathLst>
            </a:custGeom>
            <a:solidFill>
              <a:srgbClr val="081F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46">
              <a:extLst>
                <a:ext uri="{FF2B5EF4-FFF2-40B4-BE49-F238E27FC236}">
                  <a16:creationId xmlns:a16="http://schemas.microsoft.com/office/drawing/2014/main" id="{A5307F8A-DD6B-F3BD-CB76-221D1E44B633}"/>
                </a:ext>
              </a:extLst>
            </p:cNvPr>
            <p:cNvSpPr/>
            <p:nvPr/>
          </p:nvSpPr>
          <p:spPr>
            <a:xfrm>
              <a:off x="2883788" y="4856607"/>
              <a:ext cx="1741170" cy="723265"/>
            </a:xfrm>
            <a:custGeom>
              <a:avLst/>
              <a:gdLst/>
              <a:ahLst/>
              <a:cxnLst/>
              <a:rect l="l" t="t" r="r" b="b"/>
              <a:pathLst>
                <a:path w="1741170" h="723264">
                  <a:moveTo>
                    <a:pt x="0" y="120523"/>
                  </a:moveTo>
                  <a:lnTo>
                    <a:pt x="9473" y="73616"/>
                  </a:lnTo>
                  <a:lnTo>
                    <a:pt x="35306" y="35306"/>
                  </a:lnTo>
                  <a:lnTo>
                    <a:pt x="73616" y="9473"/>
                  </a:lnTo>
                  <a:lnTo>
                    <a:pt x="120523" y="0"/>
                  </a:lnTo>
                  <a:lnTo>
                    <a:pt x="1620647" y="0"/>
                  </a:lnTo>
                  <a:lnTo>
                    <a:pt x="1667553" y="9473"/>
                  </a:lnTo>
                  <a:lnTo>
                    <a:pt x="1705864" y="35306"/>
                  </a:lnTo>
                  <a:lnTo>
                    <a:pt x="1731696" y="73616"/>
                  </a:lnTo>
                  <a:lnTo>
                    <a:pt x="1741170" y="120523"/>
                  </a:lnTo>
                  <a:lnTo>
                    <a:pt x="1741170" y="602615"/>
                  </a:lnTo>
                  <a:lnTo>
                    <a:pt x="1731696" y="649521"/>
                  </a:lnTo>
                  <a:lnTo>
                    <a:pt x="1705864" y="687832"/>
                  </a:lnTo>
                  <a:lnTo>
                    <a:pt x="1667553" y="713664"/>
                  </a:lnTo>
                  <a:lnTo>
                    <a:pt x="1620647" y="723138"/>
                  </a:lnTo>
                  <a:lnTo>
                    <a:pt x="120523" y="723138"/>
                  </a:lnTo>
                  <a:lnTo>
                    <a:pt x="73616" y="713664"/>
                  </a:lnTo>
                  <a:lnTo>
                    <a:pt x="35306" y="687832"/>
                  </a:lnTo>
                  <a:lnTo>
                    <a:pt x="9473" y="649521"/>
                  </a:lnTo>
                  <a:lnTo>
                    <a:pt x="0" y="602615"/>
                  </a:lnTo>
                  <a:lnTo>
                    <a:pt x="0" y="120523"/>
                  </a:lnTo>
                  <a:close/>
                </a:path>
              </a:pathLst>
            </a:custGeom>
            <a:ln w="12954">
              <a:solidFill>
                <a:srgbClr val="2E539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0" name="object 47">
            <a:extLst>
              <a:ext uri="{FF2B5EF4-FFF2-40B4-BE49-F238E27FC236}">
                <a16:creationId xmlns:a16="http://schemas.microsoft.com/office/drawing/2014/main" id="{470065C0-8F3C-D973-7636-1D8645895321}"/>
              </a:ext>
            </a:extLst>
          </p:cNvPr>
          <p:cNvSpPr txBox="1"/>
          <p:nvPr/>
        </p:nvSpPr>
        <p:spPr>
          <a:xfrm>
            <a:off x="3038094" y="4717673"/>
            <a:ext cx="1345565" cy="721995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71755">
              <a:lnSpc>
                <a:spcPct val="100000"/>
              </a:lnSpc>
              <a:spcBef>
                <a:spcPts val="540"/>
              </a:spcBef>
            </a:pPr>
            <a:r>
              <a:rPr sz="1900" spc="-5" dirty="0">
                <a:solidFill>
                  <a:srgbClr val="FBC83D"/>
                </a:solidFill>
                <a:latin typeface="Arial MT"/>
                <a:cs typeface="Arial MT"/>
              </a:rPr>
              <a:t>SIKOMPAK</a:t>
            </a:r>
            <a:endParaRPr sz="1900">
              <a:latin typeface="Arial MT"/>
              <a:cs typeface="Arial MT"/>
            </a:endParaRPr>
          </a:p>
          <a:p>
            <a:pPr marL="50800" marR="158115" indent="-38100">
              <a:lnSpc>
                <a:spcPct val="102400"/>
              </a:lnSpc>
              <a:spcBef>
                <a:spcPts val="14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Sistem</a:t>
            </a:r>
            <a:r>
              <a:rPr sz="700" spc="-2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700" dirty="0">
                <a:solidFill>
                  <a:srgbClr val="FFFFFF"/>
                </a:solidFill>
                <a:latin typeface="Arial MT"/>
                <a:cs typeface="Arial MT"/>
              </a:rPr>
              <a:t>Informasi</a:t>
            </a:r>
            <a:r>
              <a:rPr sz="700" spc="-2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700" dirty="0">
                <a:solidFill>
                  <a:srgbClr val="FFFFFF"/>
                </a:solidFill>
                <a:latin typeface="Arial MT"/>
                <a:cs typeface="Arial MT"/>
              </a:rPr>
              <a:t>Kontrak</a:t>
            </a:r>
            <a:r>
              <a:rPr sz="700" spc="-2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700" dirty="0">
                <a:solidFill>
                  <a:srgbClr val="FFFFFF"/>
                </a:solidFill>
                <a:latin typeface="Arial MT"/>
                <a:cs typeface="Arial MT"/>
              </a:rPr>
              <a:t>dan </a:t>
            </a:r>
            <a:r>
              <a:rPr sz="700" spc="-18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700" dirty="0">
                <a:solidFill>
                  <a:srgbClr val="FFFFFF"/>
                </a:solidFill>
                <a:latin typeface="Arial MT"/>
                <a:cs typeface="Arial MT"/>
              </a:rPr>
              <a:t>Manajemen</a:t>
            </a:r>
            <a:r>
              <a:rPr sz="700" spc="-2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700" dirty="0">
                <a:solidFill>
                  <a:srgbClr val="FFFFFF"/>
                </a:solidFill>
                <a:latin typeface="Arial MT"/>
                <a:cs typeface="Arial MT"/>
              </a:rPr>
              <a:t>Pengendalian</a:t>
            </a:r>
            <a:endParaRPr sz="700">
              <a:latin typeface="Arial MT"/>
              <a:cs typeface="Arial MT"/>
            </a:endParaRPr>
          </a:p>
          <a:p>
            <a:pPr marL="194310">
              <a:lnSpc>
                <a:spcPct val="100000"/>
              </a:lnSpc>
              <a:spcBef>
                <a:spcPts val="60"/>
              </a:spcBef>
            </a:pPr>
            <a:r>
              <a:rPr sz="700" dirty="0">
                <a:solidFill>
                  <a:srgbClr val="FFFFFF"/>
                </a:solidFill>
                <a:latin typeface="Arial MT"/>
                <a:cs typeface="Arial MT"/>
              </a:rPr>
              <a:t>Pelaksanaan</a:t>
            </a:r>
            <a:r>
              <a:rPr sz="700" spc="-5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700" dirty="0">
                <a:solidFill>
                  <a:srgbClr val="FFFFFF"/>
                </a:solidFill>
                <a:latin typeface="Arial MT"/>
                <a:cs typeface="Arial MT"/>
              </a:rPr>
              <a:t>Kontrak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61" name="object 48">
            <a:extLst>
              <a:ext uri="{FF2B5EF4-FFF2-40B4-BE49-F238E27FC236}">
                <a16:creationId xmlns:a16="http://schemas.microsoft.com/office/drawing/2014/main" id="{213C5A5C-69ED-BADE-7079-1007E4D3BC92}"/>
              </a:ext>
            </a:extLst>
          </p:cNvPr>
          <p:cNvSpPr txBox="1"/>
          <p:nvPr/>
        </p:nvSpPr>
        <p:spPr>
          <a:xfrm>
            <a:off x="8401077" y="3367150"/>
            <a:ext cx="1292225" cy="2081530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2860" marR="22225">
              <a:lnSpc>
                <a:spcPts val="1500"/>
              </a:lnSpc>
              <a:spcBef>
                <a:spcPts val="200"/>
              </a:spcBef>
            </a:pPr>
            <a:r>
              <a:rPr sz="1300" dirty="0">
                <a:solidFill>
                  <a:srgbClr val="33434A"/>
                </a:solidFill>
                <a:latin typeface="Arial MT"/>
                <a:cs typeface="Arial MT"/>
              </a:rPr>
              <a:t>Online Single </a:t>
            </a:r>
            <a:r>
              <a:rPr sz="1300" spc="5" dirty="0">
                <a:solidFill>
                  <a:srgbClr val="33434A"/>
                </a:solidFill>
                <a:latin typeface="Arial MT"/>
                <a:cs typeface="Arial MT"/>
              </a:rPr>
              <a:t> </a:t>
            </a:r>
            <a:r>
              <a:rPr sz="1300" dirty="0">
                <a:solidFill>
                  <a:srgbClr val="33434A"/>
                </a:solidFill>
                <a:latin typeface="Arial MT"/>
                <a:cs typeface="Arial MT"/>
              </a:rPr>
              <a:t>Submission RBA</a:t>
            </a:r>
            <a:endParaRPr sz="1300" dirty="0">
              <a:latin typeface="Arial MT"/>
              <a:cs typeface="Arial MT"/>
            </a:endParaRPr>
          </a:p>
          <a:p>
            <a:pPr marL="22860" marR="214629">
              <a:lnSpc>
                <a:spcPts val="1500"/>
              </a:lnSpc>
            </a:pPr>
            <a:r>
              <a:rPr sz="1300" dirty="0">
                <a:solidFill>
                  <a:srgbClr val="33434A"/>
                </a:solidFill>
                <a:latin typeface="Arial MT"/>
                <a:cs typeface="Arial MT"/>
              </a:rPr>
              <a:t>/ Perijinan </a:t>
            </a:r>
            <a:r>
              <a:rPr sz="1300" spc="5" dirty="0">
                <a:solidFill>
                  <a:srgbClr val="33434A"/>
                </a:solidFill>
                <a:latin typeface="Arial MT"/>
                <a:cs typeface="Arial MT"/>
              </a:rPr>
              <a:t> </a:t>
            </a:r>
            <a:r>
              <a:rPr sz="1300" dirty="0">
                <a:solidFill>
                  <a:srgbClr val="33434A"/>
                </a:solidFill>
                <a:latin typeface="Arial MT"/>
                <a:cs typeface="Arial MT"/>
              </a:rPr>
              <a:t>BerusahaSatu  Pintu</a:t>
            </a:r>
            <a:endParaRPr sz="1300" dirty="0">
              <a:latin typeface="Arial MT"/>
              <a:cs typeface="Arial MT"/>
            </a:endParaRPr>
          </a:p>
          <a:p>
            <a:pPr marL="12700" marR="5080">
              <a:lnSpc>
                <a:spcPct val="95500"/>
              </a:lnSpc>
              <a:spcBef>
                <a:spcPts val="1135"/>
              </a:spcBef>
            </a:pPr>
            <a:r>
              <a:rPr sz="1300" dirty="0">
                <a:latin typeface="Arial MT"/>
                <a:cs typeface="Arial MT"/>
              </a:rPr>
              <a:t>LSBU dan LSP </a:t>
            </a:r>
            <a:r>
              <a:rPr sz="1300" spc="5" dirty="0">
                <a:latin typeface="Arial MT"/>
                <a:cs typeface="Arial MT"/>
              </a:rPr>
              <a:t> </a:t>
            </a:r>
            <a:r>
              <a:rPr sz="1300" dirty="0">
                <a:solidFill>
                  <a:srgbClr val="33434A"/>
                </a:solidFill>
                <a:latin typeface="Arial MT"/>
                <a:cs typeface="Arial MT"/>
              </a:rPr>
              <a:t>untukmendukung  Perizinan </a:t>
            </a:r>
            <a:r>
              <a:rPr sz="1300" spc="5" dirty="0">
                <a:solidFill>
                  <a:srgbClr val="33434A"/>
                </a:solidFill>
                <a:latin typeface="Arial MT"/>
                <a:cs typeface="Arial MT"/>
              </a:rPr>
              <a:t> </a:t>
            </a:r>
            <a:r>
              <a:rPr sz="1300" dirty="0">
                <a:solidFill>
                  <a:srgbClr val="33434A"/>
                </a:solidFill>
                <a:latin typeface="Arial MT"/>
                <a:cs typeface="Arial MT"/>
              </a:rPr>
              <a:t>Berusahadan </a:t>
            </a:r>
            <a:r>
              <a:rPr sz="1300" spc="5" dirty="0">
                <a:solidFill>
                  <a:srgbClr val="33434A"/>
                </a:solidFill>
                <a:latin typeface="Arial MT"/>
                <a:cs typeface="Arial MT"/>
              </a:rPr>
              <a:t> </a:t>
            </a:r>
            <a:r>
              <a:rPr sz="1300" spc="-5" dirty="0">
                <a:solidFill>
                  <a:srgbClr val="33434A"/>
                </a:solidFill>
                <a:latin typeface="Arial MT"/>
                <a:cs typeface="Arial MT"/>
              </a:rPr>
              <a:t>Sertifikasi</a:t>
            </a:r>
            <a:endParaRPr sz="1300" dirty="0">
              <a:latin typeface="Arial MT"/>
              <a:cs typeface="Arial MT"/>
            </a:endParaRPr>
          </a:p>
        </p:txBody>
      </p:sp>
      <p:sp>
        <p:nvSpPr>
          <p:cNvPr id="62" name="object 49">
            <a:extLst>
              <a:ext uri="{FF2B5EF4-FFF2-40B4-BE49-F238E27FC236}">
                <a16:creationId xmlns:a16="http://schemas.microsoft.com/office/drawing/2014/main" id="{29AA886C-A9E8-A8E2-D767-B637DC0086FF}"/>
              </a:ext>
            </a:extLst>
          </p:cNvPr>
          <p:cNvSpPr/>
          <p:nvPr/>
        </p:nvSpPr>
        <p:spPr>
          <a:xfrm>
            <a:off x="8036179" y="3995039"/>
            <a:ext cx="152400" cy="697865"/>
          </a:xfrm>
          <a:custGeom>
            <a:avLst/>
            <a:gdLst/>
            <a:ahLst/>
            <a:cxnLst/>
            <a:rect l="l" t="t" r="r" b="b"/>
            <a:pathLst>
              <a:path w="152400" h="697864">
                <a:moveTo>
                  <a:pt x="88519" y="570738"/>
                </a:moveTo>
                <a:lnTo>
                  <a:pt x="63809" y="575730"/>
                </a:lnTo>
                <a:lnTo>
                  <a:pt x="43624" y="589343"/>
                </a:lnTo>
                <a:lnTo>
                  <a:pt x="30011" y="609528"/>
                </a:lnTo>
                <a:lnTo>
                  <a:pt x="25019" y="634238"/>
                </a:lnTo>
                <a:lnTo>
                  <a:pt x="30011" y="658947"/>
                </a:lnTo>
                <a:lnTo>
                  <a:pt x="43624" y="679132"/>
                </a:lnTo>
                <a:lnTo>
                  <a:pt x="63809" y="692745"/>
                </a:lnTo>
                <a:lnTo>
                  <a:pt x="88519" y="697738"/>
                </a:lnTo>
                <a:lnTo>
                  <a:pt x="113228" y="692745"/>
                </a:lnTo>
                <a:lnTo>
                  <a:pt x="133413" y="679132"/>
                </a:lnTo>
                <a:lnTo>
                  <a:pt x="147026" y="658947"/>
                </a:lnTo>
                <a:lnTo>
                  <a:pt x="150735" y="640588"/>
                </a:lnTo>
                <a:lnTo>
                  <a:pt x="88519" y="640588"/>
                </a:lnTo>
                <a:lnTo>
                  <a:pt x="88519" y="627888"/>
                </a:lnTo>
                <a:lnTo>
                  <a:pt x="150735" y="627888"/>
                </a:lnTo>
                <a:lnTo>
                  <a:pt x="147026" y="609528"/>
                </a:lnTo>
                <a:lnTo>
                  <a:pt x="133413" y="589343"/>
                </a:lnTo>
                <a:lnTo>
                  <a:pt x="113228" y="575730"/>
                </a:lnTo>
                <a:lnTo>
                  <a:pt x="88519" y="570738"/>
                </a:lnTo>
                <a:close/>
              </a:path>
              <a:path w="152400" h="697864">
                <a:moveTo>
                  <a:pt x="12700" y="0"/>
                </a:moveTo>
                <a:lnTo>
                  <a:pt x="0" y="0"/>
                </a:lnTo>
                <a:lnTo>
                  <a:pt x="0" y="640588"/>
                </a:lnTo>
                <a:lnTo>
                  <a:pt x="26302" y="640588"/>
                </a:lnTo>
                <a:lnTo>
                  <a:pt x="25019" y="634238"/>
                </a:lnTo>
                <a:lnTo>
                  <a:pt x="12700" y="634238"/>
                </a:lnTo>
                <a:lnTo>
                  <a:pt x="6350" y="627888"/>
                </a:lnTo>
                <a:lnTo>
                  <a:pt x="12700" y="627888"/>
                </a:lnTo>
                <a:lnTo>
                  <a:pt x="12700" y="0"/>
                </a:lnTo>
                <a:close/>
              </a:path>
              <a:path w="152400" h="697864">
                <a:moveTo>
                  <a:pt x="150735" y="627888"/>
                </a:moveTo>
                <a:lnTo>
                  <a:pt x="88519" y="627888"/>
                </a:lnTo>
                <a:lnTo>
                  <a:pt x="88519" y="640588"/>
                </a:lnTo>
                <a:lnTo>
                  <a:pt x="150735" y="640588"/>
                </a:lnTo>
                <a:lnTo>
                  <a:pt x="152019" y="634238"/>
                </a:lnTo>
                <a:lnTo>
                  <a:pt x="150735" y="627888"/>
                </a:lnTo>
                <a:close/>
              </a:path>
              <a:path w="152400" h="697864">
                <a:moveTo>
                  <a:pt x="12700" y="627888"/>
                </a:moveTo>
                <a:lnTo>
                  <a:pt x="6350" y="627888"/>
                </a:lnTo>
                <a:lnTo>
                  <a:pt x="12700" y="634238"/>
                </a:lnTo>
                <a:lnTo>
                  <a:pt x="12700" y="627888"/>
                </a:lnTo>
                <a:close/>
              </a:path>
              <a:path w="152400" h="697864">
                <a:moveTo>
                  <a:pt x="26302" y="627888"/>
                </a:moveTo>
                <a:lnTo>
                  <a:pt x="12700" y="627888"/>
                </a:lnTo>
                <a:lnTo>
                  <a:pt x="12700" y="634238"/>
                </a:lnTo>
                <a:lnTo>
                  <a:pt x="25019" y="634238"/>
                </a:lnTo>
                <a:lnTo>
                  <a:pt x="26302" y="627888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Google Shape;94;p13">
            <a:extLst>
              <a:ext uri="{FF2B5EF4-FFF2-40B4-BE49-F238E27FC236}">
                <a16:creationId xmlns:a16="http://schemas.microsoft.com/office/drawing/2014/main" id="{2BDF750F-C24D-1ED7-8B7E-14510B73705A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9452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BB5BA-6671-64C5-DD60-514042C7F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E0F89E-0779-478B-7669-F43B5B303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66" y="6817662"/>
            <a:ext cx="12192000" cy="505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5977C-009B-3DFB-D5AA-9ED28613FE82}"/>
              </a:ext>
            </a:extLst>
          </p:cNvPr>
          <p:cNvSpPr txBox="1">
            <a:spLocks/>
          </p:cNvSpPr>
          <p:nvPr/>
        </p:nvSpPr>
        <p:spPr>
          <a:xfrm>
            <a:off x="216471" y="217283"/>
            <a:ext cx="9002400" cy="4342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576">
              <a:defRPr/>
            </a:pPr>
            <a:r>
              <a:rPr lang="nn-NO" sz="2800" b="1" dirty="0">
                <a:solidFill>
                  <a:prstClr val="black"/>
                </a:solidFill>
                <a:latin typeface="Segoe UI"/>
              </a:rPr>
              <a:t>TENDER DAN KEBUTUHAN DATA (EXISTING)</a:t>
            </a:r>
          </a:p>
        </p:txBody>
      </p:sp>
      <p:sp>
        <p:nvSpPr>
          <p:cNvPr id="10" name="Freeform 27">
            <a:extLst>
              <a:ext uri="{FF2B5EF4-FFF2-40B4-BE49-F238E27FC236}">
                <a16:creationId xmlns:a16="http://schemas.microsoft.com/office/drawing/2014/main" id="{4745F3D8-0655-5915-7D52-A09065A881A8}"/>
              </a:ext>
            </a:extLst>
          </p:cNvPr>
          <p:cNvSpPr/>
          <p:nvPr/>
        </p:nvSpPr>
        <p:spPr>
          <a:xfrm>
            <a:off x="-131314" y="-279372"/>
            <a:ext cx="360514" cy="1261799"/>
          </a:xfrm>
          <a:custGeom>
            <a:avLst/>
            <a:gdLst/>
            <a:ahLst/>
            <a:cxnLst/>
            <a:rect l="l" t="t" r="r" b="b"/>
            <a:pathLst>
              <a:path w="540771" h="1892699">
                <a:moveTo>
                  <a:pt x="0" y="0"/>
                </a:moveTo>
                <a:lnTo>
                  <a:pt x="540771" y="0"/>
                </a:lnTo>
                <a:lnTo>
                  <a:pt x="540771" y="1892699"/>
                </a:lnTo>
                <a:lnTo>
                  <a:pt x="0" y="189269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8B1B9C3F-652C-39D1-C003-0915E4E79CAF}"/>
              </a:ext>
            </a:extLst>
          </p:cNvPr>
          <p:cNvSpPr txBox="1"/>
          <p:nvPr/>
        </p:nvSpPr>
        <p:spPr>
          <a:xfrm>
            <a:off x="5654806" y="4128095"/>
            <a:ext cx="1286200" cy="26674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2700" marR="5080" indent="1270">
              <a:lnSpc>
                <a:spcPts val="1900"/>
              </a:lnSpc>
              <a:spcBef>
                <a:spcPts val="180"/>
              </a:spcBef>
            </a:pPr>
            <a:r>
              <a:rPr sz="1600" b="1" spc="-210" dirty="0">
                <a:latin typeface="Century Gothic" panose="020B0502020202020204" pitchFamily="34" charset="0"/>
                <a:cs typeface="Arial MT"/>
              </a:rPr>
              <a:t>T</a:t>
            </a:r>
            <a:r>
              <a:rPr sz="1600" b="1" spc="25" dirty="0">
                <a:latin typeface="Century Gothic" panose="020B0502020202020204" pitchFamily="34" charset="0"/>
                <a:cs typeface="Arial MT"/>
              </a:rPr>
              <a:t>ender </a:t>
            </a:r>
            <a:endParaRPr sz="1600" b="1" dirty="0">
              <a:latin typeface="Century Gothic" panose="020B0502020202020204" pitchFamily="34" charset="0"/>
              <a:cs typeface="Arial MT"/>
            </a:endParaRPr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489000AF-6922-B8E9-9D77-8AADF3E57CD4}"/>
              </a:ext>
            </a:extLst>
          </p:cNvPr>
          <p:cNvSpPr txBox="1"/>
          <p:nvPr/>
        </p:nvSpPr>
        <p:spPr>
          <a:xfrm>
            <a:off x="1928306" y="2322676"/>
            <a:ext cx="522605" cy="26674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2700" marR="5080" indent="37465">
              <a:lnSpc>
                <a:spcPts val="1900"/>
              </a:lnSpc>
              <a:spcBef>
                <a:spcPts val="180"/>
              </a:spcBef>
            </a:pPr>
            <a:r>
              <a:rPr sz="1600" b="1" spc="5" dirty="0">
                <a:latin typeface="Century Gothic" panose="020B0502020202020204" pitchFamily="34" charset="0"/>
                <a:cs typeface="Arial MT"/>
              </a:rPr>
              <a:t>SBU</a:t>
            </a:r>
            <a:endParaRPr sz="1600" b="1" dirty="0">
              <a:latin typeface="Century Gothic" panose="020B0502020202020204" pitchFamily="34" charset="0"/>
              <a:cs typeface="Arial MT"/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C2B0AB1C-CE83-B681-C156-42847E68C800}"/>
              </a:ext>
            </a:extLst>
          </p:cNvPr>
          <p:cNvSpPr txBox="1"/>
          <p:nvPr/>
        </p:nvSpPr>
        <p:spPr>
          <a:xfrm>
            <a:off x="6872643" y="2316316"/>
            <a:ext cx="1353008" cy="26674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53670" marR="5080" indent="-141605">
              <a:lnSpc>
                <a:spcPts val="1900"/>
              </a:lnSpc>
              <a:spcBef>
                <a:spcPts val="180"/>
              </a:spcBef>
            </a:pPr>
            <a:r>
              <a:rPr sz="1600" b="1" spc="15" dirty="0" err="1">
                <a:latin typeface="Century Gothic" panose="020B0502020202020204" pitchFamily="34" charset="0"/>
                <a:cs typeface="Arial MT"/>
              </a:rPr>
              <a:t>Pengalaman</a:t>
            </a:r>
            <a:endParaRPr sz="1600" b="1" dirty="0">
              <a:latin typeface="Century Gothic" panose="020B0502020202020204" pitchFamily="34" charset="0"/>
              <a:cs typeface="Arial MT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B4248D74-A57F-671F-FA41-7D8E0EDB660F}"/>
              </a:ext>
            </a:extLst>
          </p:cNvPr>
          <p:cNvSpPr txBox="1"/>
          <p:nvPr/>
        </p:nvSpPr>
        <p:spPr>
          <a:xfrm>
            <a:off x="9186160" y="2331177"/>
            <a:ext cx="1497330" cy="510396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2700" marR="5080" indent="-12700" algn="ctr">
              <a:lnSpc>
                <a:spcPts val="1900"/>
              </a:lnSpc>
              <a:spcBef>
                <a:spcPts val="180"/>
              </a:spcBef>
            </a:pPr>
            <a:r>
              <a:rPr sz="1600" b="1" spc="25" dirty="0">
                <a:latin typeface="Century Gothic" panose="020B0502020202020204" pitchFamily="34" charset="0"/>
                <a:cs typeface="Arial MT"/>
              </a:rPr>
              <a:t>Sumber </a:t>
            </a:r>
            <a:r>
              <a:rPr sz="1600" b="1" spc="30" dirty="0">
                <a:latin typeface="Century Gothic" panose="020B0502020202020204" pitchFamily="34" charset="0"/>
                <a:cs typeface="Arial MT"/>
              </a:rPr>
              <a:t> </a:t>
            </a:r>
            <a:r>
              <a:rPr sz="1600" b="1" spc="25" dirty="0" err="1">
                <a:latin typeface="Century Gothic" panose="020B0502020202020204" pitchFamily="34" charset="0"/>
                <a:cs typeface="Arial MT"/>
              </a:rPr>
              <a:t>daya</a:t>
            </a:r>
            <a:r>
              <a:rPr sz="1600" b="1" spc="-40" dirty="0">
                <a:latin typeface="Century Gothic" panose="020B0502020202020204" pitchFamily="34" charset="0"/>
                <a:cs typeface="Arial MT"/>
              </a:rPr>
              <a:t> </a:t>
            </a:r>
            <a:r>
              <a:rPr sz="1600" b="1" spc="40" dirty="0" err="1">
                <a:latin typeface="Century Gothic" panose="020B0502020202020204" pitchFamily="34" charset="0"/>
                <a:cs typeface="Arial MT"/>
              </a:rPr>
              <a:t>terkontrak</a:t>
            </a:r>
            <a:endParaRPr sz="1600" b="1" dirty="0">
              <a:latin typeface="Century Gothic" panose="020B0502020202020204" pitchFamily="34" charset="0"/>
              <a:cs typeface="Arial MT"/>
            </a:endParaRPr>
          </a:p>
        </p:txBody>
      </p:sp>
      <p:sp>
        <p:nvSpPr>
          <p:cNvPr id="8" name="object 11">
            <a:extLst>
              <a:ext uri="{FF2B5EF4-FFF2-40B4-BE49-F238E27FC236}">
                <a16:creationId xmlns:a16="http://schemas.microsoft.com/office/drawing/2014/main" id="{2416945F-3118-F199-0002-9D969CF4C138}"/>
              </a:ext>
            </a:extLst>
          </p:cNvPr>
          <p:cNvSpPr/>
          <p:nvPr/>
        </p:nvSpPr>
        <p:spPr>
          <a:xfrm flipV="1">
            <a:off x="3211996" y="3059816"/>
            <a:ext cx="5328416" cy="45719"/>
          </a:xfrm>
          <a:custGeom>
            <a:avLst/>
            <a:gdLst/>
            <a:ahLst/>
            <a:cxnLst/>
            <a:rect l="l" t="t" r="r" b="b"/>
            <a:pathLst>
              <a:path w="4611370">
                <a:moveTo>
                  <a:pt x="0" y="0"/>
                </a:moveTo>
                <a:lnTo>
                  <a:pt x="46110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b="1">
              <a:solidFill>
                <a:srgbClr val="FF0000"/>
              </a:solidFill>
            </a:endParaRPr>
          </a:p>
        </p:txBody>
      </p:sp>
      <p:sp>
        <p:nvSpPr>
          <p:cNvPr id="9" name="object 13">
            <a:extLst>
              <a:ext uri="{FF2B5EF4-FFF2-40B4-BE49-F238E27FC236}">
                <a16:creationId xmlns:a16="http://schemas.microsoft.com/office/drawing/2014/main" id="{C83C197B-368D-D974-7FAF-4DE038CA3E56}"/>
              </a:ext>
            </a:extLst>
          </p:cNvPr>
          <p:cNvSpPr txBox="1"/>
          <p:nvPr/>
        </p:nvSpPr>
        <p:spPr>
          <a:xfrm>
            <a:off x="4503577" y="2334721"/>
            <a:ext cx="1211174" cy="26674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80010" marR="5080" indent="-67945">
              <a:lnSpc>
                <a:spcPts val="1900"/>
              </a:lnSpc>
              <a:spcBef>
                <a:spcPts val="180"/>
              </a:spcBef>
            </a:pPr>
            <a:r>
              <a:rPr sz="1600" b="1" spc="15" dirty="0" err="1">
                <a:latin typeface="Century Gothic" panose="020B0502020202020204" pitchFamily="34" charset="0"/>
                <a:cs typeface="Arial MT"/>
              </a:rPr>
              <a:t>Peralatan</a:t>
            </a:r>
            <a:r>
              <a:rPr sz="1600" b="1" spc="15" dirty="0">
                <a:latin typeface="Century Gothic" panose="020B0502020202020204" pitchFamily="34" charset="0"/>
                <a:cs typeface="Arial MT"/>
              </a:rPr>
              <a:t>  </a:t>
            </a:r>
            <a:endParaRPr sz="1600" b="1" dirty="0">
              <a:latin typeface="Century Gothic" panose="020B0502020202020204" pitchFamily="34" charset="0"/>
              <a:cs typeface="Arial MT"/>
            </a:endParaRPr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63DD9A6A-7478-ED75-C919-B64BBC2A4618}"/>
              </a:ext>
            </a:extLst>
          </p:cNvPr>
          <p:cNvSpPr txBox="1"/>
          <p:nvPr/>
        </p:nvSpPr>
        <p:spPr>
          <a:xfrm>
            <a:off x="5089960" y="2823407"/>
            <a:ext cx="192386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FF0000"/>
                </a:solidFill>
                <a:latin typeface="Arial MT"/>
                <a:cs typeface="Arial MT"/>
              </a:rPr>
              <a:t>BELUM</a:t>
            </a:r>
            <a:r>
              <a:rPr sz="1200" b="1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200" b="1" spc="-40" dirty="0">
                <a:solidFill>
                  <a:srgbClr val="FF0000"/>
                </a:solidFill>
                <a:latin typeface="Arial MT"/>
                <a:cs typeface="Arial MT"/>
              </a:rPr>
              <a:t>TERINTEGRASI</a:t>
            </a:r>
            <a:endParaRPr sz="1200" b="1" dirty="0">
              <a:solidFill>
                <a:srgbClr val="FF0000"/>
              </a:solidFill>
              <a:latin typeface="Arial MT"/>
              <a:cs typeface="Arial MT"/>
            </a:endParaRPr>
          </a:p>
        </p:txBody>
      </p:sp>
      <p:sp>
        <p:nvSpPr>
          <p:cNvPr id="12" name="object 17">
            <a:extLst>
              <a:ext uri="{FF2B5EF4-FFF2-40B4-BE49-F238E27FC236}">
                <a16:creationId xmlns:a16="http://schemas.microsoft.com/office/drawing/2014/main" id="{356B75D1-5F84-9C5A-CFC4-141048E50870}"/>
              </a:ext>
            </a:extLst>
          </p:cNvPr>
          <p:cNvSpPr txBox="1"/>
          <p:nvPr/>
        </p:nvSpPr>
        <p:spPr>
          <a:xfrm>
            <a:off x="5654806" y="5624815"/>
            <a:ext cx="891540" cy="26674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2700" marR="5080" indent="225425">
              <a:lnSpc>
                <a:spcPts val="1900"/>
              </a:lnSpc>
              <a:spcBef>
                <a:spcPts val="180"/>
              </a:spcBef>
            </a:pPr>
            <a:r>
              <a:rPr sz="1600" b="1" spc="-15" dirty="0">
                <a:latin typeface="Century Gothic" panose="020B0502020202020204" pitchFamily="34" charset="0"/>
                <a:cs typeface="Arial MT"/>
              </a:rPr>
              <a:t>HPS</a:t>
            </a:r>
            <a:endParaRPr sz="1600" b="1" dirty="0">
              <a:latin typeface="Century Gothic" panose="020B0502020202020204" pitchFamily="34" charset="0"/>
              <a:cs typeface="Arial MT"/>
            </a:endParaRPr>
          </a:p>
        </p:txBody>
      </p:sp>
      <p:sp>
        <p:nvSpPr>
          <p:cNvPr id="13" name="object 18">
            <a:extLst>
              <a:ext uri="{FF2B5EF4-FFF2-40B4-BE49-F238E27FC236}">
                <a16:creationId xmlns:a16="http://schemas.microsoft.com/office/drawing/2014/main" id="{E24C5C0A-23A0-89ED-9EC3-4E46EF81945C}"/>
              </a:ext>
            </a:extLst>
          </p:cNvPr>
          <p:cNvSpPr/>
          <p:nvPr/>
        </p:nvSpPr>
        <p:spPr>
          <a:xfrm flipV="1">
            <a:off x="3211996" y="4492796"/>
            <a:ext cx="5328416" cy="45719"/>
          </a:xfrm>
          <a:custGeom>
            <a:avLst/>
            <a:gdLst/>
            <a:ahLst/>
            <a:cxnLst/>
            <a:rect l="l" t="t" r="r" b="b"/>
            <a:pathLst>
              <a:path w="4611370">
                <a:moveTo>
                  <a:pt x="0" y="0"/>
                </a:moveTo>
                <a:lnTo>
                  <a:pt x="46110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b="1">
              <a:solidFill>
                <a:srgbClr val="FF0000"/>
              </a:solidFill>
            </a:endParaRPr>
          </a:p>
        </p:txBody>
      </p:sp>
      <p:sp>
        <p:nvSpPr>
          <p:cNvPr id="14" name="object 19">
            <a:extLst>
              <a:ext uri="{FF2B5EF4-FFF2-40B4-BE49-F238E27FC236}">
                <a16:creationId xmlns:a16="http://schemas.microsoft.com/office/drawing/2014/main" id="{83965155-645C-26CC-36F6-7A6E7223D681}"/>
              </a:ext>
            </a:extLst>
          </p:cNvPr>
          <p:cNvSpPr txBox="1"/>
          <p:nvPr/>
        </p:nvSpPr>
        <p:spPr>
          <a:xfrm>
            <a:off x="5098433" y="4567682"/>
            <a:ext cx="192386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FF0000"/>
                </a:solidFill>
                <a:latin typeface="Arial MT"/>
                <a:cs typeface="Arial MT"/>
              </a:rPr>
              <a:t>BELUM</a:t>
            </a:r>
            <a:r>
              <a:rPr sz="1200" b="1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200" b="1" spc="-40" dirty="0">
                <a:solidFill>
                  <a:srgbClr val="FF0000"/>
                </a:solidFill>
                <a:latin typeface="Arial MT"/>
                <a:cs typeface="Arial MT"/>
              </a:rPr>
              <a:t>TERINTEGRASI</a:t>
            </a:r>
            <a:endParaRPr sz="1200" b="1" dirty="0">
              <a:solidFill>
                <a:srgbClr val="FF0000"/>
              </a:solidFill>
              <a:latin typeface="Arial MT"/>
              <a:cs typeface="Arial M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CD898F-0E87-3343-6AB4-7F1EC2396BED}"/>
              </a:ext>
            </a:extLst>
          </p:cNvPr>
          <p:cNvSpPr/>
          <p:nvPr/>
        </p:nvSpPr>
        <p:spPr>
          <a:xfrm>
            <a:off x="9199634" y="5891555"/>
            <a:ext cx="3300194" cy="2023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Sumber</a:t>
            </a:r>
            <a:r>
              <a:rPr lang="en-US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:</a:t>
            </a:r>
          </a:p>
          <a:p>
            <a:r>
              <a:rPr lang="en-US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Direktorat</a:t>
            </a:r>
            <a:r>
              <a:rPr lang="en-US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Pengadaan</a:t>
            </a:r>
            <a:r>
              <a:rPr lang="en-US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Jasa </a:t>
            </a:r>
            <a:r>
              <a:rPr lang="en-US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Konstruksi</a:t>
            </a:r>
            <a:endParaRPr lang="en-ID" sz="12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BD6A8B2-BA2A-72A9-1C1C-2ABB6490FF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7817" y="1428476"/>
            <a:ext cx="2316202" cy="54784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1EC9AC-1E8C-2119-92E9-DF333357E9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0682" y="1428475"/>
            <a:ext cx="2013842" cy="54784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D5EB064-B1F4-79B6-255E-1362D5894E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9356" y="1409698"/>
            <a:ext cx="2199005" cy="56662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FC46FBA-404A-EBDA-FDE2-DE06C1F7A9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97759" y="1148328"/>
            <a:ext cx="1074131" cy="116497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30BD0B7-377B-DE4E-FB9C-7220B8C38A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20446" y="3350543"/>
            <a:ext cx="1847945" cy="74933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D1A397B-A7B5-B883-E744-2EAF219C903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47436" y="4821515"/>
            <a:ext cx="1417650" cy="716973"/>
          </a:xfrm>
          <a:prstGeom prst="rect">
            <a:avLst/>
          </a:prstGeom>
        </p:spPr>
      </p:pic>
      <p:pic>
        <p:nvPicPr>
          <p:cNvPr id="26" name="Google Shape;94;p13">
            <a:extLst>
              <a:ext uri="{FF2B5EF4-FFF2-40B4-BE49-F238E27FC236}">
                <a16:creationId xmlns:a16="http://schemas.microsoft.com/office/drawing/2014/main" id="{74A420A3-B73F-DF2D-4DE0-EE71F2C41921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61100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BB5BA-6671-64C5-DD60-514042C7F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E0F89E-0779-478B-7669-F43B5B303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66" y="6817663"/>
            <a:ext cx="12192000" cy="50537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CBF68BC-6840-47F9-2D21-3E5CE487869E}"/>
              </a:ext>
            </a:extLst>
          </p:cNvPr>
          <p:cNvGrpSpPr/>
          <p:nvPr/>
        </p:nvGrpSpPr>
        <p:grpSpPr>
          <a:xfrm>
            <a:off x="5143673" y="1495651"/>
            <a:ext cx="660448" cy="678887"/>
            <a:chOff x="6563134" y="412396"/>
            <a:chExt cx="609644" cy="626665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0638B9E-FF28-8E22-BA74-31A2B4375DFB}"/>
                </a:ext>
              </a:extLst>
            </p:cNvPr>
            <p:cNvSpPr/>
            <p:nvPr/>
          </p:nvSpPr>
          <p:spPr>
            <a:xfrm>
              <a:off x="6563134" y="412396"/>
              <a:ext cx="609644" cy="62666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87">
                <a:defRPr/>
              </a:pPr>
              <a:endParaRPr lang="en-US" sz="1200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11" name="Freeform 108">
              <a:extLst>
                <a:ext uri="{FF2B5EF4-FFF2-40B4-BE49-F238E27FC236}">
                  <a16:creationId xmlns:a16="http://schemas.microsoft.com/office/drawing/2014/main" id="{D74583BA-F3E8-F50A-86BB-094C0C329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67121" y="540941"/>
              <a:ext cx="209876" cy="260595"/>
            </a:xfrm>
            <a:custGeom>
              <a:avLst/>
              <a:gdLst>
                <a:gd name="T0" fmla="*/ 58 w 61"/>
                <a:gd name="T1" fmla="*/ 0 h 71"/>
                <a:gd name="T2" fmla="*/ 7 w 61"/>
                <a:gd name="T3" fmla="*/ 0 h 71"/>
                <a:gd name="T4" fmla="*/ 0 w 61"/>
                <a:gd name="T5" fmla="*/ 5 h 71"/>
                <a:gd name="T6" fmla="*/ 7 w 61"/>
                <a:gd name="T7" fmla="*/ 5 h 71"/>
                <a:gd name="T8" fmla="*/ 53 w 61"/>
                <a:gd name="T9" fmla="*/ 5 h 71"/>
                <a:gd name="T10" fmla="*/ 56 w 61"/>
                <a:gd name="T11" fmla="*/ 7 h 71"/>
                <a:gd name="T12" fmla="*/ 56 w 61"/>
                <a:gd name="T13" fmla="*/ 64 h 71"/>
                <a:gd name="T14" fmla="*/ 53 w 61"/>
                <a:gd name="T15" fmla="*/ 64 h 71"/>
                <a:gd name="T16" fmla="*/ 53 w 61"/>
                <a:gd name="T17" fmla="*/ 7 h 71"/>
                <a:gd name="T18" fmla="*/ 10 w 61"/>
                <a:gd name="T19" fmla="*/ 7 h 71"/>
                <a:gd name="T20" fmla="*/ 10 w 61"/>
                <a:gd name="T21" fmla="*/ 7 h 71"/>
                <a:gd name="T22" fmla="*/ 7 w 61"/>
                <a:gd name="T23" fmla="*/ 7 h 71"/>
                <a:gd name="T24" fmla="*/ 4 w 61"/>
                <a:gd name="T25" fmla="*/ 7 h 71"/>
                <a:gd name="T26" fmla="*/ 0 w 61"/>
                <a:gd name="T27" fmla="*/ 7 h 71"/>
                <a:gd name="T28" fmla="*/ 0 w 61"/>
                <a:gd name="T29" fmla="*/ 71 h 71"/>
                <a:gd name="T30" fmla="*/ 4 w 61"/>
                <a:gd name="T31" fmla="*/ 71 h 71"/>
                <a:gd name="T32" fmla="*/ 7 w 61"/>
                <a:gd name="T33" fmla="*/ 71 h 71"/>
                <a:gd name="T34" fmla="*/ 10 w 61"/>
                <a:gd name="T35" fmla="*/ 71 h 71"/>
                <a:gd name="T36" fmla="*/ 16 w 61"/>
                <a:gd name="T37" fmla="*/ 71 h 71"/>
                <a:gd name="T38" fmla="*/ 53 w 61"/>
                <a:gd name="T39" fmla="*/ 71 h 71"/>
                <a:gd name="T40" fmla="*/ 53 w 61"/>
                <a:gd name="T41" fmla="*/ 67 h 71"/>
                <a:gd name="T42" fmla="*/ 56 w 61"/>
                <a:gd name="T43" fmla="*/ 67 h 71"/>
                <a:gd name="T44" fmla="*/ 58 w 61"/>
                <a:gd name="T45" fmla="*/ 67 h 71"/>
                <a:gd name="T46" fmla="*/ 61 w 61"/>
                <a:gd name="T47" fmla="*/ 64 h 71"/>
                <a:gd name="T48" fmla="*/ 61 w 61"/>
                <a:gd name="T49" fmla="*/ 3 h 71"/>
                <a:gd name="T50" fmla="*/ 58 w 61"/>
                <a:gd name="T51" fmla="*/ 0 h 71"/>
                <a:gd name="T52" fmla="*/ 47 w 61"/>
                <a:gd name="T53" fmla="*/ 66 h 71"/>
                <a:gd name="T54" fmla="*/ 23 w 61"/>
                <a:gd name="T55" fmla="*/ 66 h 71"/>
                <a:gd name="T56" fmla="*/ 23 w 61"/>
                <a:gd name="T57" fmla="*/ 57 h 71"/>
                <a:gd name="T58" fmla="*/ 47 w 61"/>
                <a:gd name="T59" fmla="*/ 57 h 71"/>
                <a:gd name="T60" fmla="*/ 47 w 61"/>
                <a:gd name="T61" fmla="*/ 6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1" h="71">
                  <a:moveTo>
                    <a:pt x="5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2" y="0"/>
                    <a:pt x="1" y="3"/>
                    <a:pt x="0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6" y="5"/>
                    <a:pt x="56" y="7"/>
                    <a:pt x="56" y="7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2" y="71"/>
                    <a:pt x="14" y="71"/>
                    <a:pt x="16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61" y="67"/>
                    <a:pt x="61" y="64"/>
                    <a:pt x="61" y="64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1" y="0"/>
                    <a:pt x="58" y="0"/>
                    <a:pt x="58" y="0"/>
                  </a:cubicBezTo>
                  <a:close/>
                  <a:moveTo>
                    <a:pt x="47" y="66"/>
                  </a:moveTo>
                  <a:cubicBezTo>
                    <a:pt x="23" y="66"/>
                    <a:pt x="23" y="66"/>
                    <a:pt x="23" y="6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47" y="57"/>
                    <a:pt x="47" y="57"/>
                    <a:pt x="47" y="57"/>
                  </a:cubicBezTo>
                  <a:lnTo>
                    <a:pt x="47" y="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87">
                <a:defRPr/>
              </a:pPr>
              <a:endParaRPr lang="en-US" sz="120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886C36B-7A76-0A4B-371C-4EDC1AE0DEEC}"/>
              </a:ext>
            </a:extLst>
          </p:cNvPr>
          <p:cNvGrpSpPr/>
          <p:nvPr/>
        </p:nvGrpSpPr>
        <p:grpSpPr>
          <a:xfrm>
            <a:off x="5114816" y="2569660"/>
            <a:ext cx="663702" cy="683514"/>
            <a:chOff x="7210409" y="2320792"/>
            <a:chExt cx="967709" cy="98813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C60384A-D097-E7D6-5057-0524C4F6F6C2}"/>
                </a:ext>
              </a:extLst>
            </p:cNvPr>
            <p:cNvSpPr>
              <a:spLocks/>
            </p:cNvSpPr>
            <p:nvPr/>
          </p:nvSpPr>
          <p:spPr bwMode="auto">
            <a:xfrm rot="13100585">
              <a:off x="7210409" y="2320792"/>
              <a:ext cx="967709" cy="98813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defTabSz="742987">
                <a:defRPr/>
              </a:pPr>
              <a:endParaRPr lang="en-US" sz="160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6871E08-AC68-3D66-7263-5EDA6800283F}"/>
                </a:ext>
              </a:extLst>
            </p:cNvPr>
            <p:cNvGrpSpPr/>
            <p:nvPr/>
          </p:nvGrpSpPr>
          <p:grpSpPr>
            <a:xfrm>
              <a:off x="7467605" y="2565675"/>
              <a:ext cx="419637" cy="466016"/>
              <a:chOff x="7502526" y="2405063"/>
              <a:chExt cx="301625" cy="334961"/>
            </a:xfrm>
            <a:solidFill>
              <a:schemeClr val="bg1"/>
            </a:solidFill>
          </p:grpSpPr>
          <p:sp>
            <p:nvSpPr>
              <p:cNvPr id="15" name="Freeform 112">
                <a:extLst>
                  <a:ext uri="{FF2B5EF4-FFF2-40B4-BE49-F238E27FC236}">
                    <a16:creationId xmlns:a16="http://schemas.microsoft.com/office/drawing/2014/main" id="{6EC03FFF-3FDE-CB42-2E9D-59B23D172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8901" y="2405063"/>
                <a:ext cx="95250" cy="90488"/>
              </a:xfrm>
              <a:custGeom>
                <a:avLst/>
                <a:gdLst>
                  <a:gd name="T0" fmla="*/ 19 w 25"/>
                  <a:gd name="T1" fmla="*/ 24 h 24"/>
                  <a:gd name="T2" fmla="*/ 21 w 25"/>
                  <a:gd name="T3" fmla="*/ 22 h 24"/>
                  <a:gd name="T4" fmla="*/ 19 w 25"/>
                  <a:gd name="T5" fmla="*/ 4 h 24"/>
                  <a:gd name="T6" fmla="*/ 0 w 25"/>
                  <a:gd name="T7" fmla="*/ 7 h 24"/>
                  <a:gd name="T8" fmla="*/ 0 w 25"/>
                  <a:gd name="T9" fmla="*/ 8 h 24"/>
                  <a:gd name="T10" fmla="*/ 19 w 25"/>
                  <a:gd name="T1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24">
                    <a:moveTo>
                      <a:pt x="19" y="24"/>
                    </a:moveTo>
                    <a:cubicBezTo>
                      <a:pt x="20" y="23"/>
                      <a:pt x="20" y="23"/>
                      <a:pt x="21" y="22"/>
                    </a:cubicBezTo>
                    <a:cubicBezTo>
                      <a:pt x="25" y="17"/>
                      <a:pt x="24" y="8"/>
                      <a:pt x="19" y="4"/>
                    </a:cubicBezTo>
                    <a:cubicBezTo>
                      <a:pt x="13" y="0"/>
                      <a:pt x="5" y="1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8" y="11"/>
                      <a:pt x="15" y="17"/>
                      <a:pt x="19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742987">
                  <a:defRPr/>
                </a:pPr>
                <a:endParaRPr lang="en-US" sz="120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17" name="Freeform 113">
                <a:extLst>
                  <a:ext uri="{FF2B5EF4-FFF2-40B4-BE49-F238E27FC236}">
                    <a16:creationId xmlns:a16="http://schemas.microsoft.com/office/drawing/2014/main" id="{63F54A9D-7C4E-4F29-26E5-54C061CCE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28486" y="2438398"/>
                <a:ext cx="274636" cy="301626"/>
              </a:xfrm>
              <a:custGeom>
                <a:avLst/>
                <a:gdLst>
                  <a:gd name="T0" fmla="*/ 43 w 73"/>
                  <a:gd name="T1" fmla="*/ 0 h 80"/>
                  <a:gd name="T2" fmla="*/ 42 w 73"/>
                  <a:gd name="T3" fmla="*/ 0 h 80"/>
                  <a:gd name="T4" fmla="*/ 42 w 73"/>
                  <a:gd name="T5" fmla="*/ 0 h 80"/>
                  <a:gd name="T6" fmla="*/ 41 w 73"/>
                  <a:gd name="T7" fmla="*/ 0 h 80"/>
                  <a:gd name="T8" fmla="*/ 41 w 73"/>
                  <a:gd name="T9" fmla="*/ 0 h 80"/>
                  <a:gd name="T10" fmla="*/ 40 w 73"/>
                  <a:gd name="T11" fmla="*/ 0 h 80"/>
                  <a:gd name="T12" fmla="*/ 40 w 73"/>
                  <a:gd name="T13" fmla="*/ 0 h 80"/>
                  <a:gd name="T14" fmla="*/ 39 w 73"/>
                  <a:gd name="T15" fmla="*/ 0 h 80"/>
                  <a:gd name="T16" fmla="*/ 39 w 73"/>
                  <a:gd name="T17" fmla="*/ 0 h 80"/>
                  <a:gd name="T18" fmla="*/ 38 w 73"/>
                  <a:gd name="T19" fmla="*/ 0 h 80"/>
                  <a:gd name="T20" fmla="*/ 38 w 73"/>
                  <a:gd name="T21" fmla="*/ 0 h 80"/>
                  <a:gd name="T22" fmla="*/ 37 w 73"/>
                  <a:gd name="T23" fmla="*/ 0 h 80"/>
                  <a:gd name="T24" fmla="*/ 36 w 73"/>
                  <a:gd name="T25" fmla="*/ 0 h 80"/>
                  <a:gd name="T26" fmla="*/ 35 w 73"/>
                  <a:gd name="T27" fmla="*/ 0 h 80"/>
                  <a:gd name="T28" fmla="*/ 34 w 73"/>
                  <a:gd name="T29" fmla="*/ 0 h 80"/>
                  <a:gd name="T30" fmla="*/ 33 w 73"/>
                  <a:gd name="T31" fmla="*/ 0 h 80"/>
                  <a:gd name="T32" fmla="*/ 32 w 73"/>
                  <a:gd name="T33" fmla="*/ 0 h 80"/>
                  <a:gd name="T34" fmla="*/ 32 w 73"/>
                  <a:gd name="T35" fmla="*/ 0 h 80"/>
                  <a:gd name="T36" fmla="*/ 32 w 73"/>
                  <a:gd name="T37" fmla="*/ 0 h 80"/>
                  <a:gd name="T38" fmla="*/ 32 w 73"/>
                  <a:gd name="T39" fmla="*/ 0 h 80"/>
                  <a:gd name="T40" fmla="*/ 31 w 73"/>
                  <a:gd name="T41" fmla="*/ 0 h 80"/>
                  <a:gd name="T42" fmla="*/ 31 w 73"/>
                  <a:gd name="T43" fmla="*/ 0 h 80"/>
                  <a:gd name="T44" fmla="*/ 30 w 73"/>
                  <a:gd name="T45" fmla="*/ 0 h 80"/>
                  <a:gd name="T46" fmla="*/ 0 w 73"/>
                  <a:gd name="T47" fmla="*/ 37 h 80"/>
                  <a:gd name="T48" fmla="*/ 12 w 73"/>
                  <a:gd name="T49" fmla="*/ 64 h 80"/>
                  <a:gd name="T50" fmla="*/ 7 w 73"/>
                  <a:gd name="T51" fmla="*/ 69 h 80"/>
                  <a:gd name="T52" fmla="*/ 7 w 73"/>
                  <a:gd name="T53" fmla="*/ 77 h 80"/>
                  <a:gd name="T54" fmla="*/ 14 w 73"/>
                  <a:gd name="T55" fmla="*/ 77 h 80"/>
                  <a:gd name="T56" fmla="*/ 21 w 73"/>
                  <a:gd name="T57" fmla="*/ 70 h 80"/>
                  <a:gd name="T58" fmla="*/ 36 w 73"/>
                  <a:gd name="T59" fmla="*/ 73 h 80"/>
                  <a:gd name="T60" fmla="*/ 52 w 73"/>
                  <a:gd name="T61" fmla="*/ 70 h 80"/>
                  <a:gd name="T62" fmla="*/ 58 w 73"/>
                  <a:gd name="T63" fmla="*/ 77 h 80"/>
                  <a:gd name="T64" fmla="*/ 66 w 73"/>
                  <a:gd name="T65" fmla="*/ 77 h 80"/>
                  <a:gd name="T66" fmla="*/ 66 w 73"/>
                  <a:gd name="T67" fmla="*/ 69 h 80"/>
                  <a:gd name="T68" fmla="*/ 61 w 73"/>
                  <a:gd name="T69" fmla="*/ 64 h 80"/>
                  <a:gd name="T70" fmla="*/ 73 w 73"/>
                  <a:gd name="T71" fmla="*/ 37 h 80"/>
                  <a:gd name="T72" fmla="*/ 43 w 73"/>
                  <a:gd name="T73" fmla="*/ 0 h 80"/>
                  <a:gd name="T74" fmla="*/ 36 w 73"/>
                  <a:gd name="T75" fmla="*/ 65 h 80"/>
                  <a:gd name="T76" fmla="*/ 8 w 73"/>
                  <a:gd name="T77" fmla="*/ 37 h 80"/>
                  <a:gd name="T78" fmla="*/ 36 w 73"/>
                  <a:gd name="T79" fmla="*/ 8 h 80"/>
                  <a:gd name="T80" fmla="*/ 64 w 73"/>
                  <a:gd name="T81" fmla="*/ 37 h 80"/>
                  <a:gd name="T82" fmla="*/ 36 w 73"/>
                  <a:gd name="T83" fmla="*/ 6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3" h="80">
                    <a:moveTo>
                      <a:pt x="43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2" y="0"/>
                      <a:pt x="41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0" y="0"/>
                      <a:pt x="4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39" y="0"/>
                      <a:pt x="39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38" y="0"/>
                      <a:pt x="38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0"/>
                      <a:pt x="38" y="0"/>
                      <a:pt x="37" y="0"/>
                    </a:cubicBezTo>
                    <a:cubicBezTo>
                      <a:pt x="37" y="0"/>
                      <a:pt x="37" y="0"/>
                      <a:pt x="36" y="0"/>
                    </a:cubicBezTo>
                    <a:cubicBezTo>
                      <a:pt x="36" y="0"/>
                      <a:pt x="36" y="0"/>
                      <a:pt x="35" y="0"/>
                    </a:cubicBezTo>
                    <a:cubicBezTo>
                      <a:pt x="35" y="0"/>
                      <a:pt x="35" y="0"/>
                      <a:pt x="34" y="0"/>
                    </a:cubicBezTo>
                    <a:cubicBezTo>
                      <a:pt x="34" y="0"/>
                      <a:pt x="34" y="0"/>
                      <a:pt x="33" y="0"/>
                    </a:cubicBezTo>
                    <a:cubicBezTo>
                      <a:pt x="33" y="0"/>
                      <a:pt x="33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13" y="4"/>
                      <a:pt x="0" y="19"/>
                      <a:pt x="0" y="37"/>
                    </a:cubicBezTo>
                    <a:cubicBezTo>
                      <a:pt x="0" y="47"/>
                      <a:pt x="4" y="57"/>
                      <a:pt x="12" y="64"/>
                    </a:cubicBezTo>
                    <a:cubicBezTo>
                      <a:pt x="7" y="69"/>
                      <a:pt x="7" y="69"/>
                      <a:pt x="7" y="69"/>
                    </a:cubicBezTo>
                    <a:cubicBezTo>
                      <a:pt x="4" y="71"/>
                      <a:pt x="5" y="77"/>
                      <a:pt x="7" y="77"/>
                    </a:cubicBezTo>
                    <a:cubicBezTo>
                      <a:pt x="9" y="79"/>
                      <a:pt x="12" y="79"/>
                      <a:pt x="14" y="77"/>
                    </a:cubicBezTo>
                    <a:cubicBezTo>
                      <a:pt x="16" y="75"/>
                      <a:pt x="20" y="72"/>
                      <a:pt x="21" y="70"/>
                    </a:cubicBezTo>
                    <a:cubicBezTo>
                      <a:pt x="25" y="72"/>
                      <a:pt x="31" y="73"/>
                      <a:pt x="36" y="73"/>
                    </a:cubicBezTo>
                    <a:cubicBezTo>
                      <a:pt x="42" y="73"/>
                      <a:pt x="47" y="72"/>
                      <a:pt x="52" y="70"/>
                    </a:cubicBezTo>
                    <a:cubicBezTo>
                      <a:pt x="53" y="72"/>
                      <a:pt x="57" y="75"/>
                      <a:pt x="58" y="77"/>
                    </a:cubicBezTo>
                    <a:cubicBezTo>
                      <a:pt x="62" y="80"/>
                      <a:pt x="65" y="77"/>
                      <a:pt x="66" y="77"/>
                    </a:cubicBezTo>
                    <a:cubicBezTo>
                      <a:pt x="68" y="74"/>
                      <a:pt x="68" y="71"/>
                      <a:pt x="66" y="69"/>
                    </a:cubicBezTo>
                    <a:cubicBezTo>
                      <a:pt x="61" y="64"/>
                      <a:pt x="61" y="64"/>
                      <a:pt x="61" y="64"/>
                    </a:cubicBezTo>
                    <a:cubicBezTo>
                      <a:pt x="68" y="57"/>
                      <a:pt x="73" y="47"/>
                      <a:pt x="73" y="37"/>
                    </a:cubicBezTo>
                    <a:cubicBezTo>
                      <a:pt x="73" y="19"/>
                      <a:pt x="60" y="4"/>
                      <a:pt x="43" y="0"/>
                    </a:cubicBezTo>
                    <a:close/>
                    <a:moveTo>
                      <a:pt x="36" y="65"/>
                    </a:moveTo>
                    <a:cubicBezTo>
                      <a:pt x="21" y="65"/>
                      <a:pt x="8" y="52"/>
                      <a:pt x="8" y="37"/>
                    </a:cubicBezTo>
                    <a:cubicBezTo>
                      <a:pt x="8" y="21"/>
                      <a:pt x="21" y="8"/>
                      <a:pt x="36" y="8"/>
                    </a:cubicBezTo>
                    <a:cubicBezTo>
                      <a:pt x="52" y="8"/>
                      <a:pt x="64" y="21"/>
                      <a:pt x="64" y="37"/>
                    </a:cubicBezTo>
                    <a:cubicBezTo>
                      <a:pt x="64" y="52"/>
                      <a:pt x="52" y="65"/>
                      <a:pt x="36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742987">
                  <a:defRPr/>
                </a:pPr>
                <a:endParaRPr lang="en-US" sz="120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18" name="Freeform 114">
                <a:extLst>
                  <a:ext uri="{FF2B5EF4-FFF2-40B4-BE49-F238E27FC236}">
                    <a16:creationId xmlns:a16="http://schemas.microsoft.com/office/drawing/2014/main" id="{15650893-9100-D82B-6A2E-722DC7F52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2526" y="2405063"/>
                <a:ext cx="98425" cy="90488"/>
              </a:xfrm>
              <a:custGeom>
                <a:avLst/>
                <a:gdLst>
                  <a:gd name="T0" fmla="*/ 6 w 26"/>
                  <a:gd name="T1" fmla="*/ 24 h 24"/>
                  <a:gd name="T2" fmla="*/ 26 w 26"/>
                  <a:gd name="T3" fmla="*/ 8 h 24"/>
                  <a:gd name="T4" fmla="*/ 25 w 26"/>
                  <a:gd name="T5" fmla="*/ 7 h 24"/>
                  <a:gd name="T6" fmla="*/ 7 w 26"/>
                  <a:gd name="T7" fmla="*/ 4 h 24"/>
                  <a:gd name="T8" fmla="*/ 5 w 26"/>
                  <a:gd name="T9" fmla="*/ 22 h 24"/>
                  <a:gd name="T10" fmla="*/ 6 w 26"/>
                  <a:gd name="T1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4">
                    <a:moveTo>
                      <a:pt x="6" y="24"/>
                    </a:moveTo>
                    <a:cubicBezTo>
                      <a:pt x="11" y="17"/>
                      <a:pt x="18" y="11"/>
                      <a:pt x="26" y="8"/>
                    </a:cubicBezTo>
                    <a:cubicBezTo>
                      <a:pt x="26" y="7"/>
                      <a:pt x="25" y="7"/>
                      <a:pt x="25" y="7"/>
                    </a:cubicBezTo>
                    <a:cubicBezTo>
                      <a:pt x="21" y="1"/>
                      <a:pt x="13" y="0"/>
                      <a:pt x="7" y="4"/>
                    </a:cubicBezTo>
                    <a:cubicBezTo>
                      <a:pt x="1" y="8"/>
                      <a:pt x="0" y="17"/>
                      <a:pt x="5" y="22"/>
                    </a:cubicBezTo>
                    <a:cubicBezTo>
                      <a:pt x="5" y="23"/>
                      <a:pt x="6" y="23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742987">
                  <a:defRPr/>
                </a:pPr>
                <a:endParaRPr lang="en-US" sz="120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20" name="Freeform 115">
                <a:extLst>
                  <a:ext uri="{FF2B5EF4-FFF2-40B4-BE49-F238E27FC236}">
                    <a16:creationId xmlns:a16="http://schemas.microsoft.com/office/drawing/2014/main" id="{DE22A1E6-7B13-8E35-5C10-34D02B536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0163" y="2476501"/>
                <a:ext cx="11113" cy="44450"/>
              </a:xfrm>
              <a:custGeom>
                <a:avLst/>
                <a:gdLst>
                  <a:gd name="T0" fmla="*/ 1 w 3"/>
                  <a:gd name="T1" fmla="*/ 12 h 12"/>
                  <a:gd name="T2" fmla="*/ 3 w 3"/>
                  <a:gd name="T3" fmla="*/ 10 h 12"/>
                  <a:gd name="T4" fmla="*/ 3 w 3"/>
                  <a:gd name="T5" fmla="*/ 2 h 12"/>
                  <a:gd name="T6" fmla="*/ 1 w 3"/>
                  <a:gd name="T7" fmla="*/ 0 h 12"/>
                  <a:gd name="T8" fmla="*/ 0 w 3"/>
                  <a:gd name="T9" fmla="*/ 2 h 12"/>
                  <a:gd name="T10" fmla="*/ 0 w 3"/>
                  <a:gd name="T11" fmla="*/ 10 h 12"/>
                  <a:gd name="T12" fmla="*/ 1 w 3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2">
                    <a:moveTo>
                      <a:pt x="1" y="12"/>
                    </a:moveTo>
                    <a:cubicBezTo>
                      <a:pt x="2" y="12"/>
                      <a:pt x="3" y="11"/>
                      <a:pt x="3" y="1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2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1"/>
                      <a:pt x="0" y="12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742987">
                  <a:defRPr/>
                </a:pPr>
                <a:endParaRPr lang="en-US" sz="120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21" name="Freeform 116">
                <a:extLst>
                  <a:ext uri="{FF2B5EF4-FFF2-40B4-BE49-F238E27FC236}">
                    <a16:creationId xmlns:a16="http://schemas.microsoft.com/office/drawing/2014/main" id="{E65ECF0F-BC5B-3D98-B930-941E74C22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51738" y="2570163"/>
                <a:ext cx="44450" cy="11113"/>
              </a:xfrm>
              <a:custGeom>
                <a:avLst/>
                <a:gdLst>
                  <a:gd name="T0" fmla="*/ 10 w 12"/>
                  <a:gd name="T1" fmla="*/ 0 h 3"/>
                  <a:gd name="T2" fmla="*/ 2 w 12"/>
                  <a:gd name="T3" fmla="*/ 0 h 3"/>
                  <a:gd name="T4" fmla="*/ 0 w 12"/>
                  <a:gd name="T5" fmla="*/ 2 h 3"/>
                  <a:gd name="T6" fmla="*/ 2 w 12"/>
                  <a:gd name="T7" fmla="*/ 3 h 3"/>
                  <a:gd name="T8" fmla="*/ 10 w 12"/>
                  <a:gd name="T9" fmla="*/ 3 h 3"/>
                  <a:gd name="T10" fmla="*/ 12 w 12"/>
                  <a:gd name="T11" fmla="*/ 2 h 3"/>
                  <a:gd name="T12" fmla="*/ 10 w 12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3"/>
                      <a:pt x="2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3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742987">
                  <a:defRPr/>
                </a:pPr>
                <a:endParaRPr lang="en-US" sz="120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22" name="Freeform 117">
                <a:extLst>
                  <a:ext uri="{FF2B5EF4-FFF2-40B4-BE49-F238E27FC236}">
                    <a16:creationId xmlns:a16="http://schemas.microsoft.com/office/drawing/2014/main" id="{EB1BAF90-9DDC-8AE7-C980-F76C0CA41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8901" y="2570163"/>
                <a:ext cx="46038" cy="11113"/>
              </a:xfrm>
              <a:custGeom>
                <a:avLst/>
                <a:gdLst>
                  <a:gd name="T0" fmla="*/ 10 w 12"/>
                  <a:gd name="T1" fmla="*/ 0 h 3"/>
                  <a:gd name="T2" fmla="*/ 2 w 12"/>
                  <a:gd name="T3" fmla="*/ 0 h 3"/>
                  <a:gd name="T4" fmla="*/ 0 w 12"/>
                  <a:gd name="T5" fmla="*/ 2 h 3"/>
                  <a:gd name="T6" fmla="*/ 2 w 12"/>
                  <a:gd name="T7" fmla="*/ 3 h 3"/>
                  <a:gd name="T8" fmla="*/ 10 w 12"/>
                  <a:gd name="T9" fmla="*/ 3 h 3"/>
                  <a:gd name="T10" fmla="*/ 12 w 12"/>
                  <a:gd name="T11" fmla="*/ 2 h 3"/>
                  <a:gd name="T12" fmla="*/ 10 w 12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3"/>
                      <a:pt x="2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3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742987">
                  <a:defRPr/>
                </a:pPr>
                <a:endParaRPr lang="en-US" sz="120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24" name="Freeform 118">
                <a:extLst>
                  <a:ext uri="{FF2B5EF4-FFF2-40B4-BE49-F238E27FC236}">
                    <a16:creationId xmlns:a16="http://schemas.microsoft.com/office/drawing/2014/main" id="{26A96F8F-83ED-68CD-B225-098B07A61B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0163" y="2633663"/>
                <a:ext cx="11113" cy="46038"/>
              </a:xfrm>
              <a:custGeom>
                <a:avLst/>
                <a:gdLst>
                  <a:gd name="T0" fmla="*/ 1 w 3"/>
                  <a:gd name="T1" fmla="*/ 0 h 12"/>
                  <a:gd name="T2" fmla="*/ 0 w 3"/>
                  <a:gd name="T3" fmla="*/ 1 h 12"/>
                  <a:gd name="T4" fmla="*/ 0 w 3"/>
                  <a:gd name="T5" fmla="*/ 10 h 12"/>
                  <a:gd name="T6" fmla="*/ 1 w 3"/>
                  <a:gd name="T7" fmla="*/ 12 h 12"/>
                  <a:gd name="T8" fmla="*/ 3 w 3"/>
                  <a:gd name="T9" fmla="*/ 10 h 12"/>
                  <a:gd name="T10" fmla="*/ 3 w 3"/>
                  <a:gd name="T11" fmla="*/ 1 h 12"/>
                  <a:gd name="T12" fmla="*/ 1 w 3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2">
                    <a:moveTo>
                      <a:pt x="1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1"/>
                      <a:pt x="0" y="12"/>
                      <a:pt x="1" y="12"/>
                    </a:cubicBezTo>
                    <a:cubicBezTo>
                      <a:pt x="2" y="12"/>
                      <a:pt x="3" y="11"/>
                      <a:pt x="3" y="1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742987">
                  <a:defRPr/>
                </a:pPr>
                <a:endParaRPr lang="en-US" sz="120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25" name="Freeform 119">
                <a:extLst>
                  <a:ext uri="{FF2B5EF4-FFF2-40B4-BE49-F238E27FC236}">
                    <a16:creationId xmlns:a16="http://schemas.microsoft.com/office/drawing/2014/main" id="{2E0D3F76-BF76-F596-4C71-026E802BC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3013" y="2506663"/>
                <a:ext cx="128588" cy="85725"/>
              </a:xfrm>
              <a:custGeom>
                <a:avLst/>
                <a:gdLst>
                  <a:gd name="T0" fmla="*/ 18 w 34"/>
                  <a:gd name="T1" fmla="*/ 18 h 23"/>
                  <a:gd name="T2" fmla="*/ 33 w 34"/>
                  <a:gd name="T3" fmla="*/ 3 h 23"/>
                  <a:gd name="T4" fmla="*/ 34 w 34"/>
                  <a:gd name="T5" fmla="*/ 2 h 23"/>
                  <a:gd name="T6" fmla="*/ 33 w 34"/>
                  <a:gd name="T7" fmla="*/ 1 h 23"/>
                  <a:gd name="T8" fmla="*/ 32 w 34"/>
                  <a:gd name="T9" fmla="*/ 0 h 23"/>
                  <a:gd name="T10" fmla="*/ 31 w 34"/>
                  <a:gd name="T11" fmla="*/ 1 h 23"/>
                  <a:gd name="T12" fmla="*/ 20 w 34"/>
                  <a:gd name="T13" fmla="*/ 12 h 23"/>
                  <a:gd name="T14" fmla="*/ 16 w 34"/>
                  <a:gd name="T15" fmla="*/ 16 h 23"/>
                  <a:gd name="T16" fmla="*/ 16 w 34"/>
                  <a:gd name="T17" fmla="*/ 16 h 23"/>
                  <a:gd name="T18" fmla="*/ 16 w 34"/>
                  <a:gd name="T19" fmla="*/ 16 h 23"/>
                  <a:gd name="T20" fmla="*/ 15 w 34"/>
                  <a:gd name="T21" fmla="*/ 15 h 23"/>
                  <a:gd name="T22" fmla="*/ 15 w 34"/>
                  <a:gd name="T23" fmla="*/ 15 h 23"/>
                  <a:gd name="T24" fmla="*/ 15 w 34"/>
                  <a:gd name="T25" fmla="*/ 15 h 23"/>
                  <a:gd name="T26" fmla="*/ 4 w 34"/>
                  <a:gd name="T27" fmla="*/ 7 h 23"/>
                  <a:gd name="T28" fmla="*/ 2 w 34"/>
                  <a:gd name="T29" fmla="*/ 6 h 23"/>
                  <a:gd name="T30" fmla="*/ 1 w 34"/>
                  <a:gd name="T31" fmla="*/ 7 h 23"/>
                  <a:gd name="T32" fmla="*/ 0 w 34"/>
                  <a:gd name="T33" fmla="*/ 9 h 23"/>
                  <a:gd name="T34" fmla="*/ 1 w 34"/>
                  <a:gd name="T35" fmla="*/ 10 h 23"/>
                  <a:gd name="T36" fmla="*/ 13 w 34"/>
                  <a:gd name="T37" fmla="*/ 19 h 23"/>
                  <a:gd name="T38" fmla="*/ 12 w 34"/>
                  <a:gd name="T39" fmla="*/ 20 h 23"/>
                  <a:gd name="T40" fmla="*/ 11 w 34"/>
                  <a:gd name="T41" fmla="*/ 21 h 23"/>
                  <a:gd name="T42" fmla="*/ 12 w 34"/>
                  <a:gd name="T43" fmla="*/ 23 h 23"/>
                  <a:gd name="T44" fmla="*/ 13 w 34"/>
                  <a:gd name="T45" fmla="*/ 23 h 23"/>
                  <a:gd name="T46" fmla="*/ 16 w 34"/>
                  <a:gd name="T47" fmla="*/ 21 h 23"/>
                  <a:gd name="T48" fmla="*/ 17 w 34"/>
                  <a:gd name="T49" fmla="*/ 22 h 23"/>
                  <a:gd name="T50" fmla="*/ 18 w 34"/>
                  <a:gd name="T51" fmla="*/ 23 h 23"/>
                  <a:gd name="T52" fmla="*/ 20 w 34"/>
                  <a:gd name="T53" fmla="*/ 23 h 23"/>
                  <a:gd name="T54" fmla="*/ 21 w 34"/>
                  <a:gd name="T55" fmla="*/ 21 h 23"/>
                  <a:gd name="T56" fmla="*/ 21 w 34"/>
                  <a:gd name="T57" fmla="*/ 19 h 23"/>
                  <a:gd name="T58" fmla="*/ 18 w 34"/>
                  <a:gd name="T59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" h="23">
                    <a:moveTo>
                      <a:pt x="18" y="18"/>
                    </a:moveTo>
                    <a:cubicBezTo>
                      <a:pt x="33" y="3"/>
                      <a:pt x="33" y="3"/>
                      <a:pt x="33" y="3"/>
                    </a:cubicBezTo>
                    <a:cubicBezTo>
                      <a:pt x="33" y="3"/>
                      <a:pt x="34" y="2"/>
                      <a:pt x="34" y="2"/>
                    </a:cubicBezTo>
                    <a:cubicBezTo>
                      <a:pt x="34" y="2"/>
                      <a:pt x="33" y="1"/>
                      <a:pt x="33" y="1"/>
                    </a:cubicBezTo>
                    <a:cubicBezTo>
                      <a:pt x="33" y="1"/>
                      <a:pt x="32" y="0"/>
                      <a:pt x="32" y="0"/>
                    </a:cubicBezTo>
                    <a:cubicBezTo>
                      <a:pt x="32" y="0"/>
                      <a:pt x="31" y="1"/>
                      <a:pt x="31" y="1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3" y="6"/>
                      <a:pt x="3" y="6"/>
                      <a:pt x="2" y="6"/>
                    </a:cubicBezTo>
                    <a:cubicBezTo>
                      <a:pt x="2" y="6"/>
                      <a:pt x="1" y="7"/>
                      <a:pt x="1" y="7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0" y="9"/>
                      <a:pt x="1" y="10"/>
                      <a:pt x="1" y="10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2"/>
                      <a:pt x="11" y="22"/>
                      <a:pt x="12" y="23"/>
                    </a:cubicBezTo>
                    <a:cubicBezTo>
                      <a:pt x="12" y="23"/>
                      <a:pt x="12" y="23"/>
                      <a:pt x="13" y="23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18" y="23"/>
                      <a:pt x="19" y="23"/>
                      <a:pt x="20" y="23"/>
                    </a:cubicBezTo>
                    <a:cubicBezTo>
                      <a:pt x="21" y="23"/>
                      <a:pt x="22" y="22"/>
                      <a:pt x="21" y="21"/>
                    </a:cubicBezTo>
                    <a:cubicBezTo>
                      <a:pt x="21" y="20"/>
                      <a:pt x="21" y="20"/>
                      <a:pt x="21" y="19"/>
                    </a:cubicBezTo>
                    <a:lnTo>
                      <a:pt x="18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742987">
                  <a:defRPr/>
                </a:pPr>
                <a:endParaRPr lang="en-US" sz="120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</p:grp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162E6DDF-C153-105F-9EE3-3E8631A834F8}"/>
              </a:ext>
            </a:extLst>
          </p:cNvPr>
          <p:cNvSpPr/>
          <p:nvPr/>
        </p:nvSpPr>
        <p:spPr>
          <a:xfrm>
            <a:off x="5918957" y="1536429"/>
            <a:ext cx="5419255" cy="584775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defTabSz="742987">
              <a:defRPr/>
            </a:pP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Lembaga Non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truktural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yang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bertanggung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jawab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langsung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kepada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Menteri PUP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53666FB-932F-6632-3ADB-ED78338F976C}"/>
              </a:ext>
            </a:extLst>
          </p:cNvPr>
          <p:cNvSpPr/>
          <p:nvPr/>
        </p:nvSpPr>
        <p:spPr>
          <a:xfrm>
            <a:off x="5908811" y="3717597"/>
            <a:ext cx="5588372" cy="156966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defTabSz="742987">
              <a:defRPr/>
            </a:pP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Unsurnya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erdir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ar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:</a:t>
            </a:r>
          </a:p>
          <a:p>
            <a:pPr marL="185743" indent="-185743" defTabSz="742987"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asosia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bada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usaha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erakredita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,</a:t>
            </a:r>
          </a:p>
          <a:p>
            <a:pPr marL="185743" indent="-185743" defTabSz="742987"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asosia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rofe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erakredita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,</a:t>
            </a:r>
          </a:p>
          <a:p>
            <a:pPr marL="185743" indent="-185743" defTabSz="742987"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asosia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ranta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asok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erakredita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,</a:t>
            </a:r>
          </a:p>
          <a:p>
            <a:pPr marL="185743" indent="-185743" defTabSz="742987"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institu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engguna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jasa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, </a:t>
            </a:r>
          </a:p>
          <a:p>
            <a:pPr marL="185743" indent="-185743" defTabSz="742987"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akar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/PT yang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esua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kriteria</a:t>
            </a:r>
            <a:endParaRPr lang="en-US" sz="1600" dirty="0">
              <a:solidFill>
                <a:prstClr val="black"/>
              </a:solidFill>
              <a:latin typeface="Gill Sans MT" panose="020B0502020104020203" pitchFamily="34" charset="0"/>
              <a:ea typeface="Century Gothic" charset="0"/>
              <a:cs typeface="Century Gothic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6823E6C-74F8-C1F0-140F-4A62181CCD78}"/>
              </a:ext>
            </a:extLst>
          </p:cNvPr>
          <p:cNvGrpSpPr/>
          <p:nvPr/>
        </p:nvGrpSpPr>
        <p:grpSpPr>
          <a:xfrm>
            <a:off x="5139228" y="3938609"/>
            <a:ext cx="669338" cy="683513"/>
            <a:chOff x="6553950" y="2306914"/>
            <a:chExt cx="617851" cy="630935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2CFA86E-0CAA-EC9F-06BD-FFB90192A58E}"/>
                </a:ext>
              </a:extLst>
            </p:cNvPr>
            <p:cNvGrpSpPr/>
            <p:nvPr/>
          </p:nvGrpSpPr>
          <p:grpSpPr>
            <a:xfrm>
              <a:off x="6553950" y="2306914"/>
              <a:ext cx="617851" cy="630935"/>
              <a:chOff x="8173630" y="2776471"/>
              <a:chExt cx="1039365" cy="1045329"/>
            </a:xfrm>
          </p:grpSpPr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DF221E12-2EEB-752D-9BE0-243AA6843CCE}"/>
                  </a:ext>
                </a:extLst>
              </p:cNvPr>
              <p:cNvGrpSpPr/>
              <p:nvPr/>
            </p:nvGrpSpPr>
            <p:grpSpPr>
              <a:xfrm>
                <a:off x="8473738" y="3091969"/>
                <a:ext cx="429464" cy="359632"/>
                <a:chOff x="5099051" y="3930651"/>
                <a:chExt cx="390525" cy="327025"/>
              </a:xfrm>
              <a:solidFill>
                <a:schemeClr val="bg1"/>
              </a:solidFill>
            </p:grpSpPr>
            <p:sp>
              <p:nvSpPr>
                <p:cNvPr id="49" name="Freeform 103">
                  <a:extLst>
                    <a:ext uri="{FF2B5EF4-FFF2-40B4-BE49-F238E27FC236}">
                      <a16:creationId xmlns:a16="http://schemas.microsoft.com/office/drawing/2014/main" id="{5292ADE1-B902-C565-C912-44604D9D2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5725" y="4027488"/>
                  <a:ext cx="255589" cy="230188"/>
                </a:xfrm>
                <a:custGeom>
                  <a:avLst/>
                  <a:gdLst>
                    <a:gd name="T0" fmla="*/ 0 w 161"/>
                    <a:gd name="T1" fmla="*/ 62 h 145"/>
                    <a:gd name="T2" fmla="*/ 0 w 161"/>
                    <a:gd name="T3" fmla="*/ 145 h 145"/>
                    <a:gd name="T4" fmla="*/ 31 w 161"/>
                    <a:gd name="T5" fmla="*/ 145 h 145"/>
                    <a:gd name="T6" fmla="*/ 130 w 161"/>
                    <a:gd name="T7" fmla="*/ 145 h 145"/>
                    <a:gd name="T8" fmla="*/ 161 w 161"/>
                    <a:gd name="T9" fmla="*/ 145 h 145"/>
                    <a:gd name="T10" fmla="*/ 161 w 161"/>
                    <a:gd name="T11" fmla="*/ 62 h 145"/>
                    <a:gd name="T12" fmla="*/ 81 w 161"/>
                    <a:gd name="T13" fmla="*/ 0 h 145"/>
                    <a:gd name="T14" fmla="*/ 0 w 161"/>
                    <a:gd name="T15" fmla="*/ 62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45">
                      <a:moveTo>
                        <a:pt x="0" y="62"/>
                      </a:moveTo>
                      <a:lnTo>
                        <a:pt x="0" y="145"/>
                      </a:lnTo>
                      <a:lnTo>
                        <a:pt x="31" y="145"/>
                      </a:lnTo>
                      <a:lnTo>
                        <a:pt x="130" y="145"/>
                      </a:lnTo>
                      <a:lnTo>
                        <a:pt x="161" y="145"/>
                      </a:lnTo>
                      <a:lnTo>
                        <a:pt x="161" y="62"/>
                      </a:lnTo>
                      <a:lnTo>
                        <a:pt x="81" y="0"/>
                      </a:lnTo>
                      <a:lnTo>
                        <a:pt x="0" y="6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87">
                    <a:defRPr/>
                  </a:pPr>
                  <a:endParaRPr lang="en-US" sz="1200">
                    <a:solidFill>
                      <a:prstClr val="black"/>
                    </a:solidFill>
                    <a:latin typeface="Century Gothic" charset="0"/>
                    <a:ea typeface="Century Gothic" charset="0"/>
                    <a:cs typeface="Century Gothic" charset="0"/>
                  </a:endParaRPr>
                </a:p>
              </p:txBody>
            </p:sp>
            <p:sp>
              <p:nvSpPr>
                <p:cNvPr id="50" name="Freeform 104">
                  <a:extLst>
                    <a:ext uri="{FF2B5EF4-FFF2-40B4-BE49-F238E27FC236}">
                      <a16:creationId xmlns:a16="http://schemas.microsoft.com/office/drawing/2014/main" id="{0D2A92C3-5B7E-BCCA-F117-FD43DCF8DA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9051" y="3930651"/>
                  <a:ext cx="390525" cy="195263"/>
                </a:xfrm>
                <a:custGeom>
                  <a:avLst/>
                  <a:gdLst>
                    <a:gd name="T0" fmla="*/ 225 w 246"/>
                    <a:gd name="T1" fmla="*/ 80 h 123"/>
                    <a:gd name="T2" fmla="*/ 225 w 246"/>
                    <a:gd name="T3" fmla="*/ 21 h 123"/>
                    <a:gd name="T4" fmla="*/ 182 w 246"/>
                    <a:gd name="T5" fmla="*/ 21 h 123"/>
                    <a:gd name="T6" fmla="*/ 182 w 246"/>
                    <a:gd name="T7" fmla="*/ 47 h 123"/>
                    <a:gd name="T8" fmla="*/ 123 w 246"/>
                    <a:gd name="T9" fmla="*/ 0 h 123"/>
                    <a:gd name="T10" fmla="*/ 123 w 246"/>
                    <a:gd name="T11" fmla="*/ 0 h 123"/>
                    <a:gd name="T12" fmla="*/ 123 w 246"/>
                    <a:gd name="T13" fmla="*/ 0 h 123"/>
                    <a:gd name="T14" fmla="*/ 123 w 246"/>
                    <a:gd name="T15" fmla="*/ 0 h 123"/>
                    <a:gd name="T16" fmla="*/ 123 w 246"/>
                    <a:gd name="T17" fmla="*/ 0 h 123"/>
                    <a:gd name="T18" fmla="*/ 0 w 246"/>
                    <a:gd name="T19" fmla="*/ 97 h 123"/>
                    <a:gd name="T20" fmla="*/ 21 w 246"/>
                    <a:gd name="T21" fmla="*/ 123 h 123"/>
                    <a:gd name="T22" fmla="*/ 123 w 246"/>
                    <a:gd name="T23" fmla="*/ 42 h 123"/>
                    <a:gd name="T24" fmla="*/ 225 w 246"/>
                    <a:gd name="T25" fmla="*/ 123 h 123"/>
                    <a:gd name="T26" fmla="*/ 246 w 246"/>
                    <a:gd name="T27" fmla="*/ 97 h 123"/>
                    <a:gd name="T28" fmla="*/ 225 w 246"/>
                    <a:gd name="T29" fmla="*/ 8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6" h="123">
                      <a:moveTo>
                        <a:pt x="225" y="80"/>
                      </a:moveTo>
                      <a:lnTo>
                        <a:pt x="225" y="21"/>
                      </a:lnTo>
                      <a:lnTo>
                        <a:pt x="182" y="21"/>
                      </a:lnTo>
                      <a:lnTo>
                        <a:pt x="182" y="47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0" y="97"/>
                      </a:lnTo>
                      <a:lnTo>
                        <a:pt x="21" y="123"/>
                      </a:lnTo>
                      <a:lnTo>
                        <a:pt x="123" y="42"/>
                      </a:lnTo>
                      <a:lnTo>
                        <a:pt x="225" y="123"/>
                      </a:lnTo>
                      <a:lnTo>
                        <a:pt x="246" y="97"/>
                      </a:lnTo>
                      <a:lnTo>
                        <a:pt x="225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87">
                    <a:defRPr/>
                  </a:pPr>
                  <a:endParaRPr lang="en-US" sz="1200">
                    <a:solidFill>
                      <a:prstClr val="black"/>
                    </a:solidFill>
                    <a:latin typeface="Century Gothic" charset="0"/>
                    <a:ea typeface="Century Gothic" charset="0"/>
                    <a:cs typeface="Century Gothic" charset="0"/>
                  </a:endParaRPr>
                </a:p>
              </p:txBody>
            </p:sp>
          </p:grp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382D2E0A-CE8A-A9AF-1CA3-C99A39923365}"/>
                  </a:ext>
                </a:extLst>
              </p:cNvPr>
              <p:cNvSpPr/>
              <p:nvPr/>
            </p:nvSpPr>
            <p:spPr>
              <a:xfrm>
                <a:off x="8173630" y="2776471"/>
                <a:ext cx="1039365" cy="1045329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87">
                  <a:defRPr/>
                </a:pPr>
                <a:endParaRPr lang="en-US" sz="800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</p:grp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D93573BA-AA11-BE73-3D36-EBC1A9B426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2740" y="2407855"/>
              <a:ext cx="450235" cy="372677"/>
            </a:xfrm>
            <a:custGeom>
              <a:avLst/>
              <a:gdLst>
                <a:gd name="T0" fmla="*/ 260 w 287"/>
                <a:gd name="T1" fmla="*/ 78 h 237"/>
                <a:gd name="T2" fmla="*/ 244 w 287"/>
                <a:gd name="T3" fmla="*/ 94 h 237"/>
                <a:gd name="T4" fmla="*/ 260 w 287"/>
                <a:gd name="T5" fmla="*/ 111 h 237"/>
                <a:gd name="T6" fmla="*/ 277 w 287"/>
                <a:gd name="T7" fmla="*/ 94 h 237"/>
                <a:gd name="T8" fmla="*/ 260 w 287"/>
                <a:gd name="T9" fmla="*/ 78 h 237"/>
                <a:gd name="T10" fmla="*/ 27 w 287"/>
                <a:gd name="T11" fmla="*/ 78 h 237"/>
                <a:gd name="T12" fmla="*/ 11 w 287"/>
                <a:gd name="T13" fmla="*/ 94 h 237"/>
                <a:gd name="T14" fmla="*/ 27 w 287"/>
                <a:gd name="T15" fmla="*/ 111 h 237"/>
                <a:gd name="T16" fmla="*/ 43 w 287"/>
                <a:gd name="T17" fmla="*/ 94 h 237"/>
                <a:gd name="T18" fmla="*/ 27 w 287"/>
                <a:gd name="T19" fmla="*/ 78 h 237"/>
                <a:gd name="T20" fmla="*/ 212 w 287"/>
                <a:gd name="T21" fmla="*/ 49 h 237"/>
                <a:gd name="T22" fmla="*/ 188 w 287"/>
                <a:gd name="T23" fmla="*/ 73 h 237"/>
                <a:gd name="T24" fmla="*/ 212 w 287"/>
                <a:gd name="T25" fmla="*/ 97 h 237"/>
                <a:gd name="T26" fmla="*/ 236 w 287"/>
                <a:gd name="T27" fmla="*/ 73 h 237"/>
                <a:gd name="T28" fmla="*/ 212 w 287"/>
                <a:gd name="T29" fmla="*/ 49 h 237"/>
                <a:gd name="T30" fmla="*/ 287 w 287"/>
                <a:gd name="T31" fmla="*/ 196 h 237"/>
                <a:gd name="T32" fmla="*/ 259 w 287"/>
                <a:gd name="T33" fmla="*/ 196 h 237"/>
                <a:gd name="T34" fmla="*/ 259 w 287"/>
                <a:gd name="T35" fmla="*/ 145 h 237"/>
                <a:gd name="T36" fmla="*/ 253 w 287"/>
                <a:gd name="T37" fmla="*/ 121 h 237"/>
                <a:gd name="T38" fmla="*/ 260 w 287"/>
                <a:gd name="T39" fmla="*/ 120 h 237"/>
                <a:gd name="T40" fmla="*/ 287 w 287"/>
                <a:gd name="T41" fmla="*/ 147 h 237"/>
                <a:gd name="T42" fmla="*/ 287 w 287"/>
                <a:gd name="T43" fmla="*/ 196 h 237"/>
                <a:gd name="T44" fmla="*/ 75 w 287"/>
                <a:gd name="T45" fmla="*/ 49 h 237"/>
                <a:gd name="T46" fmla="*/ 51 w 287"/>
                <a:gd name="T47" fmla="*/ 73 h 237"/>
                <a:gd name="T48" fmla="*/ 75 w 287"/>
                <a:gd name="T49" fmla="*/ 97 h 237"/>
                <a:gd name="T50" fmla="*/ 99 w 287"/>
                <a:gd name="T51" fmla="*/ 73 h 237"/>
                <a:gd name="T52" fmla="*/ 75 w 287"/>
                <a:gd name="T53" fmla="*/ 49 h 237"/>
                <a:gd name="T54" fmla="*/ 27 w 287"/>
                <a:gd name="T55" fmla="*/ 120 h 237"/>
                <a:gd name="T56" fmla="*/ 34 w 287"/>
                <a:gd name="T57" fmla="*/ 121 h 237"/>
                <a:gd name="T58" fmla="*/ 28 w 287"/>
                <a:gd name="T59" fmla="*/ 145 h 237"/>
                <a:gd name="T60" fmla="*/ 28 w 287"/>
                <a:gd name="T61" fmla="*/ 196 h 237"/>
                <a:gd name="T62" fmla="*/ 0 w 287"/>
                <a:gd name="T63" fmla="*/ 196 h 237"/>
                <a:gd name="T64" fmla="*/ 0 w 287"/>
                <a:gd name="T65" fmla="*/ 147 h 237"/>
                <a:gd name="T66" fmla="*/ 27 w 287"/>
                <a:gd name="T67" fmla="*/ 120 h 237"/>
                <a:gd name="T68" fmla="*/ 144 w 287"/>
                <a:gd name="T69" fmla="*/ 0 h 237"/>
                <a:gd name="T70" fmla="*/ 108 w 287"/>
                <a:gd name="T71" fmla="*/ 36 h 237"/>
                <a:gd name="T72" fmla="*/ 144 w 287"/>
                <a:gd name="T73" fmla="*/ 72 h 237"/>
                <a:gd name="T74" fmla="*/ 179 w 287"/>
                <a:gd name="T75" fmla="*/ 36 h 237"/>
                <a:gd name="T76" fmla="*/ 144 w 287"/>
                <a:gd name="T77" fmla="*/ 0 h 237"/>
                <a:gd name="T78" fmla="*/ 251 w 287"/>
                <a:gd name="T79" fmla="*/ 214 h 237"/>
                <a:gd name="T80" fmla="*/ 208 w 287"/>
                <a:gd name="T81" fmla="*/ 214 h 237"/>
                <a:gd name="T82" fmla="*/ 208 w 287"/>
                <a:gd name="T83" fmla="*/ 137 h 237"/>
                <a:gd name="T84" fmla="*/ 201 w 287"/>
                <a:gd name="T85" fmla="*/ 108 h 237"/>
                <a:gd name="T86" fmla="*/ 212 w 287"/>
                <a:gd name="T87" fmla="*/ 106 h 237"/>
                <a:gd name="T88" fmla="*/ 251 w 287"/>
                <a:gd name="T89" fmla="*/ 145 h 237"/>
                <a:gd name="T90" fmla="*/ 251 w 287"/>
                <a:gd name="T91" fmla="*/ 214 h 237"/>
                <a:gd name="T92" fmla="*/ 79 w 287"/>
                <a:gd name="T93" fmla="*/ 137 h 237"/>
                <a:gd name="T94" fmla="*/ 79 w 287"/>
                <a:gd name="T95" fmla="*/ 214 h 237"/>
                <a:gd name="T96" fmla="*/ 37 w 287"/>
                <a:gd name="T97" fmla="*/ 214 h 237"/>
                <a:gd name="T98" fmla="*/ 37 w 287"/>
                <a:gd name="T99" fmla="*/ 145 h 237"/>
                <a:gd name="T100" fmla="*/ 75 w 287"/>
                <a:gd name="T101" fmla="*/ 106 h 237"/>
                <a:gd name="T102" fmla="*/ 86 w 287"/>
                <a:gd name="T103" fmla="*/ 108 h 237"/>
                <a:gd name="T104" fmla="*/ 79 w 287"/>
                <a:gd name="T105" fmla="*/ 137 h 237"/>
                <a:gd name="T106" fmla="*/ 88 w 287"/>
                <a:gd name="T107" fmla="*/ 237 h 237"/>
                <a:gd name="T108" fmla="*/ 200 w 287"/>
                <a:gd name="T109" fmla="*/ 237 h 237"/>
                <a:gd name="T110" fmla="*/ 200 w 287"/>
                <a:gd name="T111" fmla="*/ 137 h 237"/>
                <a:gd name="T112" fmla="*/ 144 w 287"/>
                <a:gd name="T113" fmla="*/ 81 h 237"/>
                <a:gd name="T114" fmla="*/ 88 w 287"/>
                <a:gd name="T115" fmla="*/ 137 h 237"/>
                <a:gd name="T116" fmla="*/ 88 w 287"/>
                <a:gd name="T117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7" h="237">
                  <a:moveTo>
                    <a:pt x="260" y="78"/>
                  </a:moveTo>
                  <a:cubicBezTo>
                    <a:pt x="251" y="78"/>
                    <a:pt x="244" y="85"/>
                    <a:pt x="244" y="94"/>
                  </a:cubicBezTo>
                  <a:cubicBezTo>
                    <a:pt x="244" y="103"/>
                    <a:pt x="251" y="111"/>
                    <a:pt x="260" y="111"/>
                  </a:cubicBezTo>
                  <a:cubicBezTo>
                    <a:pt x="269" y="111"/>
                    <a:pt x="277" y="103"/>
                    <a:pt x="277" y="94"/>
                  </a:cubicBezTo>
                  <a:cubicBezTo>
                    <a:pt x="277" y="85"/>
                    <a:pt x="269" y="78"/>
                    <a:pt x="260" y="78"/>
                  </a:cubicBezTo>
                  <a:close/>
                  <a:moveTo>
                    <a:pt x="27" y="78"/>
                  </a:moveTo>
                  <a:cubicBezTo>
                    <a:pt x="18" y="78"/>
                    <a:pt x="11" y="85"/>
                    <a:pt x="11" y="94"/>
                  </a:cubicBezTo>
                  <a:cubicBezTo>
                    <a:pt x="11" y="103"/>
                    <a:pt x="18" y="111"/>
                    <a:pt x="27" y="111"/>
                  </a:cubicBezTo>
                  <a:cubicBezTo>
                    <a:pt x="36" y="111"/>
                    <a:pt x="43" y="103"/>
                    <a:pt x="43" y="94"/>
                  </a:cubicBezTo>
                  <a:cubicBezTo>
                    <a:pt x="43" y="85"/>
                    <a:pt x="36" y="78"/>
                    <a:pt x="27" y="78"/>
                  </a:cubicBezTo>
                  <a:close/>
                  <a:moveTo>
                    <a:pt x="212" y="49"/>
                  </a:moveTo>
                  <a:cubicBezTo>
                    <a:pt x="199" y="49"/>
                    <a:pt x="188" y="59"/>
                    <a:pt x="188" y="73"/>
                  </a:cubicBezTo>
                  <a:cubicBezTo>
                    <a:pt x="188" y="86"/>
                    <a:pt x="199" y="97"/>
                    <a:pt x="212" y="97"/>
                  </a:cubicBezTo>
                  <a:cubicBezTo>
                    <a:pt x="225" y="97"/>
                    <a:pt x="236" y="86"/>
                    <a:pt x="236" y="73"/>
                  </a:cubicBezTo>
                  <a:cubicBezTo>
                    <a:pt x="236" y="59"/>
                    <a:pt x="225" y="49"/>
                    <a:pt x="212" y="49"/>
                  </a:cubicBezTo>
                  <a:close/>
                  <a:moveTo>
                    <a:pt x="287" y="196"/>
                  </a:moveTo>
                  <a:cubicBezTo>
                    <a:pt x="259" y="196"/>
                    <a:pt x="259" y="196"/>
                    <a:pt x="259" y="196"/>
                  </a:cubicBezTo>
                  <a:cubicBezTo>
                    <a:pt x="259" y="145"/>
                    <a:pt x="259" y="145"/>
                    <a:pt x="259" y="145"/>
                  </a:cubicBezTo>
                  <a:cubicBezTo>
                    <a:pt x="259" y="136"/>
                    <a:pt x="257" y="128"/>
                    <a:pt x="253" y="121"/>
                  </a:cubicBezTo>
                  <a:cubicBezTo>
                    <a:pt x="255" y="120"/>
                    <a:pt x="258" y="120"/>
                    <a:pt x="260" y="120"/>
                  </a:cubicBezTo>
                  <a:cubicBezTo>
                    <a:pt x="275" y="120"/>
                    <a:pt x="287" y="132"/>
                    <a:pt x="287" y="147"/>
                  </a:cubicBezTo>
                  <a:lnTo>
                    <a:pt x="287" y="196"/>
                  </a:lnTo>
                  <a:close/>
                  <a:moveTo>
                    <a:pt x="75" y="49"/>
                  </a:moveTo>
                  <a:cubicBezTo>
                    <a:pt x="62" y="49"/>
                    <a:pt x="51" y="59"/>
                    <a:pt x="51" y="73"/>
                  </a:cubicBezTo>
                  <a:cubicBezTo>
                    <a:pt x="51" y="86"/>
                    <a:pt x="62" y="97"/>
                    <a:pt x="75" y="97"/>
                  </a:cubicBezTo>
                  <a:cubicBezTo>
                    <a:pt x="88" y="97"/>
                    <a:pt x="99" y="86"/>
                    <a:pt x="99" y="73"/>
                  </a:cubicBezTo>
                  <a:cubicBezTo>
                    <a:pt x="99" y="59"/>
                    <a:pt x="88" y="49"/>
                    <a:pt x="75" y="49"/>
                  </a:cubicBezTo>
                  <a:close/>
                  <a:moveTo>
                    <a:pt x="27" y="120"/>
                  </a:moveTo>
                  <a:cubicBezTo>
                    <a:pt x="29" y="120"/>
                    <a:pt x="32" y="120"/>
                    <a:pt x="34" y="121"/>
                  </a:cubicBezTo>
                  <a:cubicBezTo>
                    <a:pt x="30" y="128"/>
                    <a:pt x="28" y="136"/>
                    <a:pt x="28" y="145"/>
                  </a:cubicBezTo>
                  <a:cubicBezTo>
                    <a:pt x="28" y="196"/>
                    <a:pt x="28" y="196"/>
                    <a:pt x="28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32"/>
                    <a:pt x="12" y="120"/>
                    <a:pt x="27" y="120"/>
                  </a:cubicBezTo>
                  <a:close/>
                  <a:moveTo>
                    <a:pt x="144" y="0"/>
                  </a:moveTo>
                  <a:cubicBezTo>
                    <a:pt x="124" y="0"/>
                    <a:pt x="108" y="16"/>
                    <a:pt x="108" y="36"/>
                  </a:cubicBezTo>
                  <a:cubicBezTo>
                    <a:pt x="108" y="56"/>
                    <a:pt x="124" y="72"/>
                    <a:pt x="144" y="72"/>
                  </a:cubicBezTo>
                  <a:cubicBezTo>
                    <a:pt x="163" y="72"/>
                    <a:pt x="179" y="56"/>
                    <a:pt x="179" y="36"/>
                  </a:cubicBezTo>
                  <a:cubicBezTo>
                    <a:pt x="179" y="16"/>
                    <a:pt x="163" y="0"/>
                    <a:pt x="144" y="0"/>
                  </a:cubicBezTo>
                  <a:close/>
                  <a:moveTo>
                    <a:pt x="251" y="214"/>
                  </a:moveTo>
                  <a:cubicBezTo>
                    <a:pt x="208" y="214"/>
                    <a:pt x="208" y="214"/>
                    <a:pt x="208" y="214"/>
                  </a:cubicBezTo>
                  <a:cubicBezTo>
                    <a:pt x="208" y="137"/>
                    <a:pt x="208" y="137"/>
                    <a:pt x="208" y="137"/>
                  </a:cubicBezTo>
                  <a:cubicBezTo>
                    <a:pt x="208" y="127"/>
                    <a:pt x="206" y="117"/>
                    <a:pt x="201" y="108"/>
                  </a:cubicBezTo>
                  <a:cubicBezTo>
                    <a:pt x="205" y="107"/>
                    <a:pt x="208" y="106"/>
                    <a:pt x="212" y="106"/>
                  </a:cubicBezTo>
                  <a:cubicBezTo>
                    <a:pt x="233" y="106"/>
                    <a:pt x="251" y="124"/>
                    <a:pt x="251" y="145"/>
                  </a:cubicBezTo>
                  <a:lnTo>
                    <a:pt x="251" y="214"/>
                  </a:lnTo>
                  <a:close/>
                  <a:moveTo>
                    <a:pt x="79" y="137"/>
                  </a:moveTo>
                  <a:cubicBezTo>
                    <a:pt x="79" y="214"/>
                    <a:pt x="79" y="214"/>
                    <a:pt x="79" y="214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37" y="145"/>
                    <a:pt x="37" y="145"/>
                    <a:pt x="37" y="145"/>
                  </a:cubicBezTo>
                  <a:cubicBezTo>
                    <a:pt x="37" y="124"/>
                    <a:pt x="54" y="106"/>
                    <a:pt x="75" y="106"/>
                  </a:cubicBezTo>
                  <a:cubicBezTo>
                    <a:pt x="79" y="106"/>
                    <a:pt x="83" y="107"/>
                    <a:pt x="86" y="108"/>
                  </a:cubicBezTo>
                  <a:cubicBezTo>
                    <a:pt x="81" y="117"/>
                    <a:pt x="79" y="127"/>
                    <a:pt x="79" y="137"/>
                  </a:cubicBezTo>
                  <a:close/>
                  <a:moveTo>
                    <a:pt x="88" y="237"/>
                  </a:moveTo>
                  <a:cubicBezTo>
                    <a:pt x="200" y="237"/>
                    <a:pt x="200" y="237"/>
                    <a:pt x="200" y="237"/>
                  </a:cubicBezTo>
                  <a:cubicBezTo>
                    <a:pt x="200" y="137"/>
                    <a:pt x="200" y="137"/>
                    <a:pt x="200" y="137"/>
                  </a:cubicBezTo>
                  <a:cubicBezTo>
                    <a:pt x="200" y="106"/>
                    <a:pt x="174" y="81"/>
                    <a:pt x="144" y="81"/>
                  </a:cubicBezTo>
                  <a:cubicBezTo>
                    <a:pt x="113" y="81"/>
                    <a:pt x="88" y="106"/>
                    <a:pt x="88" y="137"/>
                  </a:cubicBezTo>
                  <a:lnTo>
                    <a:pt x="88" y="2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defTabSz="742987">
                <a:defRPr/>
              </a:pPr>
              <a:endParaRPr lang="en-US" sz="160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5096685-9785-E88B-6E54-6FD34FA9799F}"/>
              </a:ext>
            </a:extLst>
          </p:cNvPr>
          <p:cNvGrpSpPr/>
          <p:nvPr/>
        </p:nvGrpSpPr>
        <p:grpSpPr>
          <a:xfrm>
            <a:off x="941467" y="1902886"/>
            <a:ext cx="3062383" cy="2112320"/>
            <a:chOff x="2442842" y="1353301"/>
            <a:chExt cx="4379491" cy="3020813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C851D3CD-F822-1827-9E25-70A22D8F558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42842" y="1353301"/>
              <a:ext cx="4379491" cy="3020813"/>
              <a:chOff x="940378" y="1114347"/>
              <a:chExt cx="7056438" cy="4867274"/>
            </a:xfrm>
          </p:grpSpPr>
          <p:sp>
            <p:nvSpPr>
              <p:cNvPr id="58" name="Arc 682">
                <a:extLst>
                  <a:ext uri="{FF2B5EF4-FFF2-40B4-BE49-F238E27FC236}">
                    <a16:creationId xmlns:a16="http://schemas.microsoft.com/office/drawing/2014/main" id="{7C8EE3EB-D799-2711-99A5-B19AD39A31B9}"/>
                  </a:ext>
                </a:extLst>
              </p:cNvPr>
              <p:cNvSpPr>
                <a:spLocks/>
              </p:cNvSpPr>
              <p:nvPr/>
            </p:nvSpPr>
            <p:spPr bwMode="auto">
              <a:xfrm rot="18746405">
                <a:off x="3554197" y="1119904"/>
                <a:ext cx="1014413" cy="1003299"/>
              </a:xfrm>
              <a:custGeom>
                <a:avLst/>
                <a:gdLst>
                  <a:gd name="T0" fmla="*/ 2147483647 w 21600"/>
                  <a:gd name="T1" fmla="*/ 0 h 21356"/>
                  <a:gd name="T2" fmla="*/ 2147483647 w 21600"/>
                  <a:gd name="T3" fmla="*/ 2147483647 h 21356"/>
                  <a:gd name="T4" fmla="*/ 0 w 21600"/>
                  <a:gd name="T5" fmla="*/ 2147483647 h 21356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356"/>
                  <a:gd name="T11" fmla="*/ 21600 w 21600"/>
                  <a:gd name="T12" fmla="*/ 21356 h 2135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356" fill="none" extrusionOk="0">
                    <a:moveTo>
                      <a:pt x="3237" y="-1"/>
                    </a:moveTo>
                    <a:cubicBezTo>
                      <a:pt x="13795" y="1600"/>
                      <a:pt x="21600" y="10676"/>
                      <a:pt x="21600" y="21356"/>
                    </a:cubicBezTo>
                  </a:path>
                  <a:path w="21600" h="21356" stroke="0" extrusionOk="0">
                    <a:moveTo>
                      <a:pt x="3237" y="-1"/>
                    </a:moveTo>
                    <a:cubicBezTo>
                      <a:pt x="13795" y="1600"/>
                      <a:pt x="21600" y="10676"/>
                      <a:pt x="21600" y="21356"/>
                    </a:cubicBezTo>
                    <a:lnTo>
                      <a:pt x="0" y="21356"/>
                    </a:lnTo>
                    <a:lnTo>
                      <a:pt x="3237" y="-1"/>
                    </a:lnTo>
                    <a:close/>
                  </a:path>
                </a:pathLst>
              </a:custGeom>
              <a:noFill/>
              <a:ln w="38100">
                <a:solidFill>
                  <a:schemeClr val="tx1"/>
                </a:solidFill>
                <a:prstDash val="sysDot"/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defTabSz="742968" fontAlgn="base" latinLnBrk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zh-CN" altLang="en-US" sz="900" kern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59" name="Freeform 673">
                <a:extLst>
                  <a:ext uri="{FF2B5EF4-FFF2-40B4-BE49-F238E27FC236}">
                    <a16:creationId xmlns:a16="http://schemas.microsoft.com/office/drawing/2014/main" id="{9DFEF802-4A3C-854B-723F-CE483C10AC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1275257">
                <a:off x="4204278" y="1579484"/>
                <a:ext cx="2628900" cy="2630487"/>
              </a:xfrm>
              <a:custGeom>
                <a:avLst/>
                <a:gdLst>
                  <a:gd name="T0" fmla="*/ 2147483647 w 1816"/>
                  <a:gd name="T1" fmla="*/ 2147483647 h 1816"/>
                  <a:gd name="T2" fmla="*/ 2147483647 w 1816"/>
                  <a:gd name="T3" fmla="*/ 2147483647 h 1816"/>
                  <a:gd name="T4" fmla="*/ 2147483647 w 1816"/>
                  <a:gd name="T5" fmla="*/ 2147483647 h 1816"/>
                  <a:gd name="T6" fmla="*/ 2147483647 w 1816"/>
                  <a:gd name="T7" fmla="*/ 2147483647 h 1816"/>
                  <a:gd name="T8" fmla="*/ 2147483647 w 1816"/>
                  <a:gd name="T9" fmla="*/ 2147483647 h 1816"/>
                  <a:gd name="T10" fmla="*/ 2147483647 w 1816"/>
                  <a:gd name="T11" fmla="*/ 2147483647 h 1816"/>
                  <a:gd name="T12" fmla="*/ 2147483647 w 1816"/>
                  <a:gd name="T13" fmla="*/ 2147483647 h 1816"/>
                  <a:gd name="T14" fmla="*/ 2147483647 w 1816"/>
                  <a:gd name="T15" fmla="*/ 2147483647 h 1816"/>
                  <a:gd name="T16" fmla="*/ 2147483647 w 1816"/>
                  <a:gd name="T17" fmla="*/ 2147483647 h 1816"/>
                  <a:gd name="T18" fmla="*/ 2147483647 w 1816"/>
                  <a:gd name="T19" fmla="*/ 2147483647 h 1816"/>
                  <a:gd name="T20" fmla="*/ 2147483647 w 1816"/>
                  <a:gd name="T21" fmla="*/ 2147483647 h 1816"/>
                  <a:gd name="T22" fmla="*/ 2147483647 w 1816"/>
                  <a:gd name="T23" fmla="*/ 2147483647 h 1816"/>
                  <a:gd name="T24" fmla="*/ 0 w 1816"/>
                  <a:gd name="T25" fmla="*/ 2147483647 h 1816"/>
                  <a:gd name="T26" fmla="*/ 2147483647 w 1816"/>
                  <a:gd name="T27" fmla="*/ 2147483647 h 1816"/>
                  <a:gd name="T28" fmla="*/ 2147483647 w 1816"/>
                  <a:gd name="T29" fmla="*/ 2147483647 h 1816"/>
                  <a:gd name="T30" fmla="*/ 2147483647 w 1816"/>
                  <a:gd name="T31" fmla="*/ 2147483647 h 1816"/>
                  <a:gd name="T32" fmla="*/ 2147483647 w 1816"/>
                  <a:gd name="T33" fmla="*/ 2147483647 h 1816"/>
                  <a:gd name="T34" fmla="*/ 2147483647 w 1816"/>
                  <a:gd name="T35" fmla="*/ 2147483647 h 1816"/>
                  <a:gd name="T36" fmla="*/ 2147483647 w 1816"/>
                  <a:gd name="T37" fmla="*/ 2147483647 h 1816"/>
                  <a:gd name="T38" fmla="*/ 2147483647 w 1816"/>
                  <a:gd name="T39" fmla="*/ 2147483647 h 1816"/>
                  <a:gd name="T40" fmla="*/ 2147483647 w 1816"/>
                  <a:gd name="T41" fmla="*/ 2147483647 h 1816"/>
                  <a:gd name="T42" fmla="*/ 2147483647 w 1816"/>
                  <a:gd name="T43" fmla="*/ 2147483647 h 1816"/>
                  <a:gd name="T44" fmla="*/ 2147483647 w 1816"/>
                  <a:gd name="T45" fmla="*/ 2147483647 h 1816"/>
                  <a:gd name="T46" fmla="*/ 2147483647 w 1816"/>
                  <a:gd name="T47" fmla="*/ 2147483647 h 1816"/>
                  <a:gd name="T48" fmla="*/ 2147483647 w 1816"/>
                  <a:gd name="T49" fmla="*/ 2147483647 h 1816"/>
                  <a:gd name="T50" fmla="*/ 2147483647 w 1816"/>
                  <a:gd name="T51" fmla="*/ 2147483647 h 1816"/>
                  <a:gd name="T52" fmla="*/ 2147483647 w 1816"/>
                  <a:gd name="T53" fmla="*/ 2147483647 h 1816"/>
                  <a:gd name="T54" fmla="*/ 2147483647 w 1816"/>
                  <a:gd name="T55" fmla="*/ 2147483647 h 1816"/>
                  <a:gd name="T56" fmla="*/ 2147483647 w 1816"/>
                  <a:gd name="T57" fmla="*/ 2147483647 h 1816"/>
                  <a:gd name="T58" fmla="*/ 2147483647 w 1816"/>
                  <a:gd name="T59" fmla="*/ 2147483647 h 1816"/>
                  <a:gd name="T60" fmla="*/ 2147483647 w 1816"/>
                  <a:gd name="T61" fmla="*/ 2147483647 h 1816"/>
                  <a:gd name="T62" fmla="*/ 2147483647 w 1816"/>
                  <a:gd name="T63" fmla="*/ 2147483647 h 1816"/>
                  <a:gd name="T64" fmla="*/ 2147483647 w 1816"/>
                  <a:gd name="T65" fmla="*/ 2147483647 h 1816"/>
                  <a:gd name="T66" fmla="*/ 2147483647 w 1816"/>
                  <a:gd name="T67" fmla="*/ 2147483647 h 1816"/>
                  <a:gd name="T68" fmla="*/ 2147483647 w 1816"/>
                  <a:gd name="T69" fmla="*/ 2147483647 h 1816"/>
                  <a:gd name="T70" fmla="*/ 2147483647 w 1816"/>
                  <a:gd name="T71" fmla="*/ 2147483647 h 1816"/>
                  <a:gd name="T72" fmla="*/ 2147483647 w 1816"/>
                  <a:gd name="T73" fmla="*/ 2147483647 h 1816"/>
                  <a:gd name="T74" fmla="*/ 2147483647 w 1816"/>
                  <a:gd name="T75" fmla="*/ 2147483647 h 1816"/>
                  <a:gd name="T76" fmla="*/ 2147483647 w 1816"/>
                  <a:gd name="T77" fmla="*/ 2147483647 h 1816"/>
                  <a:gd name="T78" fmla="*/ 2147483647 w 1816"/>
                  <a:gd name="T79" fmla="*/ 2147483647 h 1816"/>
                  <a:gd name="T80" fmla="*/ 2147483647 w 1816"/>
                  <a:gd name="T81" fmla="*/ 2147483647 h 1816"/>
                  <a:gd name="T82" fmla="*/ 2147483647 w 1816"/>
                  <a:gd name="T83" fmla="*/ 2147483647 h 1816"/>
                  <a:gd name="T84" fmla="*/ 2147483647 w 1816"/>
                  <a:gd name="T85" fmla="*/ 2147483647 h 1816"/>
                  <a:gd name="T86" fmla="*/ 2147483647 w 1816"/>
                  <a:gd name="T87" fmla="*/ 2147483647 h 1816"/>
                  <a:gd name="T88" fmla="*/ 2147483647 w 1816"/>
                  <a:gd name="T89" fmla="*/ 2147483647 h 1816"/>
                  <a:gd name="T90" fmla="*/ 2147483647 w 1816"/>
                  <a:gd name="T91" fmla="*/ 2147483647 h 1816"/>
                  <a:gd name="T92" fmla="*/ 2147483647 w 1816"/>
                  <a:gd name="T93" fmla="*/ 2147483647 h 1816"/>
                  <a:gd name="T94" fmla="*/ 2147483647 w 1816"/>
                  <a:gd name="T95" fmla="*/ 2147483647 h 1816"/>
                  <a:gd name="T96" fmla="*/ 2147483647 w 1816"/>
                  <a:gd name="T97" fmla="*/ 2147483647 h 1816"/>
                  <a:gd name="T98" fmla="*/ 2147483647 w 1816"/>
                  <a:gd name="T99" fmla="*/ 2147483647 h 1816"/>
                  <a:gd name="T100" fmla="*/ 2147483647 w 1816"/>
                  <a:gd name="T101" fmla="*/ 2147483647 h 1816"/>
                  <a:gd name="T102" fmla="*/ 2147483647 w 1816"/>
                  <a:gd name="T103" fmla="*/ 2147483647 h 181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816"/>
                  <a:gd name="T157" fmla="*/ 0 h 1816"/>
                  <a:gd name="T158" fmla="*/ 1816 w 1816"/>
                  <a:gd name="T159" fmla="*/ 1816 h 181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816" h="1816">
                    <a:moveTo>
                      <a:pt x="1816" y="978"/>
                    </a:moveTo>
                    <a:lnTo>
                      <a:pt x="1816" y="836"/>
                    </a:lnTo>
                    <a:lnTo>
                      <a:pt x="1710" y="836"/>
                    </a:lnTo>
                    <a:lnTo>
                      <a:pt x="1706" y="792"/>
                    </a:lnTo>
                    <a:lnTo>
                      <a:pt x="1698" y="750"/>
                    </a:lnTo>
                    <a:lnTo>
                      <a:pt x="1688" y="708"/>
                    </a:lnTo>
                    <a:lnTo>
                      <a:pt x="1678" y="666"/>
                    </a:lnTo>
                    <a:lnTo>
                      <a:pt x="1774" y="626"/>
                    </a:lnTo>
                    <a:lnTo>
                      <a:pt x="1718" y="494"/>
                    </a:lnTo>
                    <a:lnTo>
                      <a:pt x="1622" y="534"/>
                    </a:lnTo>
                    <a:lnTo>
                      <a:pt x="1602" y="496"/>
                    </a:lnTo>
                    <a:lnTo>
                      <a:pt x="1578" y="460"/>
                    </a:lnTo>
                    <a:lnTo>
                      <a:pt x="1552" y="424"/>
                    </a:lnTo>
                    <a:lnTo>
                      <a:pt x="1526" y="390"/>
                    </a:lnTo>
                    <a:lnTo>
                      <a:pt x="1600" y="316"/>
                    </a:lnTo>
                    <a:lnTo>
                      <a:pt x="1498" y="216"/>
                    </a:lnTo>
                    <a:lnTo>
                      <a:pt x="1426" y="290"/>
                    </a:lnTo>
                    <a:lnTo>
                      <a:pt x="1392" y="262"/>
                    </a:lnTo>
                    <a:lnTo>
                      <a:pt x="1356" y="236"/>
                    </a:lnTo>
                    <a:lnTo>
                      <a:pt x="1318" y="214"/>
                    </a:lnTo>
                    <a:lnTo>
                      <a:pt x="1280" y="192"/>
                    </a:lnTo>
                    <a:lnTo>
                      <a:pt x="1320" y="96"/>
                    </a:lnTo>
                    <a:lnTo>
                      <a:pt x="1188" y="42"/>
                    </a:lnTo>
                    <a:lnTo>
                      <a:pt x="1150" y="138"/>
                    </a:lnTo>
                    <a:lnTo>
                      <a:pt x="1108" y="126"/>
                    </a:lnTo>
                    <a:lnTo>
                      <a:pt x="1066" y="116"/>
                    </a:lnTo>
                    <a:lnTo>
                      <a:pt x="1022" y="110"/>
                    </a:lnTo>
                    <a:lnTo>
                      <a:pt x="978" y="104"/>
                    </a:lnTo>
                    <a:lnTo>
                      <a:pt x="978" y="0"/>
                    </a:lnTo>
                    <a:lnTo>
                      <a:pt x="836" y="0"/>
                    </a:lnTo>
                    <a:lnTo>
                      <a:pt x="836" y="104"/>
                    </a:lnTo>
                    <a:lnTo>
                      <a:pt x="792" y="110"/>
                    </a:lnTo>
                    <a:lnTo>
                      <a:pt x="750" y="116"/>
                    </a:lnTo>
                    <a:lnTo>
                      <a:pt x="706" y="126"/>
                    </a:lnTo>
                    <a:lnTo>
                      <a:pt x="666" y="138"/>
                    </a:lnTo>
                    <a:lnTo>
                      <a:pt x="626" y="42"/>
                    </a:lnTo>
                    <a:lnTo>
                      <a:pt x="494" y="96"/>
                    </a:lnTo>
                    <a:lnTo>
                      <a:pt x="534" y="192"/>
                    </a:lnTo>
                    <a:lnTo>
                      <a:pt x="496" y="214"/>
                    </a:lnTo>
                    <a:lnTo>
                      <a:pt x="460" y="236"/>
                    </a:lnTo>
                    <a:lnTo>
                      <a:pt x="424" y="262"/>
                    </a:lnTo>
                    <a:lnTo>
                      <a:pt x="390" y="290"/>
                    </a:lnTo>
                    <a:lnTo>
                      <a:pt x="316" y="216"/>
                    </a:lnTo>
                    <a:lnTo>
                      <a:pt x="216" y="316"/>
                    </a:lnTo>
                    <a:lnTo>
                      <a:pt x="288" y="390"/>
                    </a:lnTo>
                    <a:lnTo>
                      <a:pt x="262" y="424"/>
                    </a:lnTo>
                    <a:lnTo>
                      <a:pt x="236" y="460"/>
                    </a:lnTo>
                    <a:lnTo>
                      <a:pt x="214" y="496"/>
                    </a:lnTo>
                    <a:lnTo>
                      <a:pt x="192" y="534"/>
                    </a:lnTo>
                    <a:lnTo>
                      <a:pt x="96" y="494"/>
                    </a:lnTo>
                    <a:lnTo>
                      <a:pt x="42" y="626"/>
                    </a:lnTo>
                    <a:lnTo>
                      <a:pt x="138" y="666"/>
                    </a:lnTo>
                    <a:lnTo>
                      <a:pt x="126" y="708"/>
                    </a:lnTo>
                    <a:lnTo>
                      <a:pt x="116" y="750"/>
                    </a:lnTo>
                    <a:lnTo>
                      <a:pt x="108" y="792"/>
                    </a:lnTo>
                    <a:lnTo>
                      <a:pt x="104" y="836"/>
                    </a:lnTo>
                    <a:lnTo>
                      <a:pt x="0" y="836"/>
                    </a:lnTo>
                    <a:lnTo>
                      <a:pt x="0" y="978"/>
                    </a:lnTo>
                    <a:lnTo>
                      <a:pt x="104" y="978"/>
                    </a:lnTo>
                    <a:lnTo>
                      <a:pt x="108" y="1022"/>
                    </a:lnTo>
                    <a:lnTo>
                      <a:pt x="116" y="1066"/>
                    </a:lnTo>
                    <a:lnTo>
                      <a:pt x="126" y="1108"/>
                    </a:lnTo>
                    <a:lnTo>
                      <a:pt x="138" y="1150"/>
                    </a:lnTo>
                    <a:lnTo>
                      <a:pt x="42" y="1190"/>
                    </a:lnTo>
                    <a:lnTo>
                      <a:pt x="96" y="1320"/>
                    </a:lnTo>
                    <a:lnTo>
                      <a:pt x="192" y="1280"/>
                    </a:lnTo>
                    <a:lnTo>
                      <a:pt x="214" y="1320"/>
                    </a:lnTo>
                    <a:lnTo>
                      <a:pt x="236" y="1356"/>
                    </a:lnTo>
                    <a:lnTo>
                      <a:pt x="262" y="1392"/>
                    </a:lnTo>
                    <a:lnTo>
                      <a:pt x="288" y="1426"/>
                    </a:lnTo>
                    <a:lnTo>
                      <a:pt x="216" y="1500"/>
                    </a:lnTo>
                    <a:lnTo>
                      <a:pt x="316" y="1600"/>
                    </a:lnTo>
                    <a:lnTo>
                      <a:pt x="390" y="1526"/>
                    </a:lnTo>
                    <a:lnTo>
                      <a:pt x="424" y="1554"/>
                    </a:lnTo>
                    <a:lnTo>
                      <a:pt x="460" y="1578"/>
                    </a:lnTo>
                    <a:lnTo>
                      <a:pt x="496" y="1602"/>
                    </a:lnTo>
                    <a:lnTo>
                      <a:pt x="534" y="1622"/>
                    </a:lnTo>
                    <a:lnTo>
                      <a:pt x="494" y="1718"/>
                    </a:lnTo>
                    <a:lnTo>
                      <a:pt x="626" y="1774"/>
                    </a:lnTo>
                    <a:lnTo>
                      <a:pt x="666" y="1678"/>
                    </a:lnTo>
                    <a:lnTo>
                      <a:pt x="706" y="1690"/>
                    </a:lnTo>
                    <a:lnTo>
                      <a:pt x="750" y="1698"/>
                    </a:lnTo>
                    <a:lnTo>
                      <a:pt x="792" y="1706"/>
                    </a:lnTo>
                    <a:lnTo>
                      <a:pt x="836" y="1712"/>
                    </a:lnTo>
                    <a:lnTo>
                      <a:pt x="836" y="1816"/>
                    </a:lnTo>
                    <a:lnTo>
                      <a:pt x="978" y="1816"/>
                    </a:lnTo>
                    <a:lnTo>
                      <a:pt x="978" y="1712"/>
                    </a:lnTo>
                    <a:lnTo>
                      <a:pt x="1022" y="1706"/>
                    </a:lnTo>
                    <a:lnTo>
                      <a:pt x="1066" y="1698"/>
                    </a:lnTo>
                    <a:lnTo>
                      <a:pt x="1108" y="1690"/>
                    </a:lnTo>
                    <a:lnTo>
                      <a:pt x="1150" y="1678"/>
                    </a:lnTo>
                    <a:lnTo>
                      <a:pt x="1188" y="1774"/>
                    </a:lnTo>
                    <a:lnTo>
                      <a:pt x="1320" y="1718"/>
                    </a:lnTo>
                    <a:lnTo>
                      <a:pt x="1280" y="1622"/>
                    </a:lnTo>
                    <a:lnTo>
                      <a:pt x="1318" y="1602"/>
                    </a:lnTo>
                    <a:lnTo>
                      <a:pt x="1356" y="1578"/>
                    </a:lnTo>
                    <a:lnTo>
                      <a:pt x="1392" y="1554"/>
                    </a:lnTo>
                    <a:lnTo>
                      <a:pt x="1426" y="1526"/>
                    </a:lnTo>
                    <a:lnTo>
                      <a:pt x="1498" y="1600"/>
                    </a:lnTo>
                    <a:lnTo>
                      <a:pt x="1600" y="1500"/>
                    </a:lnTo>
                    <a:lnTo>
                      <a:pt x="1526" y="1426"/>
                    </a:lnTo>
                    <a:lnTo>
                      <a:pt x="1552" y="1392"/>
                    </a:lnTo>
                    <a:lnTo>
                      <a:pt x="1578" y="1356"/>
                    </a:lnTo>
                    <a:lnTo>
                      <a:pt x="1602" y="1320"/>
                    </a:lnTo>
                    <a:lnTo>
                      <a:pt x="1622" y="1280"/>
                    </a:lnTo>
                    <a:lnTo>
                      <a:pt x="1718" y="1320"/>
                    </a:lnTo>
                    <a:lnTo>
                      <a:pt x="1774" y="1190"/>
                    </a:lnTo>
                    <a:lnTo>
                      <a:pt x="1678" y="1150"/>
                    </a:lnTo>
                    <a:lnTo>
                      <a:pt x="1688" y="1108"/>
                    </a:lnTo>
                    <a:lnTo>
                      <a:pt x="1698" y="1066"/>
                    </a:lnTo>
                    <a:lnTo>
                      <a:pt x="1706" y="1022"/>
                    </a:lnTo>
                    <a:lnTo>
                      <a:pt x="1710" y="978"/>
                    </a:lnTo>
                    <a:lnTo>
                      <a:pt x="1816" y="978"/>
                    </a:lnTo>
                    <a:close/>
                    <a:moveTo>
                      <a:pt x="908" y="1614"/>
                    </a:moveTo>
                    <a:lnTo>
                      <a:pt x="908" y="1614"/>
                    </a:lnTo>
                    <a:lnTo>
                      <a:pt x="872" y="1612"/>
                    </a:lnTo>
                    <a:lnTo>
                      <a:pt x="836" y="1610"/>
                    </a:lnTo>
                    <a:lnTo>
                      <a:pt x="800" y="1606"/>
                    </a:lnTo>
                    <a:lnTo>
                      <a:pt x="766" y="1600"/>
                    </a:lnTo>
                    <a:lnTo>
                      <a:pt x="730" y="1592"/>
                    </a:lnTo>
                    <a:lnTo>
                      <a:pt x="698" y="1582"/>
                    </a:lnTo>
                    <a:lnTo>
                      <a:pt x="664" y="1570"/>
                    </a:lnTo>
                    <a:lnTo>
                      <a:pt x="632" y="1558"/>
                    </a:lnTo>
                    <a:lnTo>
                      <a:pt x="602" y="1544"/>
                    </a:lnTo>
                    <a:lnTo>
                      <a:pt x="570" y="1528"/>
                    </a:lnTo>
                    <a:lnTo>
                      <a:pt x="542" y="1512"/>
                    </a:lnTo>
                    <a:lnTo>
                      <a:pt x="512" y="1492"/>
                    </a:lnTo>
                    <a:lnTo>
                      <a:pt x="484" y="1474"/>
                    </a:lnTo>
                    <a:lnTo>
                      <a:pt x="458" y="1452"/>
                    </a:lnTo>
                    <a:lnTo>
                      <a:pt x="432" y="1430"/>
                    </a:lnTo>
                    <a:lnTo>
                      <a:pt x="408" y="1406"/>
                    </a:lnTo>
                    <a:lnTo>
                      <a:pt x="384" y="1382"/>
                    </a:lnTo>
                    <a:lnTo>
                      <a:pt x="362" y="1356"/>
                    </a:lnTo>
                    <a:lnTo>
                      <a:pt x="342" y="1330"/>
                    </a:lnTo>
                    <a:lnTo>
                      <a:pt x="322" y="1302"/>
                    </a:lnTo>
                    <a:lnTo>
                      <a:pt x="304" y="1274"/>
                    </a:lnTo>
                    <a:lnTo>
                      <a:pt x="286" y="1244"/>
                    </a:lnTo>
                    <a:lnTo>
                      <a:pt x="272" y="1214"/>
                    </a:lnTo>
                    <a:lnTo>
                      <a:pt x="256" y="1182"/>
                    </a:lnTo>
                    <a:lnTo>
                      <a:pt x="244" y="1150"/>
                    </a:lnTo>
                    <a:lnTo>
                      <a:pt x="234" y="1118"/>
                    </a:lnTo>
                    <a:lnTo>
                      <a:pt x="224" y="1084"/>
                    </a:lnTo>
                    <a:lnTo>
                      <a:pt x="216" y="1050"/>
                    </a:lnTo>
                    <a:lnTo>
                      <a:pt x="210" y="1016"/>
                    </a:lnTo>
                    <a:lnTo>
                      <a:pt x="206" y="980"/>
                    </a:lnTo>
                    <a:lnTo>
                      <a:pt x="202" y="944"/>
                    </a:lnTo>
                    <a:lnTo>
                      <a:pt x="202" y="908"/>
                    </a:lnTo>
                    <a:lnTo>
                      <a:pt x="202" y="872"/>
                    </a:lnTo>
                    <a:lnTo>
                      <a:pt x="206" y="836"/>
                    </a:lnTo>
                    <a:lnTo>
                      <a:pt x="210" y="800"/>
                    </a:lnTo>
                    <a:lnTo>
                      <a:pt x="216" y="766"/>
                    </a:lnTo>
                    <a:lnTo>
                      <a:pt x="224" y="732"/>
                    </a:lnTo>
                    <a:lnTo>
                      <a:pt x="234" y="698"/>
                    </a:lnTo>
                    <a:lnTo>
                      <a:pt x="244" y="664"/>
                    </a:lnTo>
                    <a:lnTo>
                      <a:pt x="256" y="632"/>
                    </a:lnTo>
                    <a:lnTo>
                      <a:pt x="272" y="602"/>
                    </a:lnTo>
                    <a:lnTo>
                      <a:pt x="286" y="572"/>
                    </a:lnTo>
                    <a:lnTo>
                      <a:pt x="304" y="542"/>
                    </a:lnTo>
                    <a:lnTo>
                      <a:pt x="322" y="512"/>
                    </a:lnTo>
                    <a:lnTo>
                      <a:pt x="342" y="486"/>
                    </a:lnTo>
                    <a:lnTo>
                      <a:pt x="362" y="458"/>
                    </a:lnTo>
                    <a:lnTo>
                      <a:pt x="384" y="432"/>
                    </a:lnTo>
                    <a:lnTo>
                      <a:pt x="408" y="408"/>
                    </a:lnTo>
                    <a:lnTo>
                      <a:pt x="432" y="386"/>
                    </a:lnTo>
                    <a:lnTo>
                      <a:pt x="458" y="362"/>
                    </a:lnTo>
                    <a:lnTo>
                      <a:pt x="484" y="342"/>
                    </a:lnTo>
                    <a:lnTo>
                      <a:pt x="512" y="322"/>
                    </a:lnTo>
                    <a:lnTo>
                      <a:pt x="542" y="304"/>
                    </a:lnTo>
                    <a:lnTo>
                      <a:pt x="570" y="286"/>
                    </a:lnTo>
                    <a:lnTo>
                      <a:pt x="602" y="272"/>
                    </a:lnTo>
                    <a:lnTo>
                      <a:pt x="632" y="258"/>
                    </a:lnTo>
                    <a:lnTo>
                      <a:pt x="664" y="244"/>
                    </a:lnTo>
                    <a:lnTo>
                      <a:pt x="698" y="234"/>
                    </a:lnTo>
                    <a:lnTo>
                      <a:pt x="730" y="224"/>
                    </a:lnTo>
                    <a:lnTo>
                      <a:pt x="766" y="216"/>
                    </a:lnTo>
                    <a:lnTo>
                      <a:pt x="800" y="210"/>
                    </a:lnTo>
                    <a:lnTo>
                      <a:pt x="836" y="206"/>
                    </a:lnTo>
                    <a:lnTo>
                      <a:pt x="872" y="202"/>
                    </a:lnTo>
                    <a:lnTo>
                      <a:pt x="908" y="202"/>
                    </a:lnTo>
                    <a:lnTo>
                      <a:pt x="944" y="202"/>
                    </a:lnTo>
                    <a:lnTo>
                      <a:pt x="980" y="206"/>
                    </a:lnTo>
                    <a:lnTo>
                      <a:pt x="1014" y="210"/>
                    </a:lnTo>
                    <a:lnTo>
                      <a:pt x="1050" y="216"/>
                    </a:lnTo>
                    <a:lnTo>
                      <a:pt x="1084" y="224"/>
                    </a:lnTo>
                    <a:lnTo>
                      <a:pt x="1118" y="234"/>
                    </a:lnTo>
                    <a:lnTo>
                      <a:pt x="1150" y="244"/>
                    </a:lnTo>
                    <a:lnTo>
                      <a:pt x="1182" y="258"/>
                    </a:lnTo>
                    <a:lnTo>
                      <a:pt x="1214" y="272"/>
                    </a:lnTo>
                    <a:lnTo>
                      <a:pt x="1244" y="286"/>
                    </a:lnTo>
                    <a:lnTo>
                      <a:pt x="1274" y="304"/>
                    </a:lnTo>
                    <a:lnTo>
                      <a:pt x="1302" y="322"/>
                    </a:lnTo>
                    <a:lnTo>
                      <a:pt x="1330" y="342"/>
                    </a:lnTo>
                    <a:lnTo>
                      <a:pt x="1356" y="362"/>
                    </a:lnTo>
                    <a:lnTo>
                      <a:pt x="1382" y="386"/>
                    </a:lnTo>
                    <a:lnTo>
                      <a:pt x="1406" y="408"/>
                    </a:lnTo>
                    <a:lnTo>
                      <a:pt x="1430" y="432"/>
                    </a:lnTo>
                    <a:lnTo>
                      <a:pt x="1452" y="458"/>
                    </a:lnTo>
                    <a:lnTo>
                      <a:pt x="1474" y="486"/>
                    </a:lnTo>
                    <a:lnTo>
                      <a:pt x="1492" y="512"/>
                    </a:lnTo>
                    <a:lnTo>
                      <a:pt x="1512" y="542"/>
                    </a:lnTo>
                    <a:lnTo>
                      <a:pt x="1528" y="572"/>
                    </a:lnTo>
                    <a:lnTo>
                      <a:pt x="1544" y="602"/>
                    </a:lnTo>
                    <a:lnTo>
                      <a:pt x="1558" y="632"/>
                    </a:lnTo>
                    <a:lnTo>
                      <a:pt x="1570" y="664"/>
                    </a:lnTo>
                    <a:lnTo>
                      <a:pt x="1582" y="698"/>
                    </a:lnTo>
                    <a:lnTo>
                      <a:pt x="1592" y="732"/>
                    </a:lnTo>
                    <a:lnTo>
                      <a:pt x="1598" y="766"/>
                    </a:lnTo>
                    <a:lnTo>
                      <a:pt x="1606" y="800"/>
                    </a:lnTo>
                    <a:lnTo>
                      <a:pt x="1610" y="836"/>
                    </a:lnTo>
                    <a:lnTo>
                      <a:pt x="1612" y="872"/>
                    </a:lnTo>
                    <a:lnTo>
                      <a:pt x="1614" y="908"/>
                    </a:lnTo>
                    <a:lnTo>
                      <a:pt x="1612" y="944"/>
                    </a:lnTo>
                    <a:lnTo>
                      <a:pt x="1610" y="980"/>
                    </a:lnTo>
                    <a:lnTo>
                      <a:pt x="1606" y="1016"/>
                    </a:lnTo>
                    <a:lnTo>
                      <a:pt x="1598" y="1050"/>
                    </a:lnTo>
                    <a:lnTo>
                      <a:pt x="1592" y="1084"/>
                    </a:lnTo>
                    <a:lnTo>
                      <a:pt x="1582" y="1118"/>
                    </a:lnTo>
                    <a:lnTo>
                      <a:pt x="1570" y="1150"/>
                    </a:lnTo>
                    <a:lnTo>
                      <a:pt x="1558" y="1182"/>
                    </a:lnTo>
                    <a:lnTo>
                      <a:pt x="1544" y="1214"/>
                    </a:lnTo>
                    <a:lnTo>
                      <a:pt x="1528" y="1244"/>
                    </a:lnTo>
                    <a:lnTo>
                      <a:pt x="1512" y="1274"/>
                    </a:lnTo>
                    <a:lnTo>
                      <a:pt x="1492" y="1302"/>
                    </a:lnTo>
                    <a:lnTo>
                      <a:pt x="1474" y="1330"/>
                    </a:lnTo>
                    <a:lnTo>
                      <a:pt x="1452" y="1356"/>
                    </a:lnTo>
                    <a:lnTo>
                      <a:pt x="1430" y="1382"/>
                    </a:lnTo>
                    <a:lnTo>
                      <a:pt x="1406" y="1406"/>
                    </a:lnTo>
                    <a:lnTo>
                      <a:pt x="1382" y="1430"/>
                    </a:lnTo>
                    <a:lnTo>
                      <a:pt x="1356" y="1452"/>
                    </a:lnTo>
                    <a:lnTo>
                      <a:pt x="1330" y="1474"/>
                    </a:lnTo>
                    <a:lnTo>
                      <a:pt x="1302" y="1492"/>
                    </a:lnTo>
                    <a:lnTo>
                      <a:pt x="1274" y="1512"/>
                    </a:lnTo>
                    <a:lnTo>
                      <a:pt x="1244" y="1528"/>
                    </a:lnTo>
                    <a:lnTo>
                      <a:pt x="1214" y="1544"/>
                    </a:lnTo>
                    <a:lnTo>
                      <a:pt x="1182" y="1558"/>
                    </a:lnTo>
                    <a:lnTo>
                      <a:pt x="1150" y="1570"/>
                    </a:lnTo>
                    <a:lnTo>
                      <a:pt x="1118" y="1582"/>
                    </a:lnTo>
                    <a:lnTo>
                      <a:pt x="1084" y="1592"/>
                    </a:lnTo>
                    <a:lnTo>
                      <a:pt x="1050" y="1600"/>
                    </a:lnTo>
                    <a:lnTo>
                      <a:pt x="1014" y="1606"/>
                    </a:lnTo>
                    <a:lnTo>
                      <a:pt x="980" y="1610"/>
                    </a:lnTo>
                    <a:lnTo>
                      <a:pt x="944" y="1612"/>
                    </a:lnTo>
                    <a:lnTo>
                      <a:pt x="908" y="1614"/>
                    </a:lnTo>
                    <a:close/>
                  </a:path>
                </a:pathLst>
              </a:custGeom>
              <a:solidFill>
                <a:srgbClr val="002060">
                  <a:alpha val="79999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cap="rnd">
                    <a:solidFill>
                      <a:srgbClr val="000000"/>
                    </a:solidFill>
                    <a:prstDash val="sysDot"/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742987" fontAlgn="base" latinLnBrk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zh-CN" altLang="en-US" sz="900" dirty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60" name="Freeform 675">
                <a:extLst>
                  <a:ext uri="{FF2B5EF4-FFF2-40B4-BE49-F238E27FC236}">
                    <a16:creationId xmlns:a16="http://schemas.microsoft.com/office/drawing/2014/main" id="{FA43BFD8-9A43-D857-F9B7-9BEFAB06BE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1275257">
                <a:off x="940378" y="1649334"/>
                <a:ext cx="3429000" cy="3429000"/>
              </a:xfrm>
              <a:custGeom>
                <a:avLst/>
                <a:gdLst>
                  <a:gd name="T0" fmla="*/ 2147483647 w 2622"/>
                  <a:gd name="T1" fmla="*/ 2147483647 h 2622"/>
                  <a:gd name="T2" fmla="*/ 2147483647 w 2622"/>
                  <a:gd name="T3" fmla="*/ 2147483647 h 2622"/>
                  <a:gd name="T4" fmla="*/ 2147483647 w 2622"/>
                  <a:gd name="T5" fmla="*/ 2147483647 h 2622"/>
                  <a:gd name="T6" fmla="*/ 2147483647 w 2622"/>
                  <a:gd name="T7" fmla="*/ 2147483647 h 2622"/>
                  <a:gd name="T8" fmla="*/ 2147483647 w 2622"/>
                  <a:gd name="T9" fmla="*/ 2147483647 h 2622"/>
                  <a:gd name="T10" fmla="*/ 2147483647 w 2622"/>
                  <a:gd name="T11" fmla="*/ 2147483647 h 2622"/>
                  <a:gd name="T12" fmla="*/ 2147483647 w 2622"/>
                  <a:gd name="T13" fmla="*/ 2147483647 h 2622"/>
                  <a:gd name="T14" fmla="*/ 2147483647 w 2622"/>
                  <a:gd name="T15" fmla="*/ 2147483647 h 2622"/>
                  <a:gd name="T16" fmla="*/ 2147483647 w 2622"/>
                  <a:gd name="T17" fmla="*/ 2147483647 h 2622"/>
                  <a:gd name="T18" fmla="*/ 2147483647 w 2622"/>
                  <a:gd name="T19" fmla="*/ 2147483647 h 2622"/>
                  <a:gd name="T20" fmla="*/ 2147483647 w 2622"/>
                  <a:gd name="T21" fmla="*/ 2147483647 h 2622"/>
                  <a:gd name="T22" fmla="*/ 2147483647 w 2622"/>
                  <a:gd name="T23" fmla="*/ 2147483647 h 2622"/>
                  <a:gd name="T24" fmla="*/ 2147483647 w 2622"/>
                  <a:gd name="T25" fmla="*/ 2147483647 h 2622"/>
                  <a:gd name="T26" fmla="*/ 2147483647 w 2622"/>
                  <a:gd name="T27" fmla="*/ 2147483647 h 2622"/>
                  <a:gd name="T28" fmla="*/ 2147483647 w 2622"/>
                  <a:gd name="T29" fmla="*/ 2147483647 h 2622"/>
                  <a:gd name="T30" fmla="*/ 2147483647 w 2622"/>
                  <a:gd name="T31" fmla="*/ 2147483647 h 2622"/>
                  <a:gd name="T32" fmla="*/ 2147483647 w 2622"/>
                  <a:gd name="T33" fmla="*/ 2147483647 h 2622"/>
                  <a:gd name="T34" fmla="*/ 2147483647 w 2622"/>
                  <a:gd name="T35" fmla="*/ 2147483647 h 2622"/>
                  <a:gd name="T36" fmla="*/ 2147483647 w 2622"/>
                  <a:gd name="T37" fmla="*/ 2147483647 h 2622"/>
                  <a:gd name="T38" fmla="*/ 2147483647 w 2622"/>
                  <a:gd name="T39" fmla="*/ 2147483647 h 2622"/>
                  <a:gd name="T40" fmla="*/ 2147483647 w 2622"/>
                  <a:gd name="T41" fmla="*/ 2147483647 h 2622"/>
                  <a:gd name="T42" fmla="*/ 2147483647 w 2622"/>
                  <a:gd name="T43" fmla="*/ 2147483647 h 2622"/>
                  <a:gd name="T44" fmla="*/ 2147483647 w 2622"/>
                  <a:gd name="T45" fmla="*/ 2147483647 h 2622"/>
                  <a:gd name="T46" fmla="*/ 2147483647 w 2622"/>
                  <a:gd name="T47" fmla="*/ 2147483647 h 2622"/>
                  <a:gd name="T48" fmla="*/ 2147483647 w 2622"/>
                  <a:gd name="T49" fmla="*/ 2147483647 h 2622"/>
                  <a:gd name="T50" fmla="*/ 2147483647 w 2622"/>
                  <a:gd name="T51" fmla="*/ 2147483647 h 2622"/>
                  <a:gd name="T52" fmla="*/ 2147483647 w 2622"/>
                  <a:gd name="T53" fmla="*/ 2147483647 h 2622"/>
                  <a:gd name="T54" fmla="*/ 2147483647 w 2622"/>
                  <a:gd name="T55" fmla="*/ 2147483647 h 2622"/>
                  <a:gd name="T56" fmla="*/ 2147483647 w 2622"/>
                  <a:gd name="T57" fmla="*/ 2147483647 h 2622"/>
                  <a:gd name="T58" fmla="*/ 2147483647 w 2622"/>
                  <a:gd name="T59" fmla="*/ 2147483647 h 2622"/>
                  <a:gd name="T60" fmla="*/ 2147483647 w 2622"/>
                  <a:gd name="T61" fmla="*/ 2147483647 h 2622"/>
                  <a:gd name="T62" fmla="*/ 2147483647 w 2622"/>
                  <a:gd name="T63" fmla="*/ 2147483647 h 2622"/>
                  <a:gd name="T64" fmla="*/ 2147483647 w 2622"/>
                  <a:gd name="T65" fmla="*/ 2147483647 h 2622"/>
                  <a:gd name="T66" fmla="*/ 2147483647 w 2622"/>
                  <a:gd name="T67" fmla="*/ 2147483647 h 2622"/>
                  <a:gd name="T68" fmla="*/ 2147483647 w 2622"/>
                  <a:gd name="T69" fmla="*/ 2147483647 h 2622"/>
                  <a:gd name="T70" fmla="*/ 2147483647 w 2622"/>
                  <a:gd name="T71" fmla="*/ 2147483647 h 2622"/>
                  <a:gd name="T72" fmla="*/ 2147483647 w 2622"/>
                  <a:gd name="T73" fmla="*/ 2147483647 h 2622"/>
                  <a:gd name="T74" fmla="*/ 2147483647 w 2622"/>
                  <a:gd name="T75" fmla="*/ 2147483647 h 2622"/>
                  <a:gd name="T76" fmla="*/ 2147483647 w 2622"/>
                  <a:gd name="T77" fmla="*/ 2147483647 h 2622"/>
                  <a:gd name="T78" fmla="*/ 2147483647 w 2622"/>
                  <a:gd name="T79" fmla="*/ 2147483647 h 2622"/>
                  <a:gd name="T80" fmla="*/ 2147483647 w 2622"/>
                  <a:gd name="T81" fmla="*/ 2147483647 h 2622"/>
                  <a:gd name="T82" fmla="*/ 2147483647 w 2622"/>
                  <a:gd name="T83" fmla="*/ 2147483647 h 2622"/>
                  <a:gd name="T84" fmla="*/ 2147483647 w 2622"/>
                  <a:gd name="T85" fmla="*/ 2147483647 h 2622"/>
                  <a:gd name="T86" fmla="*/ 2147483647 w 2622"/>
                  <a:gd name="T87" fmla="*/ 2147483647 h 2622"/>
                  <a:gd name="T88" fmla="*/ 2147483647 w 2622"/>
                  <a:gd name="T89" fmla="*/ 2147483647 h 2622"/>
                  <a:gd name="T90" fmla="*/ 2147483647 w 2622"/>
                  <a:gd name="T91" fmla="*/ 2147483647 h 2622"/>
                  <a:gd name="T92" fmla="*/ 2147483647 w 2622"/>
                  <a:gd name="T93" fmla="*/ 2147483647 h 2622"/>
                  <a:gd name="T94" fmla="*/ 2147483647 w 2622"/>
                  <a:gd name="T95" fmla="*/ 2147483647 h 2622"/>
                  <a:gd name="T96" fmla="*/ 2147483647 w 2622"/>
                  <a:gd name="T97" fmla="*/ 2147483647 h 2622"/>
                  <a:gd name="T98" fmla="*/ 2147483647 w 2622"/>
                  <a:gd name="T99" fmla="*/ 2147483647 h 2622"/>
                  <a:gd name="T100" fmla="*/ 2147483647 w 2622"/>
                  <a:gd name="T101" fmla="*/ 2147483647 h 2622"/>
                  <a:gd name="T102" fmla="*/ 2147483647 w 2622"/>
                  <a:gd name="T103" fmla="*/ 2147483647 h 2622"/>
                  <a:gd name="T104" fmla="*/ 2147483647 w 2622"/>
                  <a:gd name="T105" fmla="*/ 2147483647 h 2622"/>
                  <a:gd name="T106" fmla="*/ 2147483647 w 2622"/>
                  <a:gd name="T107" fmla="*/ 2147483647 h 262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622"/>
                  <a:gd name="T163" fmla="*/ 0 h 2622"/>
                  <a:gd name="T164" fmla="*/ 2622 w 2622"/>
                  <a:gd name="T165" fmla="*/ 2622 h 262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622" h="2622">
                    <a:moveTo>
                      <a:pt x="2622" y="1382"/>
                    </a:moveTo>
                    <a:lnTo>
                      <a:pt x="2622" y="1240"/>
                    </a:lnTo>
                    <a:lnTo>
                      <a:pt x="2520" y="1240"/>
                    </a:lnTo>
                    <a:lnTo>
                      <a:pt x="2516" y="1196"/>
                    </a:lnTo>
                    <a:lnTo>
                      <a:pt x="2512" y="1152"/>
                    </a:lnTo>
                    <a:lnTo>
                      <a:pt x="2506" y="1110"/>
                    </a:lnTo>
                    <a:lnTo>
                      <a:pt x="2498" y="1068"/>
                    </a:lnTo>
                    <a:lnTo>
                      <a:pt x="2596" y="1040"/>
                    </a:lnTo>
                    <a:lnTo>
                      <a:pt x="2560" y="904"/>
                    </a:lnTo>
                    <a:lnTo>
                      <a:pt x="2460" y="930"/>
                    </a:lnTo>
                    <a:lnTo>
                      <a:pt x="2446" y="888"/>
                    </a:lnTo>
                    <a:lnTo>
                      <a:pt x="2430" y="848"/>
                    </a:lnTo>
                    <a:lnTo>
                      <a:pt x="2412" y="808"/>
                    </a:lnTo>
                    <a:lnTo>
                      <a:pt x="2394" y="768"/>
                    </a:lnTo>
                    <a:lnTo>
                      <a:pt x="2482" y="718"/>
                    </a:lnTo>
                    <a:lnTo>
                      <a:pt x="2412" y="594"/>
                    </a:lnTo>
                    <a:lnTo>
                      <a:pt x="2322" y="646"/>
                    </a:lnTo>
                    <a:lnTo>
                      <a:pt x="2298" y="610"/>
                    </a:lnTo>
                    <a:lnTo>
                      <a:pt x="2272" y="574"/>
                    </a:lnTo>
                    <a:lnTo>
                      <a:pt x="2244" y="540"/>
                    </a:lnTo>
                    <a:lnTo>
                      <a:pt x="2216" y="508"/>
                    </a:lnTo>
                    <a:lnTo>
                      <a:pt x="2290" y="434"/>
                    </a:lnTo>
                    <a:lnTo>
                      <a:pt x="2188" y="334"/>
                    </a:lnTo>
                    <a:lnTo>
                      <a:pt x="2116" y="406"/>
                    </a:lnTo>
                    <a:lnTo>
                      <a:pt x="2082" y="378"/>
                    </a:lnTo>
                    <a:lnTo>
                      <a:pt x="2048" y="352"/>
                    </a:lnTo>
                    <a:lnTo>
                      <a:pt x="2014" y="326"/>
                    </a:lnTo>
                    <a:lnTo>
                      <a:pt x="1978" y="300"/>
                    </a:lnTo>
                    <a:lnTo>
                      <a:pt x="2028" y="212"/>
                    </a:lnTo>
                    <a:lnTo>
                      <a:pt x="1906" y="140"/>
                    </a:lnTo>
                    <a:lnTo>
                      <a:pt x="1854" y="230"/>
                    </a:lnTo>
                    <a:lnTo>
                      <a:pt x="1816" y="210"/>
                    </a:lnTo>
                    <a:lnTo>
                      <a:pt x="1776" y="194"/>
                    </a:lnTo>
                    <a:lnTo>
                      <a:pt x="1734" y="178"/>
                    </a:lnTo>
                    <a:lnTo>
                      <a:pt x="1694" y="162"/>
                    </a:lnTo>
                    <a:lnTo>
                      <a:pt x="1720" y="64"/>
                    </a:lnTo>
                    <a:lnTo>
                      <a:pt x="1582" y="26"/>
                    </a:lnTo>
                    <a:lnTo>
                      <a:pt x="1556" y="126"/>
                    </a:lnTo>
                    <a:lnTo>
                      <a:pt x="1514" y="118"/>
                    </a:lnTo>
                    <a:lnTo>
                      <a:pt x="1470" y="112"/>
                    </a:lnTo>
                    <a:lnTo>
                      <a:pt x="1426" y="106"/>
                    </a:lnTo>
                    <a:lnTo>
                      <a:pt x="1382" y="104"/>
                    </a:lnTo>
                    <a:lnTo>
                      <a:pt x="1382" y="0"/>
                    </a:lnTo>
                    <a:lnTo>
                      <a:pt x="1240" y="0"/>
                    </a:lnTo>
                    <a:lnTo>
                      <a:pt x="1240" y="104"/>
                    </a:lnTo>
                    <a:lnTo>
                      <a:pt x="1196" y="106"/>
                    </a:lnTo>
                    <a:lnTo>
                      <a:pt x="1154" y="112"/>
                    </a:lnTo>
                    <a:lnTo>
                      <a:pt x="1110" y="118"/>
                    </a:lnTo>
                    <a:lnTo>
                      <a:pt x="1068" y="126"/>
                    </a:lnTo>
                    <a:lnTo>
                      <a:pt x="1042" y="26"/>
                    </a:lnTo>
                    <a:lnTo>
                      <a:pt x="904" y="64"/>
                    </a:lnTo>
                    <a:lnTo>
                      <a:pt x="930" y="162"/>
                    </a:lnTo>
                    <a:lnTo>
                      <a:pt x="890" y="178"/>
                    </a:lnTo>
                    <a:lnTo>
                      <a:pt x="848" y="194"/>
                    </a:lnTo>
                    <a:lnTo>
                      <a:pt x="808" y="210"/>
                    </a:lnTo>
                    <a:lnTo>
                      <a:pt x="770" y="230"/>
                    </a:lnTo>
                    <a:lnTo>
                      <a:pt x="718" y="140"/>
                    </a:lnTo>
                    <a:lnTo>
                      <a:pt x="594" y="212"/>
                    </a:lnTo>
                    <a:lnTo>
                      <a:pt x="646" y="300"/>
                    </a:lnTo>
                    <a:lnTo>
                      <a:pt x="610" y="326"/>
                    </a:lnTo>
                    <a:lnTo>
                      <a:pt x="576" y="352"/>
                    </a:lnTo>
                    <a:lnTo>
                      <a:pt x="542" y="378"/>
                    </a:lnTo>
                    <a:lnTo>
                      <a:pt x="508" y="406"/>
                    </a:lnTo>
                    <a:lnTo>
                      <a:pt x="436" y="334"/>
                    </a:lnTo>
                    <a:lnTo>
                      <a:pt x="334" y="434"/>
                    </a:lnTo>
                    <a:lnTo>
                      <a:pt x="408" y="508"/>
                    </a:lnTo>
                    <a:lnTo>
                      <a:pt x="378" y="540"/>
                    </a:lnTo>
                    <a:lnTo>
                      <a:pt x="352" y="574"/>
                    </a:lnTo>
                    <a:lnTo>
                      <a:pt x="326" y="610"/>
                    </a:lnTo>
                    <a:lnTo>
                      <a:pt x="302" y="646"/>
                    </a:lnTo>
                    <a:lnTo>
                      <a:pt x="212" y="594"/>
                    </a:lnTo>
                    <a:lnTo>
                      <a:pt x="140" y="718"/>
                    </a:lnTo>
                    <a:lnTo>
                      <a:pt x="230" y="768"/>
                    </a:lnTo>
                    <a:lnTo>
                      <a:pt x="212" y="808"/>
                    </a:lnTo>
                    <a:lnTo>
                      <a:pt x="194" y="848"/>
                    </a:lnTo>
                    <a:lnTo>
                      <a:pt x="178" y="888"/>
                    </a:lnTo>
                    <a:lnTo>
                      <a:pt x="164" y="930"/>
                    </a:lnTo>
                    <a:lnTo>
                      <a:pt x="64" y="904"/>
                    </a:lnTo>
                    <a:lnTo>
                      <a:pt x="26" y="1040"/>
                    </a:lnTo>
                    <a:lnTo>
                      <a:pt x="126" y="1068"/>
                    </a:lnTo>
                    <a:lnTo>
                      <a:pt x="118" y="1110"/>
                    </a:lnTo>
                    <a:lnTo>
                      <a:pt x="112" y="1152"/>
                    </a:lnTo>
                    <a:lnTo>
                      <a:pt x="108" y="1196"/>
                    </a:lnTo>
                    <a:lnTo>
                      <a:pt x="104" y="1240"/>
                    </a:lnTo>
                    <a:lnTo>
                      <a:pt x="0" y="1240"/>
                    </a:lnTo>
                    <a:lnTo>
                      <a:pt x="0" y="1382"/>
                    </a:lnTo>
                    <a:lnTo>
                      <a:pt x="104" y="1382"/>
                    </a:lnTo>
                    <a:lnTo>
                      <a:pt x="108" y="1426"/>
                    </a:lnTo>
                    <a:lnTo>
                      <a:pt x="112" y="1470"/>
                    </a:lnTo>
                    <a:lnTo>
                      <a:pt x="118" y="1512"/>
                    </a:lnTo>
                    <a:lnTo>
                      <a:pt x="126" y="1556"/>
                    </a:lnTo>
                    <a:lnTo>
                      <a:pt x="26" y="1582"/>
                    </a:lnTo>
                    <a:lnTo>
                      <a:pt x="64" y="1720"/>
                    </a:lnTo>
                    <a:lnTo>
                      <a:pt x="164" y="1692"/>
                    </a:lnTo>
                    <a:lnTo>
                      <a:pt x="178" y="1734"/>
                    </a:lnTo>
                    <a:lnTo>
                      <a:pt x="194" y="1774"/>
                    </a:lnTo>
                    <a:lnTo>
                      <a:pt x="212" y="1814"/>
                    </a:lnTo>
                    <a:lnTo>
                      <a:pt x="230" y="1854"/>
                    </a:lnTo>
                    <a:lnTo>
                      <a:pt x="140" y="1906"/>
                    </a:lnTo>
                    <a:lnTo>
                      <a:pt x="212" y="2028"/>
                    </a:lnTo>
                    <a:lnTo>
                      <a:pt x="302" y="1978"/>
                    </a:lnTo>
                    <a:lnTo>
                      <a:pt x="326" y="2014"/>
                    </a:lnTo>
                    <a:lnTo>
                      <a:pt x="352" y="2048"/>
                    </a:lnTo>
                    <a:lnTo>
                      <a:pt x="378" y="2082"/>
                    </a:lnTo>
                    <a:lnTo>
                      <a:pt x="408" y="2116"/>
                    </a:lnTo>
                    <a:lnTo>
                      <a:pt x="334" y="2188"/>
                    </a:lnTo>
                    <a:lnTo>
                      <a:pt x="436" y="2288"/>
                    </a:lnTo>
                    <a:lnTo>
                      <a:pt x="508" y="2216"/>
                    </a:lnTo>
                    <a:lnTo>
                      <a:pt x="542" y="2244"/>
                    </a:lnTo>
                    <a:lnTo>
                      <a:pt x="576" y="2272"/>
                    </a:lnTo>
                    <a:lnTo>
                      <a:pt x="610" y="2298"/>
                    </a:lnTo>
                    <a:lnTo>
                      <a:pt x="646" y="2322"/>
                    </a:lnTo>
                    <a:lnTo>
                      <a:pt x="594" y="2412"/>
                    </a:lnTo>
                    <a:lnTo>
                      <a:pt x="718" y="2482"/>
                    </a:lnTo>
                    <a:lnTo>
                      <a:pt x="770" y="2394"/>
                    </a:lnTo>
                    <a:lnTo>
                      <a:pt x="808" y="2412"/>
                    </a:lnTo>
                    <a:lnTo>
                      <a:pt x="848" y="2430"/>
                    </a:lnTo>
                    <a:lnTo>
                      <a:pt x="890" y="2446"/>
                    </a:lnTo>
                    <a:lnTo>
                      <a:pt x="930" y="2460"/>
                    </a:lnTo>
                    <a:lnTo>
                      <a:pt x="904" y="2560"/>
                    </a:lnTo>
                    <a:lnTo>
                      <a:pt x="1042" y="2596"/>
                    </a:lnTo>
                    <a:lnTo>
                      <a:pt x="1068" y="2498"/>
                    </a:lnTo>
                    <a:lnTo>
                      <a:pt x="1110" y="2504"/>
                    </a:lnTo>
                    <a:lnTo>
                      <a:pt x="1154" y="2512"/>
                    </a:lnTo>
                    <a:lnTo>
                      <a:pt x="1196" y="2516"/>
                    </a:lnTo>
                    <a:lnTo>
                      <a:pt x="1240" y="2520"/>
                    </a:lnTo>
                    <a:lnTo>
                      <a:pt x="1240" y="2622"/>
                    </a:lnTo>
                    <a:lnTo>
                      <a:pt x="1382" y="2622"/>
                    </a:lnTo>
                    <a:lnTo>
                      <a:pt x="1382" y="2520"/>
                    </a:lnTo>
                    <a:lnTo>
                      <a:pt x="1426" y="2516"/>
                    </a:lnTo>
                    <a:lnTo>
                      <a:pt x="1470" y="2512"/>
                    </a:lnTo>
                    <a:lnTo>
                      <a:pt x="1514" y="2504"/>
                    </a:lnTo>
                    <a:lnTo>
                      <a:pt x="1556" y="2498"/>
                    </a:lnTo>
                    <a:lnTo>
                      <a:pt x="1582" y="2596"/>
                    </a:lnTo>
                    <a:lnTo>
                      <a:pt x="1720" y="2560"/>
                    </a:lnTo>
                    <a:lnTo>
                      <a:pt x="1694" y="2460"/>
                    </a:lnTo>
                    <a:lnTo>
                      <a:pt x="1734" y="2446"/>
                    </a:lnTo>
                    <a:lnTo>
                      <a:pt x="1776" y="2430"/>
                    </a:lnTo>
                    <a:lnTo>
                      <a:pt x="1816" y="2412"/>
                    </a:lnTo>
                    <a:lnTo>
                      <a:pt x="1854" y="2394"/>
                    </a:lnTo>
                    <a:lnTo>
                      <a:pt x="1906" y="2482"/>
                    </a:lnTo>
                    <a:lnTo>
                      <a:pt x="2028" y="2412"/>
                    </a:lnTo>
                    <a:lnTo>
                      <a:pt x="1978" y="2322"/>
                    </a:lnTo>
                    <a:lnTo>
                      <a:pt x="2014" y="2298"/>
                    </a:lnTo>
                    <a:lnTo>
                      <a:pt x="2048" y="2272"/>
                    </a:lnTo>
                    <a:lnTo>
                      <a:pt x="2082" y="2244"/>
                    </a:lnTo>
                    <a:lnTo>
                      <a:pt x="2116" y="2216"/>
                    </a:lnTo>
                    <a:lnTo>
                      <a:pt x="2188" y="2288"/>
                    </a:lnTo>
                    <a:lnTo>
                      <a:pt x="2290" y="2188"/>
                    </a:lnTo>
                    <a:lnTo>
                      <a:pt x="2216" y="2116"/>
                    </a:lnTo>
                    <a:lnTo>
                      <a:pt x="2244" y="2082"/>
                    </a:lnTo>
                    <a:lnTo>
                      <a:pt x="2272" y="2048"/>
                    </a:lnTo>
                    <a:lnTo>
                      <a:pt x="2298" y="2014"/>
                    </a:lnTo>
                    <a:lnTo>
                      <a:pt x="2322" y="1978"/>
                    </a:lnTo>
                    <a:lnTo>
                      <a:pt x="2412" y="2028"/>
                    </a:lnTo>
                    <a:lnTo>
                      <a:pt x="2482" y="1906"/>
                    </a:lnTo>
                    <a:lnTo>
                      <a:pt x="2394" y="1854"/>
                    </a:lnTo>
                    <a:lnTo>
                      <a:pt x="2412" y="1814"/>
                    </a:lnTo>
                    <a:lnTo>
                      <a:pt x="2430" y="1774"/>
                    </a:lnTo>
                    <a:lnTo>
                      <a:pt x="2446" y="1734"/>
                    </a:lnTo>
                    <a:lnTo>
                      <a:pt x="2460" y="1692"/>
                    </a:lnTo>
                    <a:lnTo>
                      <a:pt x="2560" y="1720"/>
                    </a:lnTo>
                    <a:lnTo>
                      <a:pt x="2596" y="1582"/>
                    </a:lnTo>
                    <a:lnTo>
                      <a:pt x="2498" y="1556"/>
                    </a:lnTo>
                    <a:lnTo>
                      <a:pt x="2506" y="1512"/>
                    </a:lnTo>
                    <a:lnTo>
                      <a:pt x="2512" y="1470"/>
                    </a:lnTo>
                    <a:lnTo>
                      <a:pt x="2516" y="1426"/>
                    </a:lnTo>
                    <a:lnTo>
                      <a:pt x="2520" y="1382"/>
                    </a:lnTo>
                    <a:lnTo>
                      <a:pt x="2622" y="1382"/>
                    </a:lnTo>
                    <a:close/>
                    <a:moveTo>
                      <a:pt x="1312" y="2420"/>
                    </a:moveTo>
                    <a:lnTo>
                      <a:pt x="1312" y="2420"/>
                    </a:lnTo>
                    <a:lnTo>
                      <a:pt x="1254" y="2420"/>
                    </a:lnTo>
                    <a:lnTo>
                      <a:pt x="1198" y="2416"/>
                    </a:lnTo>
                    <a:lnTo>
                      <a:pt x="1142" y="2408"/>
                    </a:lnTo>
                    <a:lnTo>
                      <a:pt x="1088" y="2398"/>
                    </a:lnTo>
                    <a:lnTo>
                      <a:pt x="1034" y="2386"/>
                    </a:lnTo>
                    <a:lnTo>
                      <a:pt x="982" y="2370"/>
                    </a:lnTo>
                    <a:lnTo>
                      <a:pt x="930" y="2354"/>
                    </a:lnTo>
                    <a:lnTo>
                      <a:pt x="880" y="2334"/>
                    </a:lnTo>
                    <a:lnTo>
                      <a:pt x="830" y="2312"/>
                    </a:lnTo>
                    <a:lnTo>
                      <a:pt x="782" y="2286"/>
                    </a:lnTo>
                    <a:lnTo>
                      <a:pt x="736" y="2260"/>
                    </a:lnTo>
                    <a:lnTo>
                      <a:pt x="692" y="2232"/>
                    </a:lnTo>
                    <a:lnTo>
                      <a:pt x="648" y="2200"/>
                    </a:lnTo>
                    <a:lnTo>
                      <a:pt x="606" y="2168"/>
                    </a:lnTo>
                    <a:lnTo>
                      <a:pt x="566" y="2132"/>
                    </a:lnTo>
                    <a:lnTo>
                      <a:pt x="528" y="2096"/>
                    </a:lnTo>
                    <a:lnTo>
                      <a:pt x="490" y="2058"/>
                    </a:lnTo>
                    <a:lnTo>
                      <a:pt x="456" y="2018"/>
                    </a:lnTo>
                    <a:lnTo>
                      <a:pt x="422" y="1976"/>
                    </a:lnTo>
                    <a:lnTo>
                      <a:pt x="392" y="1932"/>
                    </a:lnTo>
                    <a:lnTo>
                      <a:pt x="362" y="1886"/>
                    </a:lnTo>
                    <a:lnTo>
                      <a:pt x="336" y="1840"/>
                    </a:lnTo>
                    <a:lnTo>
                      <a:pt x="312" y="1792"/>
                    </a:lnTo>
                    <a:lnTo>
                      <a:pt x="290" y="1744"/>
                    </a:lnTo>
                    <a:lnTo>
                      <a:pt x="270" y="1692"/>
                    </a:lnTo>
                    <a:lnTo>
                      <a:pt x="252" y="1642"/>
                    </a:lnTo>
                    <a:lnTo>
                      <a:pt x="238" y="1588"/>
                    </a:lnTo>
                    <a:lnTo>
                      <a:pt x="224" y="1534"/>
                    </a:lnTo>
                    <a:lnTo>
                      <a:pt x="216" y="1480"/>
                    </a:lnTo>
                    <a:lnTo>
                      <a:pt x="208" y="1424"/>
                    </a:lnTo>
                    <a:lnTo>
                      <a:pt x="204" y="1368"/>
                    </a:lnTo>
                    <a:lnTo>
                      <a:pt x="202" y="1312"/>
                    </a:lnTo>
                    <a:lnTo>
                      <a:pt x="204" y="1254"/>
                    </a:lnTo>
                    <a:lnTo>
                      <a:pt x="208" y="1198"/>
                    </a:lnTo>
                    <a:lnTo>
                      <a:pt x="216" y="1142"/>
                    </a:lnTo>
                    <a:lnTo>
                      <a:pt x="224" y="1088"/>
                    </a:lnTo>
                    <a:lnTo>
                      <a:pt x="238" y="1034"/>
                    </a:lnTo>
                    <a:lnTo>
                      <a:pt x="252" y="982"/>
                    </a:lnTo>
                    <a:lnTo>
                      <a:pt x="270" y="930"/>
                    </a:lnTo>
                    <a:lnTo>
                      <a:pt x="290" y="880"/>
                    </a:lnTo>
                    <a:lnTo>
                      <a:pt x="312" y="830"/>
                    </a:lnTo>
                    <a:lnTo>
                      <a:pt x="336" y="782"/>
                    </a:lnTo>
                    <a:lnTo>
                      <a:pt x="362" y="736"/>
                    </a:lnTo>
                    <a:lnTo>
                      <a:pt x="392" y="692"/>
                    </a:lnTo>
                    <a:lnTo>
                      <a:pt x="422" y="648"/>
                    </a:lnTo>
                    <a:lnTo>
                      <a:pt x="456" y="606"/>
                    </a:lnTo>
                    <a:lnTo>
                      <a:pt x="490" y="566"/>
                    </a:lnTo>
                    <a:lnTo>
                      <a:pt x="528" y="526"/>
                    </a:lnTo>
                    <a:lnTo>
                      <a:pt x="566" y="490"/>
                    </a:lnTo>
                    <a:lnTo>
                      <a:pt x="606" y="456"/>
                    </a:lnTo>
                    <a:lnTo>
                      <a:pt x="648" y="422"/>
                    </a:lnTo>
                    <a:lnTo>
                      <a:pt x="692" y="392"/>
                    </a:lnTo>
                    <a:lnTo>
                      <a:pt x="736" y="362"/>
                    </a:lnTo>
                    <a:lnTo>
                      <a:pt x="782" y="336"/>
                    </a:lnTo>
                    <a:lnTo>
                      <a:pt x="830" y="312"/>
                    </a:lnTo>
                    <a:lnTo>
                      <a:pt x="880" y="290"/>
                    </a:lnTo>
                    <a:lnTo>
                      <a:pt x="930" y="270"/>
                    </a:lnTo>
                    <a:lnTo>
                      <a:pt x="982" y="252"/>
                    </a:lnTo>
                    <a:lnTo>
                      <a:pt x="1034" y="236"/>
                    </a:lnTo>
                    <a:lnTo>
                      <a:pt x="1088" y="224"/>
                    </a:lnTo>
                    <a:lnTo>
                      <a:pt x="1142" y="214"/>
                    </a:lnTo>
                    <a:lnTo>
                      <a:pt x="1198" y="208"/>
                    </a:lnTo>
                    <a:lnTo>
                      <a:pt x="1254" y="204"/>
                    </a:lnTo>
                    <a:lnTo>
                      <a:pt x="1312" y="202"/>
                    </a:lnTo>
                    <a:lnTo>
                      <a:pt x="1368" y="204"/>
                    </a:lnTo>
                    <a:lnTo>
                      <a:pt x="1426" y="208"/>
                    </a:lnTo>
                    <a:lnTo>
                      <a:pt x="1480" y="214"/>
                    </a:lnTo>
                    <a:lnTo>
                      <a:pt x="1536" y="224"/>
                    </a:lnTo>
                    <a:lnTo>
                      <a:pt x="1588" y="236"/>
                    </a:lnTo>
                    <a:lnTo>
                      <a:pt x="1642" y="252"/>
                    </a:lnTo>
                    <a:lnTo>
                      <a:pt x="1694" y="270"/>
                    </a:lnTo>
                    <a:lnTo>
                      <a:pt x="1744" y="290"/>
                    </a:lnTo>
                    <a:lnTo>
                      <a:pt x="1792" y="312"/>
                    </a:lnTo>
                    <a:lnTo>
                      <a:pt x="1840" y="336"/>
                    </a:lnTo>
                    <a:lnTo>
                      <a:pt x="1886" y="362"/>
                    </a:lnTo>
                    <a:lnTo>
                      <a:pt x="1932" y="392"/>
                    </a:lnTo>
                    <a:lnTo>
                      <a:pt x="1976" y="422"/>
                    </a:lnTo>
                    <a:lnTo>
                      <a:pt x="2018" y="456"/>
                    </a:lnTo>
                    <a:lnTo>
                      <a:pt x="2058" y="490"/>
                    </a:lnTo>
                    <a:lnTo>
                      <a:pt x="2096" y="526"/>
                    </a:lnTo>
                    <a:lnTo>
                      <a:pt x="2132" y="566"/>
                    </a:lnTo>
                    <a:lnTo>
                      <a:pt x="2168" y="606"/>
                    </a:lnTo>
                    <a:lnTo>
                      <a:pt x="2200" y="648"/>
                    </a:lnTo>
                    <a:lnTo>
                      <a:pt x="2232" y="692"/>
                    </a:lnTo>
                    <a:lnTo>
                      <a:pt x="2260" y="736"/>
                    </a:lnTo>
                    <a:lnTo>
                      <a:pt x="2288" y="782"/>
                    </a:lnTo>
                    <a:lnTo>
                      <a:pt x="2312" y="830"/>
                    </a:lnTo>
                    <a:lnTo>
                      <a:pt x="2334" y="880"/>
                    </a:lnTo>
                    <a:lnTo>
                      <a:pt x="2354" y="930"/>
                    </a:lnTo>
                    <a:lnTo>
                      <a:pt x="2372" y="982"/>
                    </a:lnTo>
                    <a:lnTo>
                      <a:pt x="2386" y="1034"/>
                    </a:lnTo>
                    <a:lnTo>
                      <a:pt x="2398" y="1088"/>
                    </a:lnTo>
                    <a:lnTo>
                      <a:pt x="2408" y="1142"/>
                    </a:lnTo>
                    <a:lnTo>
                      <a:pt x="2416" y="1198"/>
                    </a:lnTo>
                    <a:lnTo>
                      <a:pt x="2420" y="1254"/>
                    </a:lnTo>
                    <a:lnTo>
                      <a:pt x="2422" y="1312"/>
                    </a:lnTo>
                    <a:lnTo>
                      <a:pt x="2420" y="1368"/>
                    </a:lnTo>
                    <a:lnTo>
                      <a:pt x="2416" y="1424"/>
                    </a:lnTo>
                    <a:lnTo>
                      <a:pt x="2408" y="1480"/>
                    </a:lnTo>
                    <a:lnTo>
                      <a:pt x="2398" y="1534"/>
                    </a:lnTo>
                    <a:lnTo>
                      <a:pt x="2386" y="1588"/>
                    </a:lnTo>
                    <a:lnTo>
                      <a:pt x="2372" y="1642"/>
                    </a:lnTo>
                    <a:lnTo>
                      <a:pt x="2354" y="1692"/>
                    </a:lnTo>
                    <a:lnTo>
                      <a:pt x="2334" y="1744"/>
                    </a:lnTo>
                    <a:lnTo>
                      <a:pt x="2312" y="1792"/>
                    </a:lnTo>
                    <a:lnTo>
                      <a:pt x="2288" y="1840"/>
                    </a:lnTo>
                    <a:lnTo>
                      <a:pt x="2260" y="1886"/>
                    </a:lnTo>
                    <a:lnTo>
                      <a:pt x="2232" y="1932"/>
                    </a:lnTo>
                    <a:lnTo>
                      <a:pt x="2200" y="1976"/>
                    </a:lnTo>
                    <a:lnTo>
                      <a:pt x="2168" y="2018"/>
                    </a:lnTo>
                    <a:lnTo>
                      <a:pt x="2132" y="2058"/>
                    </a:lnTo>
                    <a:lnTo>
                      <a:pt x="2096" y="2096"/>
                    </a:lnTo>
                    <a:lnTo>
                      <a:pt x="2058" y="2132"/>
                    </a:lnTo>
                    <a:lnTo>
                      <a:pt x="2018" y="2168"/>
                    </a:lnTo>
                    <a:lnTo>
                      <a:pt x="1976" y="2200"/>
                    </a:lnTo>
                    <a:lnTo>
                      <a:pt x="1932" y="2232"/>
                    </a:lnTo>
                    <a:lnTo>
                      <a:pt x="1886" y="2260"/>
                    </a:lnTo>
                    <a:lnTo>
                      <a:pt x="1840" y="2286"/>
                    </a:lnTo>
                    <a:lnTo>
                      <a:pt x="1792" y="2312"/>
                    </a:lnTo>
                    <a:lnTo>
                      <a:pt x="1744" y="2334"/>
                    </a:lnTo>
                    <a:lnTo>
                      <a:pt x="1694" y="2354"/>
                    </a:lnTo>
                    <a:lnTo>
                      <a:pt x="1642" y="2370"/>
                    </a:lnTo>
                    <a:lnTo>
                      <a:pt x="1588" y="2386"/>
                    </a:lnTo>
                    <a:lnTo>
                      <a:pt x="1536" y="2398"/>
                    </a:lnTo>
                    <a:lnTo>
                      <a:pt x="1480" y="2408"/>
                    </a:lnTo>
                    <a:lnTo>
                      <a:pt x="1426" y="2416"/>
                    </a:lnTo>
                    <a:lnTo>
                      <a:pt x="1368" y="2420"/>
                    </a:lnTo>
                    <a:lnTo>
                      <a:pt x="1312" y="2420"/>
                    </a:lnTo>
                    <a:close/>
                  </a:path>
                </a:pathLst>
              </a:custGeom>
              <a:solidFill>
                <a:srgbClr val="002060">
                  <a:alpha val="79999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cap="rnd">
                    <a:solidFill>
                      <a:srgbClr val="000000"/>
                    </a:solidFill>
                    <a:prstDash val="sysDot"/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742987" fontAlgn="base" latinLnBrk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zh-CN" altLang="en-US" sz="900" dirty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61" name="Oval 676">
                <a:extLst>
                  <a:ext uri="{FF2B5EF4-FFF2-40B4-BE49-F238E27FC236}">
                    <a16:creationId xmlns:a16="http://schemas.microsoft.com/office/drawing/2014/main" id="{8F932249-4DEF-5C97-2A2A-4986360103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275257">
                <a:off x="1307091" y="2016046"/>
                <a:ext cx="2695575" cy="2693988"/>
              </a:xfrm>
              <a:prstGeom prst="ellipse">
                <a:avLst/>
              </a:prstGeom>
              <a:solidFill>
                <a:srgbClr val="00206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742987" fontAlgn="base" latinLnBrk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900" dirty="0">
                  <a:solidFill>
                    <a:srgbClr val="F5C94F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62" name="Oval 677">
                <a:extLst>
                  <a:ext uri="{FF2B5EF4-FFF2-40B4-BE49-F238E27FC236}">
                    <a16:creationId xmlns:a16="http://schemas.microsoft.com/office/drawing/2014/main" id="{87117A39-372E-8CA7-C2C7-D4C04233A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275257">
                <a:off x="4617028" y="1993821"/>
                <a:ext cx="1801813" cy="1801813"/>
              </a:xfrm>
              <a:prstGeom prst="ellipse">
                <a:avLst/>
              </a:prstGeom>
              <a:solidFill>
                <a:srgbClr val="F5C94F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742987" fontAlgn="base" latinLnBrk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900" dirty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63" name="Freeform 679">
                <a:extLst>
                  <a:ext uri="{FF2B5EF4-FFF2-40B4-BE49-F238E27FC236}">
                    <a16:creationId xmlns:a16="http://schemas.microsoft.com/office/drawing/2014/main" id="{178C75D8-D61C-0D85-11E6-26ADDDD21F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1275257">
                <a:off x="5693353" y="3676571"/>
                <a:ext cx="2303463" cy="2305050"/>
              </a:xfrm>
              <a:custGeom>
                <a:avLst/>
                <a:gdLst>
                  <a:gd name="T0" fmla="*/ 2147483647 w 1816"/>
                  <a:gd name="T1" fmla="*/ 2147483647 h 1816"/>
                  <a:gd name="T2" fmla="*/ 2147483647 w 1816"/>
                  <a:gd name="T3" fmla="*/ 2147483647 h 1816"/>
                  <a:gd name="T4" fmla="*/ 2147483647 w 1816"/>
                  <a:gd name="T5" fmla="*/ 2147483647 h 1816"/>
                  <a:gd name="T6" fmla="*/ 2147483647 w 1816"/>
                  <a:gd name="T7" fmla="*/ 2147483647 h 1816"/>
                  <a:gd name="T8" fmla="*/ 2147483647 w 1816"/>
                  <a:gd name="T9" fmla="*/ 2147483647 h 1816"/>
                  <a:gd name="T10" fmla="*/ 2147483647 w 1816"/>
                  <a:gd name="T11" fmla="*/ 2147483647 h 1816"/>
                  <a:gd name="T12" fmla="*/ 2147483647 w 1816"/>
                  <a:gd name="T13" fmla="*/ 2147483647 h 1816"/>
                  <a:gd name="T14" fmla="*/ 2147483647 w 1816"/>
                  <a:gd name="T15" fmla="*/ 2147483647 h 1816"/>
                  <a:gd name="T16" fmla="*/ 2147483647 w 1816"/>
                  <a:gd name="T17" fmla="*/ 2147483647 h 1816"/>
                  <a:gd name="T18" fmla="*/ 2147483647 w 1816"/>
                  <a:gd name="T19" fmla="*/ 2147483647 h 1816"/>
                  <a:gd name="T20" fmla="*/ 2147483647 w 1816"/>
                  <a:gd name="T21" fmla="*/ 2147483647 h 1816"/>
                  <a:gd name="T22" fmla="*/ 2147483647 w 1816"/>
                  <a:gd name="T23" fmla="*/ 2147483647 h 1816"/>
                  <a:gd name="T24" fmla="*/ 0 w 1816"/>
                  <a:gd name="T25" fmla="*/ 2147483647 h 1816"/>
                  <a:gd name="T26" fmla="*/ 2147483647 w 1816"/>
                  <a:gd name="T27" fmla="*/ 2147483647 h 1816"/>
                  <a:gd name="T28" fmla="*/ 2147483647 w 1816"/>
                  <a:gd name="T29" fmla="*/ 2147483647 h 1816"/>
                  <a:gd name="T30" fmla="*/ 2147483647 w 1816"/>
                  <a:gd name="T31" fmla="*/ 2147483647 h 1816"/>
                  <a:gd name="T32" fmla="*/ 2147483647 w 1816"/>
                  <a:gd name="T33" fmla="*/ 2147483647 h 1816"/>
                  <a:gd name="T34" fmla="*/ 2147483647 w 1816"/>
                  <a:gd name="T35" fmla="*/ 2147483647 h 1816"/>
                  <a:gd name="T36" fmla="*/ 2147483647 w 1816"/>
                  <a:gd name="T37" fmla="*/ 2147483647 h 1816"/>
                  <a:gd name="T38" fmla="*/ 2147483647 w 1816"/>
                  <a:gd name="T39" fmla="*/ 2147483647 h 1816"/>
                  <a:gd name="T40" fmla="*/ 2147483647 w 1816"/>
                  <a:gd name="T41" fmla="*/ 2147483647 h 1816"/>
                  <a:gd name="T42" fmla="*/ 2147483647 w 1816"/>
                  <a:gd name="T43" fmla="*/ 2147483647 h 1816"/>
                  <a:gd name="T44" fmla="*/ 2147483647 w 1816"/>
                  <a:gd name="T45" fmla="*/ 2147483647 h 1816"/>
                  <a:gd name="T46" fmla="*/ 2147483647 w 1816"/>
                  <a:gd name="T47" fmla="*/ 2147483647 h 1816"/>
                  <a:gd name="T48" fmla="*/ 2147483647 w 1816"/>
                  <a:gd name="T49" fmla="*/ 2147483647 h 1816"/>
                  <a:gd name="T50" fmla="*/ 2147483647 w 1816"/>
                  <a:gd name="T51" fmla="*/ 2147483647 h 1816"/>
                  <a:gd name="T52" fmla="*/ 2147483647 w 1816"/>
                  <a:gd name="T53" fmla="*/ 2147483647 h 1816"/>
                  <a:gd name="T54" fmla="*/ 2147483647 w 1816"/>
                  <a:gd name="T55" fmla="*/ 2147483647 h 1816"/>
                  <a:gd name="T56" fmla="*/ 2147483647 w 1816"/>
                  <a:gd name="T57" fmla="*/ 2147483647 h 1816"/>
                  <a:gd name="T58" fmla="*/ 2147483647 w 1816"/>
                  <a:gd name="T59" fmla="*/ 2147483647 h 1816"/>
                  <a:gd name="T60" fmla="*/ 2147483647 w 1816"/>
                  <a:gd name="T61" fmla="*/ 2147483647 h 1816"/>
                  <a:gd name="T62" fmla="*/ 2147483647 w 1816"/>
                  <a:gd name="T63" fmla="*/ 2147483647 h 1816"/>
                  <a:gd name="T64" fmla="*/ 2147483647 w 1816"/>
                  <a:gd name="T65" fmla="*/ 2147483647 h 1816"/>
                  <a:gd name="T66" fmla="*/ 2147483647 w 1816"/>
                  <a:gd name="T67" fmla="*/ 2147483647 h 1816"/>
                  <a:gd name="T68" fmla="*/ 2147483647 w 1816"/>
                  <a:gd name="T69" fmla="*/ 2147483647 h 1816"/>
                  <a:gd name="T70" fmla="*/ 2147483647 w 1816"/>
                  <a:gd name="T71" fmla="*/ 2147483647 h 1816"/>
                  <a:gd name="T72" fmla="*/ 2147483647 w 1816"/>
                  <a:gd name="T73" fmla="*/ 2147483647 h 1816"/>
                  <a:gd name="T74" fmla="*/ 2147483647 w 1816"/>
                  <a:gd name="T75" fmla="*/ 2147483647 h 1816"/>
                  <a:gd name="T76" fmla="*/ 2147483647 w 1816"/>
                  <a:gd name="T77" fmla="*/ 2147483647 h 1816"/>
                  <a:gd name="T78" fmla="*/ 2147483647 w 1816"/>
                  <a:gd name="T79" fmla="*/ 2147483647 h 1816"/>
                  <a:gd name="T80" fmla="*/ 2147483647 w 1816"/>
                  <a:gd name="T81" fmla="*/ 2147483647 h 1816"/>
                  <a:gd name="T82" fmla="*/ 2147483647 w 1816"/>
                  <a:gd name="T83" fmla="*/ 2147483647 h 1816"/>
                  <a:gd name="T84" fmla="*/ 2147483647 w 1816"/>
                  <a:gd name="T85" fmla="*/ 2147483647 h 1816"/>
                  <a:gd name="T86" fmla="*/ 2147483647 w 1816"/>
                  <a:gd name="T87" fmla="*/ 2147483647 h 1816"/>
                  <a:gd name="T88" fmla="*/ 2147483647 w 1816"/>
                  <a:gd name="T89" fmla="*/ 2147483647 h 1816"/>
                  <a:gd name="T90" fmla="*/ 2147483647 w 1816"/>
                  <a:gd name="T91" fmla="*/ 2147483647 h 1816"/>
                  <a:gd name="T92" fmla="*/ 2147483647 w 1816"/>
                  <a:gd name="T93" fmla="*/ 2147483647 h 1816"/>
                  <a:gd name="T94" fmla="*/ 2147483647 w 1816"/>
                  <a:gd name="T95" fmla="*/ 2147483647 h 1816"/>
                  <a:gd name="T96" fmla="*/ 2147483647 w 1816"/>
                  <a:gd name="T97" fmla="*/ 2147483647 h 1816"/>
                  <a:gd name="T98" fmla="*/ 2147483647 w 1816"/>
                  <a:gd name="T99" fmla="*/ 2147483647 h 1816"/>
                  <a:gd name="T100" fmla="*/ 2147483647 w 1816"/>
                  <a:gd name="T101" fmla="*/ 2147483647 h 1816"/>
                  <a:gd name="T102" fmla="*/ 2147483647 w 1816"/>
                  <a:gd name="T103" fmla="*/ 2147483647 h 181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816"/>
                  <a:gd name="T157" fmla="*/ 0 h 1816"/>
                  <a:gd name="T158" fmla="*/ 1816 w 1816"/>
                  <a:gd name="T159" fmla="*/ 1816 h 181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816" h="1816">
                    <a:moveTo>
                      <a:pt x="1816" y="978"/>
                    </a:moveTo>
                    <a:lnTo>
                      <a:pt x="1816" y="836"/>
                    </a:lnTo>
                    <a:lnTo>
                      <a:pt x="1710" y="836"/>
                    </a:lnTo>
                    <a:lnTo>
                      <a:pt x="1706" y="792"/>
                    </a:lnTo>
                    <a:lnTo>
                      <a:pt x="1698" y="750"/>
                    </a:lnTo>
                    <a:lnTo>
                      <a:pt x="1688" y="708"/>
                    </a:lnTo>
                    <a:lnTo>
                      <a:pt x="1678" y="666"/>
                    </a:lnTo>
                    <a:lnTo>
                      <a:pt x="1774" y="626"/>
                    </a:lnTo>
                    <a:lnTo>
                      <a:pt x="1718" y="494"/>
                    </a:lnTo>
                    <a:lnTo>
                      <a:pt x="1622" y="534"/>
                    </a:lnTo>
                    <a:lnTo>
                      <a:pt x="1602" y="496"/>
                    </a:lnTo>
                    <a:lnTo>
                      <a:pt x="1578" y="460"/>
                    </a:lnTo>
                    <a:lnTo>
                      <a:pt x="1552" y="424"/>
                    </a:lnTo>
                    <a:lnTo>
                      <a:pt x="1526" y="390"/>
                    </a:lnTo>
                    <a:lnTo>
                      <a:pt x="1600" y="316"/>
                    </a:lnTo>
                    <a:lnTo>
                      <a:pt x="1498" y="216"/>
                    </a:lnTo>
                    <a:lnTo>
                      <a:pt x="1426" y="290"/>
                    </a:lnTo>
                    <a:lnTo>
                      <a:pt x="1392" y="262"/>
                    </a:lnTo>
                    <a:lnTo>
                      <a:pt x="1356" y="236"/>
                    </a:lnTo>
                    <a:lnTo>
                      <a:pt x="1318" y="214"/>
                    </a:lnTo>
                    <a:lnTo>
                      <a:pt x="1280" y="192"/>
                    </a:lnTo>
                    <a:lnTo>
                      <a:pt x="1320" y="96"/>
                    </a:lnTo>
                    <a:lnTo>
                      <a:pt x="1188" y="42"/>
                    </a:lnTo>
                    <a:lnTo>
                      <a:pt x="1150" y="138"/>
                    </a:lnTo>
                    <a:lnTo>
                      <a:pt x="1108" y="126"/>
                    </a:lnTo>
                    <a:lnTo>
                      <a:pt x="1066" y="116"/>
                    </a:lnTo>
                    <a:lnTo>
                      <a:pt x="1022" y="110"/>
                    </a:lnTo>
                    <a:lnTo>
                      <a:pt x="978" y="104"/>
                    </a:lnTo>
                    <a:lnTo>
                      <a:pt x="978" y="0"/>
                    </a:lnTo>
                    <a:lnTo>
                      <a:pt x="836" y="0"/>
                    </a:lnTo>
                    <a:lnTo>
                      <a:pt x="836" y="104"/>
                    </a:lnTo>
                    <a:lnTo>
                      <a:pt x="792" y="110"/>
                    </a:lnTo>
                    <a:lnTo>
                      <a:pt x="750" y="116"/>
                    </a:lnTo>
                    <a:lnTo>
                      <a:pt x="706" y="126"/>
                    </a:lnTo>
                    <a:lnTo>
                      <a:pt x="666" y="138"/>
                    </a:lnTo>
                    <a:lnTo>
                      <a:pt x="626" y="42"/>
                    </a:lnTo>
                    <a:lnTo>
                      <a:pt x="494" y="96"/>
                    </a:lnTo>
                    <a:lnTo>
                      <a:pt x="534" y="192"/>
                    </a:lnTo>
                    <a:lnTo>
                      <a:pt x="496" y="214"/>
                    </a:lnTo>
                    <a:lnTo>
                      <a:pt x="460" y="236"/>
                    </a:lnTo>
                    <a:lnTo>
                      <a:pt x="424" y="262"/>
                    </a:lnTo>
                    <a:lnTo>
                      <a:pt x="390" y="290"/>
                    </a:lnTo>
                    <a:lnTo>
                      <a:pt x="316" y="216"/>
                    </a:lnTo>
                    <a:lnTo>
                      <a:pt x="216" y="316"/>
                    </a:lnTo>
                    <a:lnTo>
                      <a:pt x="288" y="390"/>
                    </a:lnTo>
                    <a:lnTo>
                      <a:pt x="262" y="424"/>
                    </a:lnTo>
                    <a:lnTo>
                      <a:pt x="236" y="460"/>
                    </a:lnTo>
                    <a:lnTo>
                      <a:pt x="214" y="496"/>
                    </a:lnTo>
                    <a:lnTo>
                      <a:pt x="192" y="534"/>
                    </a:lnTo>
                    <a:lnTo>
                      <a:pt x="96" y="494"/>
                    </a:lnTo>
                    <a:lnTo>
                      <a:pt x="42" y="626"/>
                    </a:lnTo>
                    <a:lnTo>
                      <a:pt x="138" y="666"/>
                    </a:lnTo>
                    <a:lnTo>
                      <a:pt x="126" y="708"/>
                    </a:lnTo>
                    <a:lnTo>
                      <a:pt x="116" y="750"/>
                    </a:lnTo>
                    <a:lnTo>
                      <a:pt x="108" y="792"/>
                    </a:lnTo>
                    <a:lnTo>
                      <a:pt x="104" y="836"/>
                    </a:lnTo>
                    <a:lnTo>
                      <a:pt x="0" y="836"/>
                    </a:lnTo>
                    <a:lnTo>
                      <a:pt x="0" y="978"/>
                    </a:lnTo>
                    <a:lnTo>
                      <a:pt x="104" y="978"/>
                    </a:lnTo>
                    <a:lnTo>
                      <a:pt x="108" y="1022"/>
                    </a:lnTo>
                    <a:lnTo>
                      <a:pt x="116" y="1066"/>
                    </a:lnTo>
                    <a:lnTo>
                      <a:pt x="126" y="1108"/>
                    </a:lnTo>
                    <a:lnTo>
                      <a:pt x="138" y="1150"/>
                    </a:lnTo>
                    <a:lnTo>
                      <a:pt x="42" y="1190"/>
                    </a:lnTo>
                    <a:lnTo>
                      <a:pt x="96" y="1320"/>
                    </a:lnTo>
                    <a:lnTo>
                      <a:pt x="192" y="1280"/>
                    </a:lnTo>
                    <a:lnTo>
                      <a:pt x="214" y="1320"/>
                    </a:lnTo>
                    <a:lnTo>
                      <a:pt x="236" y="1356"/>
                    </a:lnTo>
                    <a:lnTo>
                      <a:pt x="262" y="1392"/>
                    </a:lnTo>
                    <a:lnTo>
                      <a:pt x="288" y="1426"/>
                    </a:lnTo>
                    <a:lnTo>
                      <a:pt x="216" y="1500"/>
                    </a:lnTo>
                    <a:lnTo>
                      <a:pt x="316" y="1600"/>
                    </a:lnTo>
                    <a:lnTo>
                      <a:pt x="390" y="1526"/>
                    </a:lnTo>
                    <a:lnTo>
                      <a:pt x="424" y="1554"/>
                    </a:lnTo>
                    <a:lnTo>
                      <a:pt x="460" y="1578"/>
                    </a:lnTo>
                    <a:lnTo>
                      <a:pt x="496" y="1602"/>
                    </a:lnTo>
                    <a:lnTo>
                      <a:pt x="534" y="1622"/>
                    </a:lnTo>
                    <a:lnTo>
                      <a:pt x="494" y="1718"/>
                    </a:lnTo>
                    <a:lnTo>
                      <a:pt x="626" y="1774"/>
                    </a:lnTo>
                    <a:lnTo>
                      <a:pt x="666" y="1678"/>
                    </a:lnTo>
                    <a:lnTo>
                      <a:pt x="706" y="1690"/>
                    </a:lnTo>
                    <a:lnTo>
                      <a:pt x="750" y="1698"/>
                    </a:lnTo>
                    <a:lnTo>
                      <a:pt x="792" y="1706"/>
                    </a:lnTo>
                    <a:lnTo>
                      <a:pt x="836" y="1712"/>
                    </a:lnTo>
                    <a:lnTo>
                      <a:pt x="836" y="1816"/>
                    </a:lnTo>
                    <a:lnTo>
                      <a:pt x="978" y="1816"/>
                    </a:lnTo>
                    <a:lnTo>
                      <a:pt x="978" y="1712"/>
                    </a:lnTo>
                    <a:lnTo>
                      <a:pt x="1022" y="1706"/>
                    </a:lnTo>
                    <a:lnTo>
                      <a:pt x="1066" y="1698"/>
                    </a:lnTo>
                    <a:lnTo>
                      <a:pt x="1108" y="1690"/>
                    </a:lnTo>
                    <a:lnTo>
                      <a:pt x="1150" y="1678"/>
                    </a:lnTo>
                    <a:lnTo>
                      <a:pt x="1188" y="1774"/>
                    </a:lnTo>
                    <a:lnTo>
                      <a:pt x="1320" y="1718"/>
                    </a:lnTo>
                    <a:lnTo>
                      <a:pt x="1280" y="1622"/>
                    </a:lnTo>
                    <a:lnTo>
                      <a:pt x="1318" y="1602"/>
                    </a:lnTo>
                    <a:lnTo>
                      <a:pt x="1356" y="1578"/>
                    </a:lnTo>
                    <a:lnTo>
                      <a:pt x="1392" y="1554"/>
                    </a:lnTo>
                    <a:lnTo>
                      <a:pt x="1426" y="1526"/>
                    </a:lnTo>
                    <a:lnTo>
                      <a:pt x="1498" y="1600"/>
                    </a:lnTo>
                    <a:lnTo>
                      <a:pt x="1600" y="1500"/>
                    </a:lnTo>
                    <a:lnTo>
                      <a:pt x="1526" y="1426"/>
                    </a:lnTo>
                    <a:lnTo>
                      <a:pt x="1552" y="1392"/>
                    </a:lnTo>
                    <a:lnTo>
                      <a:pt x="1578" y="1356"/>
                    </a:lnTo>
                    <a:lnTo>
                      <a:pt x="1602" y="1320"/>
                    </a:lnTo>
                    <a:lnTo>
                      <a:pt x="1622" y="1280"/>
                    </a:lnTo>
                    <a:lnTo>
                      <a:pt x="1718" y="1320"/>
                    </a:lnTo>
                    <a:lnTo>
                      <a:pt x="1774" y="1190"/>
                    </a:lnTo>
                    <a:lnTo>
                      <a:pt x="1678" y="1150"/>
                    </a:lnTo>
                    <a:lnTo>
                      <a:pt x="1688" y="1108"/>
                    </a:lnTo>
                    <a:lnTo>
                      <a:pt x="1698" y="1066"/>
                    </a:lnTo>
                    <a:lnTo>
                      <a:pt x="1706" y="1022"/>
                    </a:lnTo>
                    <a:lnTo>
                      <a:pt x="1710" y="978"/>
                    </a:lnTo>
                    <a:lnTo>
                      <a:pt x="1816" y="978"/>
                    </a:lnTo>
                    <a:close/>
                    <a:moveTo>
                      <a:pt x="908" y="1614"/>
                    </a:moveTo>
                    <a:lnTo>
                      <a:pt x="908" y="1614"/>
                    </a:lnTo>
                    <a:lnTo>
                      <a:pt x="872" y="1612"/>
                    </a:lnTo>
                    <a:lnTo>
                      <a:pt x="836" y="1610"/>
                    </a:lnTo>
                    <a:lnTo>
                      <a:pt x="800" y="1606"/>
                    </a:lnTo>
                    <a:lnTo>
                      <a:pt x="766" y="1600"/>
                    </a:lnTo>
                    <a:lnTo>
                      <a:pt x="730" y="1592"/>
                    </a:lnTo>
                    <a:lnTo>
                      <a:pt x="698" y="1582"/>
                    </a:lnTo>
                    <a:lnTo>
                      <a:pt x="664" y="1570"/>
                    </a:lnTo>
                    <a:lnTo>
                      <a:pt x="632" y="1558"/>
                    </a:lnTo>
                    <a:lnTo>
                      <a:pt x="602" y="1544"/>
                    </a:lnTo>
                    <a:lnTo>
                      <a:pt x="570" y="1528"/>
                    </a:lnTo>
                    <a:lnTo>
                      <a:pt x="542" y="1512"/>
                    </a:lnTo>
                    <a:lnTo>
                      <a:pt x="512" y="1492"/>
                    </a:lnTo>
                    <a:lnTo>
                      <a:pt x="484" y="1474"/>
                    </a:lnTo>
                    <a:lnTo>
                      <a:pt x="458" y="1452"/>
                    </a:lnTo>
                    <a:lnTo>
                      <a:pt x="432" y="1430"/>
                    </a:lnTo>
                    <a:lnTo>
                      <a:pt x="408" y="1406"/>
                    </a:lnTo>
                    <a:lnTo>
                      <a:pt x="384" y="1382"/>
                    </a:lnTo>
                    <a:lnTo>
                      <a:pt x="362" y="1356"/>
                    </a:lnTo>
                    <a:lnTo>
                      <a:pt x="342" y="1330"/>
                    </a:lnTo>
                    <a:lnTo>
                      <a:pt x="322" y="1302"/>
                    </a:lnTo>
                    <a:lnTo>
                      <a:pt x="304" y="1274"/>
                    </a:lnTo>
                    <a:lnTo>
                      <a:pt x="286" y="1244"/>
                    </a:lnTo>
                    <a:lnTo>
                      <a:pt x="272" y="1214"/>
                    </a:lnTo>
                    <a:lnTo>
                      <a:pt x="256" y="1182"/>
                    </a:lnTo>
                    <a:lnTo>
                      <a:pt x="244" y="1150"/>
                    </a:lnTo>
                    <a:lnTo>
                      <a:pt x="234" y="1118"/>
                    </a:lnTo>
                    <a:lnTo>
                      <a:pt x="224" y="1084"/>
                    </a:lnTo>
                    <a:lnTo>
                      <a:pt x="216" y="1050"/>
                    </a:lnTo>
                    <a:lnTo>
                      <a:pt x="210" y="1016"/>
                    </a:lnTo>
                    <a:lnTo>
                      <a:pt x="206" y="980"/>
                    </a:lnTo>
                    <a:lnTo>
                      <a:pt x="202" y="944"/>
                    </a:lnTo>
                    <a:lnTo>
                      <a:pt x="202" y="908"/>
                    </a:lnTo>
                    <a:lnTo>
                      <a:pt x="202" y="872"/>
                    </a:lnTo>
                    <a:lnTo>
                      <a:pt x="206" y="836"/>
                    </a:lnTo>
                    <a:lnTo>
                      <a:pt x="210" y="800"/>
                    </a:lnTo>
                    <a:lnTo>
                      <a:pt x="216" y="766"/>
                    </a:lnTo>
                    <a:lnTo>
                      <a:pt x="224" y="732"/>
                    </a:lnTo>
                    <a:lnTo>
                      <a:pt x="234" y="698"/>
                    </a:lnTo>
                    <a:lnTo>
                      <a:pt x="244" y="664"/>
                    </a:lnTo>
                    <a:lnTo>
                      <a:pt x="256" y="632"/>
                    </a:lnTo>
                    <a:lnTo>
                      <a:pt x="272" y="602"/>
                    </a:lnTo>
                    <a:lnTo>
                      <a:pt x="286" y="572"/>
                    </a:lnTo>
                    <a:lnTo>
                      <a:pt x="304" y="542"/>
                    </a:lnTo>
                    <a:lnTo>
                      <a:pt x="322" y="512"/>
                    </a:lnTo>
                    <a:lnTo>
                      <a:pt x="342" y="486"/>
                    </a:lnTo>
                    <a:lnTo>
                      <a:pt x="362" y="458"/>
                    </a:lnTo>
                    <a:lnTo>
                      <a:pt x="384" y="432"/>
                    </a:lnTo>
                    <a:lnTo>
                      <a:pt x="408" y="408"/>
                    </a:lnTo>
                    <a:lnTo>
                      <a:pt x="432" y="386"/>
                    </a:lnTo>
                    <a:lnTo>
                      <a:pt x="458" y="362"/>
                    </a:lnTo>
                    <a:lnTo>
                      <a:pt x="484" y="342"/>
                    </a:lnTo>
                    <a:lnTo>
                      <a:pt x="512" y="322"/>
                    </a:lnTo>
                    <a:lnTo>
                      <a:pt x="542" y="304"/>
                    </a:lnTo>
                    <a:lnTo>
                      <a:pt x="570" y="286"/>
                    </a:lnTo>
                    <a:lnTo>
                      <a:pt x="602" y="272"/>
                    </a:lnTo>
                    <a:lnTo>
                      <a:pt x="632" y="258"/>
                    </a:lnTo>
                    <a:lnTo>
                      <a:pt x="664" y="244"/>
                    </a:lnTo>
                    <a:lnTo>
                      <a:pt x="698" y="234"/>
                    </a:lnTo>
                    <a:lnTo>
                      <a:pt x="730" y="224"/>
                    </a:lnTo>
                    <a:lnTo>
                      <a:pt x="766" y="216"/>
                    </a:lnTo>
                    <a:lnTo>
                      <a:pt x="800" y="210"/>
                    </a:lnTo>
                    <a:lnTo>
                      <a:pt x="836" y="206"/>
                    </a:lnTo>
                    <a:lnTo>
                      <a:pt x="872" y="202"/>
                    </a:lnTo>
                    <a:lnTo>
                      <a:pt x="908" y="202"/>
                    </a:lnTo>
                    <a:lnTo>
                      <a:pt x="944" y="202"/>
                    </a:lnTo>
                    <a:lnTo>
                      <a:pt x="980" y="206"/>
                    </a:lnTo>
                    <a:lnTo>
                      <a:pt x="1014" y="210"/>
                    </a:lnTo>
                    <a:lnTo>
                      <a:pt x="1050" y="216"/>
                    </a:lnTo>
                    <a:lnTo>
                      <a:pt x="1084" y="224"/>
                    </a:lnTo>
                    <a:lnTo>
                      <a:pt x="1118" y="234"/>
                    </a:lnTo>
                    <a:lnTo>
                      <a:pt x="1150" y="244"/>
                    </a:lnTo>
                    <a:lnTo>
                      <a:pt x="1182" y="258"/>
                    </a:lnTo>
                    <a:lnTo>
                      <a:pt x="1214" y="272"/>
                    </a:lnTo>
                    <a:lnTo>
                      <a:pt x="1244" y="286"/>
                    </a:lnTo>
                    <a:lnTo>
                      <a:pt x="1274" y="304"/>
                    </a:lnTo>
                    <a:lnTo>
                      <a:pt x="1302" y="322"/>
                    </a:lnTo>
                    <a:lnTo>
                      <a:pt x="1330" y="342"/>
                    </a:lnTo>
                    <a:lnTo>
                      <a:pt x="1356" y="362"/>
                    </a:lnTo>
                    <a:lnTo>
                      <a:pt x="1382" y="386"/>
                    </a:lnTo>
                    <a:lnTo>
                      <a:pt x="1406" y="408"/>
                    </a:lnTo>
                    <a:lnTo>
                      <a:pt x="1430" y="432"/>
                    </a:lnTo>
                    <a:lnTo>
                      <a:pt x="1452" y="458"/>
                    </a:lnTo>
                    <a:lnTo>
                      <a:pt x="1474" y="486"/>
                    </a:lnTo>
                    <a:lnTo>
                      <a:pt x="1492" y="512"/>
                    </a:lnTo>
                    <a:lnTo>
                      <a:pt x="1512" y="542"/>
                    </a:lnTo>
                    <a:lnTo>
                      <a:pt x="1528" y="572"/>
                    </a:lnTo>
                    <a:lnTo>
                      <a:pt x="1544" y="602"/>
                    </a:lnTo>
                    <a:lnTo>
                      <a:pt x="1558" y="632"/>
                    </a:lnTo>
                    <a:lnTo>
                      <a:pt x="1570" y="664"/>
                    </a:lnTo>
                    <a:lnTo>
                      <a:pt x="1582" y="698"/>
                    </a:lnTo>
                    <a:lnTo>
                      <a:pt x="1592" y="732"/>
                    </a:lnTo>
                    <a:lnTo>
                      <a:pt x="1598" y="766"/>
                    </a:lnTo>
                    <a:lnTo>
                      <a:pt x="1606" y="800"/>
                    </a:lnTo>
                    <a:lnTo>
                      <a:pt x="1610" y="836"/>
                    </a:lnTo>
                    <a:lnTo>
                      <a:pt x="1612" y="872"/>
                    </a:lnTo>
                    <a:lnTo>
                      <a:pt x="1614" y="908"/>
                    </a:lnTo>
                    <a:lnTo>
                      <a:pt x="1612" y="944"/>
                    </a:lnTo>
                    <a:lnTo>
                      <a:pt x="1610" y="980"/>
                    </a:lnTo>
                    <a:lnTo>
                      <a:pt x="1606" y="1016"/>
                    </a:lnTo>
                    <a:lnTo>
                      <a:pt x="1598" y="1050"/>
                    </a:lnTo>
                    <a:lnTo>
                      <a:pt x="1592" y="1084"/>
                    </a:lnTo>
                    <a:lnTo>
                      <a:pt x="1582" y="1118"/>
                    </a:lnTo>
                    <a:lnTo>
                      <a:pt x="1570" y="1150"/>
                    </a:lnTo>
                    <a:lnTo>
                      <a:pt x="1558" y="1182"/>
                    </a:lnTo>
                    <a:lnTo>
                      <a:pt x="1544" y="1214"/>
                    </a:lnTo>
                    <a:lnTo>
                      <a:pt x="1528" y="1244"/>
                    </a:lnTo>
                    <a:lnTo>
                      <a:pt x="1512" y="1274"/>
                    </a:lnTo>
                    <a:lnTo>
                      <a:pt x="1492" y="1302"/>
                    </a:lnTo>
                    <a:lnTo>
                      <a:pt x="1474" y="1330"/>
                    </a:lnTo>
                    <a:lnTo>
                      <a:pt x="1452" y="1356"/>
                    </a:lnTo>
                    <a:lnTo>
                      <a:pt x="1430" y="1382"/>
                    </a:lnTo>
                    <a:lnTo>
                      <a:pt x="1406" y="1406"/>
                    </a:lnTo>
                    <a:lnTo>
                      <a:pt x="1382" y="1430"/>
                    </a:lnTo>
                    <a:lnTo>
                      <a:pt x="1356" y="1452"/>
                    </a:lnTo>
                    <a:lnTo>
                      <a:pt x="1330" y="1474"/>
                    </a:lnTo>
                    <a:lnTo>
                      <a:pt x="1302" y="1492"/>
                    </a:lnTo>
                    <a:lnTo>
                      <a:pt x="1274" y="1512"/>
                    </a:lnTo>
                    <a:lnTo>
                      <a:pt x="1244" y="1528"/>
                    </a:lnTo>
                    <a:lnTo>
                      <a:pt x="1214" y="1544"/>
                    </a:lnTo>
                    <a:lnTo>
                      <a:pt x="1182" y="1558"/>
                    </a:lnTo>
                    <a:lnTo>
                      <a:pt x="1150" y="1570"/>
                    </a:lnTo>
                    <a:lnTo>
                      <a:pt x="1118" y="1582"/>
                    </a:lnTo>
                    <a:lnTo>
                      <a:pt x="1084" y="1592"/>
                    </a:lnTo>
                    <a:lnTo>
                      <a:pt x="1050" y="1600"/>
                    </a:lnTo>
                    <a:lnTo>
                      <a:pt x="1014" y="1606"/>
                    </a:lnTo>
                    <a:lnTo>
                      <a:pt x="980" y="1610"/>
                    </a:lnTo>
                    <a:lnTo>
                      <a:pt x="944" y="1612"/>
                    </a:lnTo>
                    <a:lnTo>
                      <a:pt x="908" y="1614"/>
                    </a:lnTo>
                    <a:close/>
                  </a:path>
                </a:pathLst>
              </a:custGeom>
              <a:solidFill>
                <a:srgbClr val="002060">
                  <a:alpha val="79999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cap="rnd">
                    <a:solidFill>
                      <a:srgbClr val="000000"/>
                    </a:solidFill>
                    <a:prstDash val="sysDot"/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742987" fontAlgn="base" latinLnBrk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zh-CN" altLang="en-US" sz="900" dirty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193" name="Oval 680">
                <a:extLst>
                  <a:ext uri="{FF2B5EF4-FFF2-40B4-BE49-F238E27FC236}">
                    <a16:creationId xmlns:a16="http://schemas.microsoft.com/office/drawing/2014/main" id="{E6CC2F21-1883-5811-9D8D-22431B4014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275257">
                <a:off x="6055303" y="4040109"/>
                <a:ext cx="1577975" cy="157797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742987" fontAlgn="base" latinLnBrk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90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194" name="Arc 681">
                <a:extLst>
                  <a:ext uri="{FF2B5EF4-FFF2-40B4-BE49-F238E27FC236}">
                    <a16:creationId xmlns:a16="http://schemas.microsoft.com/office/drawing/2014/main" id="{14DE1D98-5F4D-4585-5916-D58FC7FDD536}"/>
                  </a:ext>
                </a:extLst>
              </p:cNvPr>
              <p:cNvSpPr>
                <a:spLocks/>
              </p:cNvSpPr>
              <p:nvPr/>
            </p:nvSpPr>
            <p:spPr bwMode="auto">
              <a:xfrm rot="7501686">
                <a:off x="4141572" y="3609103"/>
                <a:ext cx="1906587" cy="1549400"/>
              </a:xfrm>
              <a:custGeom>
                <a:avLst/>
                <a:gdLst>
                  <a:gd name="T0" fmla="*/ 2147483647 w 21600"/>
                  <a:gd name="T1" fmla="*/ 0 h 15695"/>
                  <a:gd name="T2" fmla="*/ 2147483647 w 21600"/>
                  <a:gd name="T3" fmla="*/ 2147483647 h 15695"/>
                  <a:gd name="T4" fmla="*/ 0 w 21600"/>
                  <a:gd name="T5" fmla="*/ 2147483647 h 15695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5695"/>
                  <a:gd name="T11" fmla="*/ 21600 w 21600"/>
                  <a:gd name="T12" fmla="*/ 15695 h 1569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5695" fill="none" extrusionOk="0">
                    <a:moveTo>
                      <a:pt x="14840" y="-1"/>
                    </a:moveTo>
                    <a:cubicBezTo>
                      <a:pt x="19155" y="4079"/>
                      <a:pt x="21600" y="9756"/>
                      <a:pt x="21600" y="15695"/>
                    </a:cubicBezTo>
                  </a:path>
                  <a:path w="21600" h="15695" stroke="0" extrusionOk="0">
                    <a:moveTo>
                      <a:pt x="14840" y="-1"/>
                    </a:moveTo>
                    <a:cubicBezTo>
                      <a:pt x="19155" y="4079"/>
                      <a:pt x="21600" y="9756"/>
                      <a:pt x="21600" y="15695"/>
                    </a:cubicBezTo>
                    <a:lnTo>
                      <a:pt x="0" y="15695"/>
                    </a:lnTo>
                    <a:lnTo>
                      <a:pt x="14840" y="-1"/>
                    </a:lnTo>
                    <a:close/>
                  </a:path>
                </a:pathLst>
              </a:custGeom>
              <a:noFill/>
              <a:ln w="38100">
                <a:solidFill>
                  <a:schemeClr val="tx1"/>
                </a:solidFill>
                <a:prstDash val="sysDot"/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defTabSz="742968" fontAlgn="base" latinLnBrk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zh-CN" altLang="en-US" sz="900" kern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195" name="Arc 683">
                <a:extLst>
                  <a:ext uri="{FF2B5EF4-FFF2-40B4-BE49-F238E27FC236}">
                    <a16:creationId xmlns:a16="http://schemas.microsoft.com/office/drawing/2014/main" id="{AFF0C2E8-1CB2-20F4-C4AB-057DC64E3E04}"/>
                  </a:ext>
                </a:extLst>
              </p:cNvPr>
              <p:cNvSpPr>
                <a:spLocks/>
              </p:cNvSpPr>
              <p:nvPr/>
            </p:nvSpPr>
            <p:spPr bwMode="auto">
              <a:xfrm rot="256945">
                <a:off x="7018916" y="2744709"/>
                <a:ext cx="620712" cy="898525"/>
              </a:xfrm>
              <a:custGeom>
                <a:avLst/>
                <a:gdLst>
                  <a:gd name="T0" fmla="*/ 2147483647 w 21600"/>
                  <a:gd name="T1" fmla="*/ 0 h 31203"/>
                  <a:gd name="T2" fmla="*/ 2147483647 w 21600"/>
                  <a:gd name="T3" fmla="*/ 2147483647 h 31203"/>
                  <a:gd name="T4" fmla="*/ 0 w 21600"/>
                  <a:gd name="T5" fmla="*/ 2147483647 h 31203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31203"/>
                  <a:gd name="T11" fmla="*/ 21600 w 21600"/>
                  <a:gd name="T12" fmla="*/ 31203 h 3120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31203" fill="none" extrusionOk="0">
                    <a:moveTo>
                      <a:pt x="3237" y="-1"/>
                    </a:moveTo>
                    <a:cubicBezTo>
                      <a:pt x="13795" y="1600"/>
                      <a:pt x="21600" y="10676"/>
                      <a:pt x="21600" y="21356"/>
                    </a:cubicBezTo>
                    <a:cubicBezTo>
                      <a:pt x="21600" y="24780"/>
                      <a:pt x="20785" y="28155"/>
                      <a:pt x="19224" y="31202"/>
                    </a:cubicBezTo>
                  </a:path>
                  <a:path w="21600" h="31203" stroke="0" extrusionOk="0">
                    <a:moveTo>
                      <a:pt x="3237" y="-1"/>
                    </a:moveTo>
                    <a:cubicBezTo>
                      <a:pt x="13795" y="1600"/>
                      <a:pt x="21600" y="10676"/>
                      <a:pt x="21600" y="21356"/>
                    </a:cubicBezTo>
                    <a:cubicBezTo>
                      <a:pt x="21600" y="24780"/>
                      <a:pt x="20785" y="28155"/>
                      <a:pt x="19224" y="31202"/>
                    </a:cubicBezTo>
                    <a:lnTo>
                      <a:pt x="0" y="21356"/>
                    </a:lnTo>
                    <a:lnTo>
                      <a:pt x="3237" y="-1"/>
                    </a:lnTo>
                    <a:close/>
                  </a:path>
                </a:pathLst>
              </a:custGeom>
              <a:noFill/>
              <a:ln w="38100">
                <a:solidFill>
                  <a:schemeClr val="tx1"/>
                </a:solidFill>
                <a:prstDash val="sysDot"/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defTabSz="742968" fontAlgn="base" latinLnBrk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zh-CN" altLang="en-US" sz="900" kern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280F07F-D995-F258-6D47-1CB67EB183DA}"/>
                </a:ext>
              </a:extLst>
            </p:cNvPr>
            <p:cNvSpPr txBox="1"/>
            <p:nvPr/>
          </p:nvSpPr>
          <p:spPr>
            <a:xfrm>
              <a:off x="2931896" y="2412503"/>
              <a:ext cx="1242240" cy="5281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87">
                <a:defRPr/>
              </a:pPr>
              <a:r>
                <a:rPr lang="en-US" b="1" dirty="0">
                  <a:solidFill>
                    <a:srgbClr val="F5C94F"/>
                  </a:solidFill>
                  <a:latin typeface="Century Gothic" charset="0"/>
                  <a:ea typeface="Century Gothic" charset="0"/>
                  <a:cs typeface="Century Gothic" charset="0"/>
                </a:rPr>
                <a:t>LPJK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207C191-BDAE-E667-A149-95039DBA6740}"/>
                </a:ext>
              </a:extLst>
            </p:cNvPr>
            <p:cNvSpPr txBox="1"/>
            <p:nvPr/>
          </p:nvSpPr>
          <p:spPr>
            <a:xfrm>
              <a:off x="4773758" y="2281829"/>
              <a:ext cx="1061465" cy="308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2987">
                <a:defRPr/>
              </a:pPr>
              <a:r>
                <a:rPr lang="en-US" sz="800" b="1" dirty="0">
                  <a:solidFill>
                    <a:srgbClr val="4472C4">
                      <a:lumMod val="75000"/>
                    </a:srgbClr>
                  </a:solidFill>
                  <a:latin typeface="Century Gothic" charset="0"/>
                  <a:ea typeface="Century Gothic" charset="0"/>
                  <a:cs typeface="Century Gothic" charset="0"/>
                </a:rPr>
                <a:t>SINERGITAS</a:t>
              </a:r>
            </a:p>
          </p:txBody>
        </p:sp>
        <p:sp>
          <p:nvSpPr>
            <p:cNvPr id="57" name="Freeform 256">
              <a:extLst>
                <a:ext uri="{FF2B5EF4-FFF2-40B4-BE49-F238E27FC236}">
                  <a16:creationId xmlns:a16="http://schemas.microsoft.com/office/drawing/2014/main" id="{7DD76BC3-A270-372C-C3FB-F84F937C0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6721" y="3450070"/>
              <a:ext cx="360621" cy="340399"/>
            </a:xfrm>
            <a:custGeom>
              <a:avLst/>
              <a:gdLst>
                <a:gd name="T0" fmla="*/ 42 w 45"/>
                <a:gd name="T1" fmla="*/ 32 h 43"/>
                <a:gd name="T2" fmla="*/ 39 w 45"/>
                <a:gd name="T3" fmla="*/ 29 h 43"/>
                <a:gd name="T4" fmla="*/ 36 w 45"/>
                <a:gd name="T5" fmla="*/ 32 h 43"/>
                <a:gd name="T6" fmla="*/ 42 w 45"/>
                <a:gd name="T7" fmla="*/ 37 h 43"/>
                <a:gd name="T8" fmla="*/ 43 w 45"/>
                <a:gd name="T9" fmla="*/ 39 h 43"/>
                <a:gd name="T10" fmla="*/ 39 w 45"/>
                <a:gd name="T11" fmla="*/ 43 h 43"/>
                <a:gd name="T12" fmla="*/ 38 w 45"/>
                <a:gd name="T13" fmla="*/ 42 h 43"/>
                <a:gd name="T14" fmla="*/ 20 w 45"/>
                <a:gd name="T15" fmla="*/ 24 h 43"/>
                <a:gd name="T16" fmla="*/ 10 w 45"/>
                <a:gd name="T17" fmla="*/ 27 h 43"/>
                <a:gd name="T18" fmla="*/ 0 w 45"/>
                <a:gd name="T19" fmla="*/ 17 h 43"/>
                <a:gd name="T20" fmla="*/ 18 w 45"/>
                <a:gd name="T21" fmla="*/ 0 h 43"/>
                <a:gd name="T22" fmla="*/ 27 w 45"/>
                <a:gd name="T23" fmla="*/ 10 h 43"/>
                <a:gd name="T24" fmla="*/ 24 w 45"/>
                <a:gd name="T25" fmla="*/ 20 h 43"/>
                <a:gd name="T26" fmla="*/ 33 w 45"/>
                <a:gd name="T27" fmla="*/ 29 h 43"/>
                <a:gd name="T28" fmla="*/ 36 w 45"/>
                <a:gd name="T29" fmla="*/ 26 h 43"/>
                <a:gd name="T30" fmla="*/ 33 w 45"/>
                <a:gd name="T31" fmla="*/ 23 h 43"/>
                <a:gd name="T32" fmla="*/ 36 w 45"/>
                <a:gd name="T33" fmla="*/ 20 h 43"/>
                <a:gd name="T34" fmla="*/ 37 w 45"/>
                <a:gd name="T35" fmla="*/ 20 h 43"/>
                <a:gd name="T36" fmla="*/ 45 w 45"/>
                <a:gd name="T37" fmla="*/ 29 h 43"/>
                <a:gd name="T38" fmla="*/ 42 w 45"/>
                <a:gd name="T39" fmla="*/ 32 h 43"/>
                <a:gd name="T40" fmla="*/ 17 w 45"/>
                <a:gd name="T41" fmla="*/ 5 h 43"/>
                <a:gd name="T42" fmla="*/ 12 w 45"/>
                <a:gd name="T43" fmla="*/ 10 h 43"/>
                <a:gd name="T44" fmla="*/ 12 w 45"/>
                <a:gd name="T45" fmla="*/ 12 h 43"/>
                <a:gd name="T46" fmla="*/ 10 w 45"/>
                <a:gd name="T47" fmla="*/ 12 h 43"/>
                <a:gd name="T48" fmla="*/ 5 w 45"/>
                <a:gd name="T49" fmla="*/ 17 h 43"/>
                <a:gd name="T50" fmla="*/ 10 w 45"/>
                <a:gd name="T51" fmla="*/ 22 h 43"/>
                <a:gd name="T52" fmla="*/ 15 w 45"/>
                <a:gd name="T53" fmla="*/ 17 h 43"/>
                <a:gd name="T54" fmla="*/ 15 w 45"/>
                <a:gd name="T55" fmla="*/ 15 h 43"/>
                <a:gd name="T56" fmla="*/ 17 w 45"/>
                <a:gd name="T57" fmla="*/ 15 h 43"/>
                <a:gd name="T58" fmla="*/ 22 w 45"/>
                <a:gd name="T59" fmla="*/ 10 h 43"/>
                <a:gd name="T60" fmla="*/ 17 w 45"/>
                <a:gd name="T61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5" h="43">
                  <a:moveTo>
                    <a:pt x="42" y="32"/>
                  </a:moveTo>
                  <a:cubicBezTo>
                    <a:pt x="41" y="32"/>
                    <a:pt x="39" y="30"/>
                    <a:pt x="39" y="29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8"/>
                    <a:pt x="43" y="39"/>
                    <a:pt x="43" y="39"/>
                  </a:cubicBezTo>
                  <a:cubicBezTo>
                    <a:pt x="43" y="41"/>
                    <a:pt x="41" y="43"/>
                    <a:pt x="39" y="43"/>
                  </a:cubicBezTo>
                  <a:cubicBezTo>
                    <a:pt x="39" y="43"/>
                    <a:pt x="38" y="42"/>
                    <a:pt x="38" y="42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7" y="26"/>
                    <a:pt x="13" y="27"/>
                    <a:pt x="10" y="27"/>
                  </a:cubicBezTo>
                  <a:cubicBezTo>
                    <a:pt x="4" y="27"/>
                    <a:pt x="0" y="23"/>
                    <a:pt x="0" y="17"/>
                  </a:cubicBezTo>
                  <a:cubicBezTo>
                    <a:pt x="0" y="9"/>
                    <a:pt x="9" y="0"/>
                    <a:pt x="18" y="0"/>
                  </a:cubicBezTo>
                  <a:cubicBezTo>
                    <a:pt x="23" y="0"/>
                    <a:pt x="27" y="4"/>
                    <a:pt x="27" y="10"/>
                  </a:cubicBezTo>
                  <a:cubicBezTo>
                    <a:pt x="27" y="13"/>
                    <a:pt x="26" y="17"/>
                    <a:pt x="24" y="20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5" y="26"/>
                    <a:pt x="33" y="24"/>
                    <a:pt x="33" y="23"/>
                  </a:cubicBezTo>
                  <a:cubicBezTo>
                    <a:pt x="33" y="22"/>
                    <a:pt x="35" y="20"/>
                    <a:pt x="36" y="20"/>
                  </a:cubicBezTo>
                  <a:cubicBezTo>
                    <a:pt x="36" y="20"/>
                    <a:pt x="36" y="20"/>
                    <a:pt x="37" y="20"/>
                  </a:cubicBezTo>
                  <a:cubicBezTo>
                    <a:pt x="38" y="21"/>
                    <a:pt x="45" y="28"/>
                    <a:pt x="45" y="29"/>
                  </a:cubicBezTo>
                  <a:cubicBezTo>
                    <a:pt x="45" y="30"/>
                    <a:pt x="43" y="32"/>
                    <a:pt x="42" y="32"/>
                  </a:cubicBezTo>
                  <a:close/>
                  <a:moveTo>
                    <a:pt x="17" y="5"/>
                  </a:moveTo>
                  <a:cubicBezTo>
                    <a:pt x="14" y="5"/>
                    <a:pt x="12" y="7"/>
                    <a:pt x="12" y="10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12" y="12"/>
                    <a:pt x="11" y="12"/>
                    <a:pt x="10" y="12"/>
                  </a:cubicBezTo>
                  <a:cubicBezTo>
                    <a:pt x="7" y="12"/>
                    <a:pt x="5" y="14"/>
                    <a:pt x="5" y="17"/>
                  </a:cubicBezTo>
                  <a:cubicBezTo>
                    <a:pt x="5" y="20"/>
                    <a:pt x="7" y="22"/>
                    <a:pt x="10" y="22"/>
                  </a:cubicBezTo>
                  <a:cubicBezTo>
                    <a:pt x="13" y="22"/>
                    <a:pt x="15" y="20"/>
                    <a:pt x="15" y="17"/>
                  </a:cubicBezTo>
                  <a:cubicBezTo>
                    <a:pt x="15" y="16"/>
                    <a:pt x="15" y="15"/>
                    <a:pt x="15" y="15"/>
                  </a:cubicBezTo>
                  <a:cubicBezTo>
                    <a:pt x="16" y="15"/>
                    <a:pt x="16" y="15"/>
                    <a:pt x="17" y="15"/>
                  </a:cubicBezTo>
                  <a:cubicBezTo>
                    <a:pt x="20" y="15"/>
                    <a:pt x="22" y="13"/>
                    <a:pt x="22" y="10"/>
                  </a:cubicBezTo>
                  <a:cubicBezTo>
                    <a:pt x="22" y="7"/>
                    <a:pt x="20" y="5"/>
                    <a:pt x="17" y="5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87">
                <a:defRPr/>
              </a:pPr>
              <a:endParaRPr lang="id-ID" sz="90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196" name="Rectangle 195">
            <a:extLst>
              <a:ext uri="{FF2B5EF4-FFF2-40B4-BE49-F238E27FC236}">
                <a16:creationId xmlns:a16="http://schemas.microsoft.com/office/drawing/2014/main" id="{3C91EC3E-9429-1D20-BC38-185E591BB844}"/>
              </a:ext>
            </a:extLst>
          </p:cNvPr>
          <p:cNvSpPr/>
          <p:nvPr/>
        </p:nvSpPr>
        <p:spPr>
          <a:xfrm>
            <a:off x="3142804" y="-5237"/>
            <a:ext cx="5053770" cy="1269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90205">
              <a:spcBef>
                <a:spcPts val="300"/>
              </a:spcBef>
              <a:defRPr/>
            </a:pPr>
            <a:r>
              <a:rPr lang="en-AU" sz="5400" b="1" dirty="0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LPJK</a:t>
            </a:r>
            <a:endParaRPr lang="en-AU" sz="3576" b="1" dirty="0">
              <a:solidFill>
                <a:srgbClr val="002060"/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 algn="ctr" defTabSz="990205">
              <a:spcBef>
                <a:spcPts val="300"/>
              </a:spcBef>
              <a:defRPr/>
            </a:pPr>
            <a:r>
              <a:rPr lang="en-AU" sz="2000" b="1" dirty="0">
                <a:solidFill>
                  <a:srgbClr val="0070C0"/>
                </a:solidFill>
                <a:latin typeface="Century Gothic" charset="0"/>
                <a:ea typeface="Century Gothic" charset="0"/>
                <a:cs typeface="Century Gothic" charset="0"/>
              </a:rPr>
              <a:t>SEBAGAI LEMBAGA NON STRUKTURAL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57F4845A-C2CF-CEA9-45F3-1E1077947BF9}"/>
              </a:ext>
            </a:extLst>
          </p:cNvPr>
          <p:cNvSpPr/>
          <p:nvPr/>
        </p:nvSpPr>
        <p:spPr>
          <a:xfrm>
            <a:off x="5804122" y="2298218"/>
            <a:ext cx="56841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42987">
              <a:defRPr/>
            </a:pP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Lembaga Non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truktural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yang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ibentuk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melalu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Undang-Undang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Nomor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2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ahu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2017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entang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Jasa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Konstruk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dan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iamanatka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enga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eratura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emerintah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No 14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ahu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2021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asal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6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ayat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(2) dan (4)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erta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erMe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PUPR No 9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ahu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2020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B680BBB7-7315-924A-724A-E17ADD50BC8B}"/>
              </a:ext>
            </a:extLst>
          </p:cNvPr>
          <p:cNvSpPr/>
          <p:nvPr/>
        </p:nvSpPr>
        <p:spPr>
          <a:xfrm>
            <a:off x="840905" y="4604150"/>
            <a:ext cx="4728680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742987">
              <a:defRPr/>
            </a:pP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roses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Rekrutmen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engurus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LPJK</a:t>
            </a:r>
          </a:p>
          <a:p>
            <a:pPr marL="185743" indent="-185743" defTabSz="742987"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ilakuka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elek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ecara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bertahap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a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ransparan</a:t>
            </a:r>
            <a:endParaRPr lang="en-US" sz="1600" dirty="0">
              <a:solidFill>
                <a:prstClr val="black"/>
              </a:solidFill>
              <a:latin typeface="Gill Sans MT" panose="020B0502020104020203" pitchFamily="34" charset="0"/>
              <a:ea typeface="Century Gothic" charset="0"/>
              <a:cs typeface="Century Gothic" charset="0"/>
            </a:endParaRPr>
          </a:p>
          <a:p>
            <a:pPr marL="185743" indent="-185743" defTabSz="742987"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eleks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ahap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erakhir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melalui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i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fit &amp; proper 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est di DPR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A1CDD21F-06FA-CF9D-2E1A-292009CC7226}"/>
              </a:ext>
            </a:extLst>
          </p:cNvPr>
          <p:cNvGrpSpPr/>
          <p:nvPr/>
        </p:nvGrpSpPr>
        <p:grpSpPr>
          <a:xfrm>
            <a:off x="85322" y="4545418"/>
            <a:ext cx="669338" cy="683513"/>
            <a:chOff x="6553950" y="2306914"/>
            <a:chExt cx="617851" cy="630935"/>
          </a:xfrm>
        </p:grpSpPr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50ED67E0-A739-7426-E15E-9CD6655FF4B6}"/>
                </a:ext>
              </a:extLst>
            </p:cNvPr>
            <p:cNvGrpSpPr/>
            <p:nvPr/>
          </p:nvGrpSpPr>
          <p:grpSpPr>
            <a:xfrm>
              <a:off x="6553950" y="2306914"/>
              <a:ext cx="617851" cy="630935"/>
              <a:chOff x="8173630" y="2776471"/>
              <a:chExt cx="1039365" cy="1045329"/>
            </a:xfrm>
          </p:grpSpPr>
          <p:grpSp>
            <p:nvGrpSpPr>
              <p:cNvPr id="205" name="Group 204">
                <a:extLst>
                  <a:ext uri="{FF2B5EF4-FFF2-40B4-BE49-F238E27FC236}">
                    <a16:creationId xmlns:a16="http://schemas.microsoft.com/office/drawing/2014/main" id="{C46AB846-DE02-369B-C0B9-BDF66DE67C90}"/>
                  </a:ext>
                </a:extLst>
              </p:cNvPr>
              <p:cNvGrpSpPr/>
              <p:nvPr/>
            </p:nvGrpSpPr>
            <p:grpSpPr>
              <a:xfrm>
                <a:off x="8473738" y="3091969"/>
                <a:ext cx="429464" cy="359632"/>
                <a:chOff x="5099051" y="3930651"/>
                <a:chExt cx="390525" cy="327025"/>
              </a:xfrm>
              <a:solidFill>
                <a:schemeClr val="bg1"/>
              </a:solidFill>
            </p:grpSpPr>
            <p:sp>
              <p:nvSpPr>
                <p:cNvPr id="207" name="Freeform 103">
                  <a:extLst>
                    <a:ext uri="{FF2B5EF4-FFF2-40B4-BE49-F238E27FC236}">
                      <a16:creationId xmlns:a16="http://schemas.microsoft.com/office/drawing/2014/main" id="{D9F24624-5607-8B41-CDD0-3A2A3FAC73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5725" y="4027488"/>
                  <a:ext cx="255589" cy="230188"/>
                </a:xfrm>
                <a:custGeom>
                  <a:avLst/>
                  <a:gdLst>
                    <a:gd name="T0" fmla="*/ 0 w 161"/>
                    <a:gd name="T1" fmla="*/ 62 h 145"/>
                    <a:gd name="T2" fmla="*/ 0 w 161"/>
                    <a:gd name="T3" fmla="*/ 145 h 145"/>
                    <a:gd name="T4" fmla="*/ 31 w 161"/>
                    <a:gd name="T5" fmla="*/ 145 h 145"/>
                    <a:gd name="T6" fmla="*/ 130 w 161"/>
                    <a:gd name="T7" fmla="*/ 145 h 145"/>
                    <a:gd name="T8" fmla="*/ 161 w 161"/>
                    <a:gd name="T9" fmla="*/ 145 h 145"/>
                    <a:gd name="T10" fmla="*/ 161 w 161"/>
                    <a:gd name="T11" fmla="*/ 62 h 145"/>
                    <a:gd name="T12" fmla="*/ 81 w 161"/>
                    <a:gd name="T13" fmla="*/ 0 h 145"/>
                    <a:gd name="T14" fmla="*/ 0 w 161"/>
                    <a:gd name="T15" fmla="*/ 62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45">
                      <a:moveTo>
                        <a:pt x="0" y="62"/>
                      </a:moveTo>
                      <a:lnTo>
                        <a:pt x="0" y="145"/>
                      </a:lnTo>
                      <a:lnTo>
                        <a:pt x="31" y="145"/>
                      </a:lnTo>
                      <a:lnTo>
                        <a:pt x="130" y="145"/>
                      </a:lnTo>
                      <a:lnTo>
                        <a:pt x="161" y="145"/>
                      </a:lnTo>
                      <a:lnTo>
                        <a:pt x="161" y="62"/>
                      </a:lnTo>
                      <a:lnTo>
                        <a:pt x="81" y="0"/>
                      </a:lnTo>
                      <a:lnTo>
                        <a:pt x="0" y="6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87">
                    <a:defRPr/>
                  </a:pPr>
                  <a:endParaRPr lang="en-US" sz="1200">
                    <a:solidFill>
                      <a:prstClr val="black"/>
                    </a:solidFill>
                    <a:latin typeface="Century Gothic" charset="0"/>
                    <a:ea typeface="Century Gothic" charset="0"/>
                    <a:cs typeface="Century Gothic" charset="0"/>
                  </a:endParaRPr>
                </a:p>
              </p:txBody>
            </p:sp>
            <p:sp>
              <p:nvSpPr>
                <p:cNvPr id="208" name="Freeform 104">
                  <a:extLst>
                    <a:ext uri="{FF2B5EF4-FFF2-40B4-BE49-F238E27FC236}">
                      <a16:creationId xmlns:a16="http://schemas.microsoft.com/office/drawing/2014/main" id="{6FD6197A-D36A-FBA1-7AA5-889E76A4A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9051" y="3930651"/>
                  <a:ext cx="390525" cy="195263"/>
                </a:xfrm>
                <a:custGeom>
                  <a:avLst/>
                  <a:gdLst>
                    <a:gd name="T0" fmla="*/ 225 w 246"/>
                    <a:gd name="T1" fmla="*/ 80 h 123"/>
                    <a:gd name="T2" fmla="*/ 225 w 246"/>
                    <a:gd name="T3" fmla="*/ 21 h 123"/>
                    <a:gd name="T4" fmla="*/ 182 w 246"/>
                    <a:gd name="T5" fmla="*/ 21 h 123"/>
                    <a:gd name="T6" fmla="*/ 182 w 246"/>
                    <a:gd name="T7" fmla="*/ 47 h 123"/>
                    <a:gd name="T8" fmla="*/ 123 w 246"/>
                    <a:gd name="T9" fmla="*/ 0 h 123"/>
                    <a:gd name="T10" fmla="*/ 123 w 246"/>
                    <a:gd name="T11" fmla="*/ 0 h 123"/>
                    <a:gd name="T12" fmla="*/ 123 w 246"/>
                    <a:gd name="T13" fmla="*/ 0 h 123"/>
                    <a:gd name="T14" fmla="*/ 123 w 246"/>
                    <a:gd name="T15" fmla="*/ 0 h 123"/>
                    <a:gd name="T16" fmla="*/ 123 w 246"/>
                    <a:gd name="T17" fmla="*/ 0 h 123"/>
                    <a:gd name="T18" fmla="*/ 0 w 246"/>
                    <a:gd name="T19" fmla="*/ 97 h 123"/>
                    <a:gd name="T20" fmla="*/ 21 w 246"/>
                    <a:gd name="T21" fmla="*/ 123 h 123"/>
                    <a:gd name="T22" fmla="*/ 123 w 246"/>
                    <a:gd name="T23" fmla="*/ 42 h 123"/>
                    <a:gd name="T24" fmla="*/ 225 w 246"/>
                    <a:gd name="T25" fmla="*/ 123 h 123"/>
                    <a:gd name="T26" fmla="*/ 246 w 246"/>
                    <a:gd name="T27" fmla="*/ 97 h 123"/>
                    <a:gd name="T28" fmla="*/ 225 w 246"/>
                    <a:gd name="T29" fmla="*/ 8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6" h="123">
                      <a:moveTo>
                        <a:pt x="225" y="80"/>
                      </a:moveTo>
                      <a:lnTo>
                        <a:pt x="225" y="21"/>
                      </a:lnTo>
                      <a:lnTo>
                        <a:pt x="182" y="21"/>
                      </a:lnTo>
                      <a:lnTo>
                        <a:pt x="182" y="47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0" y="97"/>
                      </a:lnTo>
                      <a:lnTo>
                        <a:pt x="21" y="123"/>
                      </a:lnTo>
                      <a:lnTo>
                        <a:pt x="123" y="42"/>
                      </a:lnTo>
                      <a:lnTo>
                        <a:pt x="225" y="123"/>
                      </a:lnTo>
                      <a:lnTo>
                        <a:pt x="246" y="97"/>
                      </a:lnTo>
                      <a:lnTo>
                        <a:pt x="225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87">
                    <a:defRPr/>
                  </a:pPr>
                  <a:endParaRPr lang="en-US" sz="1200">
                    <a:solidFill>
                      <a:prstClr val="black"/>
                    </a:solidFill>
                    <a:latin typeface="Century Gothic" charset="0"/>
                    <a:ea typeface="Century Gothic" charset="0"/>
                    <a:cs typeface="Century Gothic" charset="0"/>
                  </a:endParaRPr>
                </a:p>
              </p:txBody>
            </p:sp>
          </p:grp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30D9FC27-801D-4834-E5F3-AD7FC8B85515}"/>
                  </a:ext>
                </a:extLst>
              </p:cNvPr>
              <p:cNvSpPr/>
              <p:nvPr/>
            </p:nvSpPr>
            <p:spPr>
              <a:xfrm>
                <a:off x="8173630" y="2776471"/>
                <a:ext cx="1039365" cy="1045329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87">
                  <a:defRPr/>
                </a:pPr>
                <a:endParaRPr lang="en-US" sz="800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</p:grpSp>
        <p:sp>
          <p:nvSpPr>
            <p:cNvPr id="204" name="Freeform 11">
              <a:extLst>
                <a:ext uri="{FF2B5EF4-FFF2-40B4-BE49-F238E27FC236}">
                  <a16:creationId xmlns:a16="http://schemas.microsoft.com/office/drawing/2014/main" id="{2BC5E07F-886F-AF53-68C8-D077B49CE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2740" y="2407855"/>
              <a:ext cx="450235" cy="372677"/>
            </a:xfrm>
            <a:custGeom>
              <a:avLst/>
              <a:gdLst>
                <a:gd name="T0" fmla="*/ 260 w 287"/>
                <a:gd name="T1" fmla="*/ 78 h 237"/>
                <a:gd name="T2" fmla="*/ 244 w 287"/>
                <a:gd name="T3" fmla="*/ 94 h 237"/>
                <a:gd name="T4" fmla="*/ 260 w 287"/>
                <a:gd name="T5" fmla="*/ 111 h 237"/>
                <a:gd name="T6" fmla="*/ 277 w 287"/>
                <a:gd name="T7" fmla="*/ 94 h 237"/>
                <a:gd name="T8" fmla="*/ 260 w 287"/>
                <a:gd name="T9" fmla="*/ 78 h 237"/>
                <a:gd name="T10" fmla="*/ 27 w 287"/>
                <a:gd name="T11" fmla="*/ 78 h 237"/>
                <a:gd name="T12" fmla="*/ 11 w 287"/>
                <a:gd name="T13" fmla="*/ 94 h 237"/>
                <a:gd name="T14" fmla="*/ 27 w 287"/>
                <a:gd name="T15" fmla="*/ 111 h 237"/>
                <a:gd name="T16" fmla="*/ 43 w 287"/>
                <a:gd name="T17" fmla="*/ 94 h 237"/>
                <a:gd name="T18" fmla="*/ 27 w 287"/>
                <a:gd name="T19" fmla="*/ 78 h 237"/>
                <a:gd name="T20" fmla="*/ 212 w 287"/>
                <a:gd name="T21" fmla="*/ 49 h 237"/>
                <a:gd name="T22" fmla="*/ 188 w 287"/>
                <a:gd name="T23" fmla="*/ 73 h 237"/>
                <a:gd name="T24" fmla="*/ 212 w 287"/>
                <a:gd name="T25" fmla="*/ 97 h 237"/>
                <a:gd name="T26" fmla="*/ 236 w 287"/>
                <a:gd name="T27" fmla="*/ 73 h 237"/>
                <a:gd name="T28" fmla="*/ 212 w 287"/>
                <a:gd name="T29" fmla="*/ 49 h 237"/>
                <a:gd name="T30" fmla="*/ 287 w 287"/>
                <a:gd name="T31" fmla="*/ 196 h 237"/>
                <a:gd name="T32" fmla="*/ 259 w 287"/>
                <a:gd name="T33" fmla="*/ 196 h 237"/>
                <a:gd name="T34" fmla="*/ 259 w 287"/>
                <a:gd name="T35" fmla="*/ 145 h 237"/>
                <a:gd name="T36" fmla="*/ 253 w 287"/>
                <a:gd name="T37" fmla="*/ 121 h 237"/>
                <a:gd name="T38" fmla="*/ 260 w 287"/>
                <a:gd name="T39" fmla="*/ 120 h 237"/>
                <a:gd name="T40" fmla="*/ 287 w 287"/>
                <a:gd name="T41" fmla="*/ 147 h 237"/>
                <a:gd name="T42" fmla="*/ 287 w 287"/>
                <a:gd name="T43" fmla="*/ 196 h 237"/>
                <a:gd name="T44" fmla="*/ 75 w 287"/>
                <a:gd name="T45" fmla="*/ 49 h 237"/>
                <a:gd name="T46" fmla="*/ 51 w 287"/>
                <a:gd name="T47" fmla="*/ 73 h 237"/>
                <a:gd name="T48" fmla="*/ 75 w 287"/>
                <a:gd name="T49" fmla="*/ 97 h 237"/>
                <a:gd name="T50" fmla="*/ 99 w 287"/>
                <a:gd name="T51" fmla="*/ 73 h 237"/>
                <a:gd name="T52" fmla="*/ 75 w 287"/>
                <a:gd name="T53" fmla="*/ 49 h 237"/>
                <a:gd name="T54" fmla="*/ 27 w 287"/>
                <a:gd name="T55" fmla="*/ 120 h 237"/>
                <a:gd name="T56" fmla="*/ 34 w 287"/>
                <a:gd name="T57" fmla="*/ 121 h 237"/>
                <a:gd name="T58" fmla="*/ 28 w 287"/>
                <a:gd name="T59" fmla="*/ 145 h 237"/>
                <a:gd name="T60" fmla="*/ 28 w 287"/>
                <a:gd name="T61" fmla="*/ 196 h 237"/>
                <a:gd name="T62" fmla="*/ 0 w 287"/>
                <a:gd name="T63" fmla="*/ 196 h 237"/>
                <a:gd name="T64" fmla="*/ 0 w 287"/>
                <a:gd name="T65" fmla="*/ 147 h 237"/>
                <a:gd name="T66" fmla="*/ 27 w 287"/>
                <a:gd name="T67" fmla="*/ 120 h 237"/>
                <a:gd name="T68" fmla="*/ 144 w 287"/>
                <a:gd name="T69" fmla="*/ 0 h 237"/>
                <a:gd name="T70" fmla="*/ 108 w 287"/>
                <a:gd name="T71" fmla="*/ 36 h 237"/>
                <a:gd name="T72" fmla="*/ 144 w 287"/>
                <a:gd name="T73" fmla="*/ 72 h 237"/>
                <a:gd name="T74" fmla="*/ 179 w 287"/>
                <a:gd name="T75" fmla="*/ 36 h 237"/>
                <a:gd name="T76" fmla="*/ 144 w 287"/>
                <a:gd name="T77" fmla="*/ 0 h 237"/>
                <a:gd name="T78" fmla="*/ 251 w 287"/>
                <a:gd name="T79" fmla="*/ 214 h 237"/>
                <a:gd name="T80" fmla="*/ 208 w 287"/>
                <a:gd name="T81" fmla="*/ 214 h 237"/>
                <a:gd name="T82" fmla="*/ 208 w 287"/>
                <a:gd name="T83" fmla="*/ 137 h 237"/>
                <a:gd name="T84" fmla="*/ 201 w 287"/>
                <a:gd name="T85" fmla="*/ 108 h 237"/>
                <a:gd name="T86" fmla="*/ 212 w 287"/>
                <a:gd name="T87" fmla="*/ 106 h 237"/>
                <a:gd name="T88" fmla="*/ 251 w 287"/>
                <a:gd name="T89" fmla="*/ 145 h 237"/>
                <a:gd name="T90" fmla="*/ 251 w 287"/>
                <a:gd name="T91" fmla="*/ 214 h 237"/>
                <a:gd name="T92" fmla="*/ 79 w 287"/>
                <a:gd name="T93" fmla="*/ 137 h 237"/>
                <a:gd name="T94" fmla="*/ 79 w 287"/>
                <a:gd name="T95" fmla="*/ 214 h 237"/>
                <a:gd name="T96" fmla="*/ 37 w 287"/>
                <a:gd name="T97" fmla="*/ 214 h 237"/>
                <a:gd name="T98" fmla="*/ 37 w 287"/>
                <a:gd name="T99" fmla="*/ 145 h 237"/>
                <a:gd name="T100" fmla="*/ 75 w 287"/>
                <a:gd name="T101" fmla="*/ 106 h 237"/>
                <a:gd name="T102" fmla="*/ 86 w 287"/>
                <a:gd name="T103" fmla="*/ 108 h 237"/>
                <a:gd name="T104" fmla="*/ 79 w 287"/>
                <a:gd name="T105" fmla="*/ 137 h 237"/>
                <a:gd name="T106" fmla="*/ 88 w 287"/>
                <a:gd name="T107" fmla="*/ 237 h 237"/>
                <a:gd name="T108" fmla="*/ 200 w 287"/>
                <a:gd name="T109" fmla="*/ 237 h 237"/>
                <a:gd name="T110" fmla="*/ 200 w 287"/>
                <a:gd name="T111" fmla="*/ 137 h 237"/>
                <a:gd name="T112" fmla="*/ 144 w 287"/>
                <a:gd name="T113" fmla="*/ 81 h 237"/>
                <a:gd name="T114" fmla="*/ 88 w 287"/>
                <a:gd name="T115" fmla="*/ 137 h 237"/>
                <a:gd name="T116" fmla="*/ 88 w 287"/>
                <a:gd name="T117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7" h="237">
                  <a:moveTo>
                    <a:pt x="260" y="78"/>
                  </a:moveTo>
                  <a:cubicBezTo>
                    <a:pt x="251" y="78"/>
                    <a:pt x="244" y="85"/>
                    <a:pt x="244" y="94"/>
                  </a:cubicBezTo>
                  <a:cubicBezTo>
                    <a:pt x="244" y="103"/>
                    <a:pt x="251" y="111"/>
                    <a:pt x="260" y="111"/>
                  </a:cubicBezTo>
                  <a:cubicBezTo>
                    <a:pt x="269" y="111"/>
                    <a:pt x="277" y="103"/>
                    <a:pt x="277" y="94"/>
                  </a:cubicBezTo>
                  <a:cubicBezTo>
                    <a:pt x="277" y="85"/>
                    <a:pt x="269" y="78"/>
                    <a:pt x="260" y="78"/>
                  </a:cubicBezTo>
                  <a:close/>
                  <a:moveTo>
                    <a:pt x="27" y="78"/>
                  </a:moveTo>
                  <a:cubicBezTo>
                    <a:pt x="18" y="78"/>
                    <a:pt x="11" y="85"/>
                    <a:pt x="11" y="94"/>
                  </a:cubicBezTo>
                  <a:cubicBezTo>
                    <a:pt x="11" y="103"/>
                    <a:pt x="18" y="111"/>
                    <a:pt x="27" y="111"/>
                  </a:cubicBezTo>
                  <a:cubicBezTo>
                    <a:pt x="36" y="111"/>
                    <a:pt x="43" y="103"/>
                    <a:pt x="43" y="94"/>
                  </a:cubicBezTo>
                  <a:cubicBezTo>
                    <a:pt x="43" y="85"/>
                    <a:pt x="36" y="78"/>
                    <a:pt x="27" y="78"/>
                  </a:cubicBezTo>
                  <a:close/>
                  <a:moveTo>
                    <a:pt x="212" y="49"/>
                  </a:moveTo>
                  <a:cubicBezTo>
                    <a:pt x="199" y="49"/>
                    <a:pt x="188" y="59"/>
                    <a:pt x="188" y="73"/>
                  </a:cubicBezTo>
                  <a:cubicBezTo>
                    <a:pt x="188" y="86"/>
                    <a:pt x="199" y="97"/>
                    <a:pt x="212" y="97"/>
                  </a:cubicBezTo>
                  <a:cubicBezTo>
                    <a:pt x="225" y="97"/>
                    <a:pt x="236" y="86"/>
                    <a:pt x="236" y="73"/>
                  </a:cubicBezTo>
                  <a:cubicBezTo>
                    <a:pt x="236" y="59"/>
                    <a:pt x="225" y="49"/>
                    <a:pt x="212" y="49"/>
                  </a:cubicBezTo>
                  <a:close/>
                  <a:moveTo>
                    <a:pt x="287" y="196"/>
                  </a:moveTo>
                  <a:cubicBezTo>
                    <a:pt x="259" y="196"/>
                    <a:pt x="259" y="196"/>
                    <a:pt x="259" y="196"/>
                  </a:cubicBezTo>
                  <a:cubicBezTo>
                    <a:pt x="259" y="145"/>
                    <a:pt x="259" y="145"/>
                    <a:pt x="259" y="145"/>
                  </a:cubicBezTo>
                  <a:cubicBezTo>
                    <a:pt x="259" y="136"/>
                    <a:pt x="257" y="128"/>
                    <a:pt x="253" y="121"/>
                  </a:cubicBezTo>
                  <a:cubicBezTo>
                    <a:pt x="255" y="120"/>
                    <a:pt x="258" y="120"/>
                    <a:pt x="260" y="120"/>
                  </a:cubicBezTo>
                  <a:cubicBezTo>
                    <a:pt x="275" y="120"/>
                    <a:pt x="287" y="132"/>
                    <a:pt x="287" y="147"/>
                  </a:cubicBezTo>
                  <a:lnTo>
                    <a:pt x="287" y="196"/>
                  </a:lnTo>
                  <a:close/>
                  <a:moveTo>
                    <a:pt x="75" y="49"/>
                  </a:moveTo>
                  <a:cubicBezTo>
                    <a:pt x="62" y="49"/>
                    <a:pt x="51" y="59"/>
                    <a:pt x="51" y="73"/>
                  </a:cubicBezTo>
                  <a:cubicBezTo>
                    <a:pt x="51" y="86"/>
                    <a:pt x="62" y="97"/>
                    <a:pt x="75" y="97"/>
                  </a:cubicBezTo>
                  <a:cubicBezTo>
                    <a:pt x="88" y="97"/>
                    <a:pt x="99" y="86"/>
                    <a:pt x="99" y="73"/>
                  </a:cubicBezTo>
                  <a:cubicBezTo>
                    <a:pt x="99" y="59"/>
                    <a:pt x="88" y="49"/>
                    <a:pt x="75" y="49"/>
                  </a:cubicBezTo>
                  <a:close/>
                  <a:moveTo>
                    <a:pt x="27" y="120"/>
                  </a:moveTo>
                  <a:cubicBezTo>
                    <a:pt x="29" y="120"/>
                    <a:pt x="32" y="120"/>
                    <a:pt x="34" y="121"/>
                  </a:cubicBezTo>
                  <a:cubicBezTo>
                    <a:pt x="30" y="128"/>
                    <a:pt x="28" y="136"/>
                    <a:pt x="28" y="145"/>
                  </a:cubicBezTo>
                  <a:cubicBezTo>
                    <a:pt x="28" y="196"/>
                    <a:pt x="28" y="196"/>
                    <a:pt x="28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32"/>
                    <a:pt x="12" y="120"/>
                    <a:pt x="27" y="120"/>
                  </a:cubicBezTo>
                  <a:close/>
                  <a:moveTo>
                    <a:pt x="144" y="0"/>
                  </a:moveTo>
                  <a:cubicBezTo>
                    <a:pt x="124" y="0"/>
                    <a:pt x="108" y="16"/>
                    <a:pt x="108" y="36"/>
                  </a:cubicBezTo>
                  <a:cubicBezTo>
                    <a:pt x="108" y="56"/>
                    <a:pt x="124" y="72"/>
                    <a:pt x="144" y="72"/>
                  </a:cubicBezTo>
                  <a:cubicBezTo>
                    <a:pt x="163" y="72"/>
                    <a:pt x="179" y="56"/>
                    <a:pt x="179" y="36"/>
                  </a:cubicBezTo>
                  <a:cubicBezTo>
                    <a:pt x="179" y="16"/>
                    <a:pt x="163" y="0"/>
                    <a:pt x="144" y="0"/>
                  </a:cubicBezTo>
                  <a:close/>
                  <a:moveTo>
                    <a:pt x="251" y="214"/>
                  </a:moveTo>
                  <a:cubicBezTo>
                    <a:pt x="208" y="214"/>
                    <a:pt x="208" y="214"/>
                    <a:pt x="208" y="214"/>
                  </a:cubicBezTo>
                  <a:cubicBezTo>
                    <a:pt x="208" y="137"/>
                    <a:pt x="208" y="137"/>
                    <a:pt x="208" y="137"/>
                  </a:cubicBezTo>
                  <a:cubicBezTo>
                    <a:pt x="208" y="127"/>
                    <a:pt x="206" y="117"/>
                    <a:pt x="201" y="108"/>
                  </a:cubicBezTo>
                  <a:cubicBezTo>
                    <a:pt x="205" y="107"/>
                    <a:pt x="208" y="106"/>
                    <a:pt x="212" y="106"/>
                  </a:cubicBezTo>
                  <a:cubicBezTo>
                    <a:pt x="233" y="106"/>
                    <a:pt x="251" y="124"/>
                    <a:pt x="251" y="145"/>
                  </a:cubicBezTo>
                  <a:lnTo>
                    <a:pt x="251" y="214"/>
                  </a:lnTo>
                  <a:close/>
                  <a:moveTo>
                    <a:pt x="79" y="137"/>
                  </a:moveTo>
                  <a:cubicBezTo>
                    <a:pt x="79" y="214"/>
                    <a:pt x="79" y="214"/>
                    <a:pt x="79" y="214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37" y="145"/>
                    <a:pt x="37" y="145"/>
                    <a:pt x="37" y="145"/>
                  </a:cubicBezTo>
                  <a:cubicBezTo>
                    <a:pt x="37" y="124"/>
                    <a:pt x="54" y="106"/>
                    <a:pt x="75" y="106"/>
                  </a:cubicBezTo>
                  <a:cubicBezTo>
                    <a:pt x="79" y="106"/>
                    <a:pt x="83" y="107"/>
                    <a:pt x="86" y="108"/>
                  </a:cubicBezTo>
                  <a:cubicBezTo>
                    <a:pt x="81" y="117"/>
                    <a:pt x="79" y="127"/>
                    <a:pt x="79" y="137"/>
                  </a:cubicBezTo>
                  <a:close/>
                  <a:moveTo>
                    <a:pt x="88" y="237"/>
                  </a:moveTo>
                  <a:cubicBezTo>
                    <a:pt x="200" y="237"/>
                    <a:pt x="200" y="237"/>
                    <a:pt x="200" y="237"/>
                  </a:cubicBezTo>
                  <a:cubicBezTo>
                    <a:pt x="200" y="137"/>
                    <a:pt x="200" y="137"/>
                    <a:pt x="200" y="137"/>
                  </a:cubicBezTo>
                  <a:cubicBezTo>
                    <a:pt x="200" y="106"/>
                    <a:pt x="174" y="81"/>
                    <a:pt x="144" y="81"/>
                  </a:cubicBezTo>
                  <a:cubicBezTo>
                    <a:pt x="113" y="81"/>
                    <a:pt x="88" y="106"/>
                    <a:pt x="88" y="137"/>
                  </a:cubicBezTo>
                  <a:lnTo>
                    <a:pt x="88" y="2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defTabSz="742987">
                <a:defRPr/>
              </a:pPr>
              <a:endParaRPr lang="en-US" sz="160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209" name="Rectangle 208">
            <a:extLst>
              <a:ext uri="{FF2B5EF4-FFF2-40B4-BE49-F238E27FC236}">
                <a16:creationId xmlns:a16="http://schemas.microsoft.com/office/drawing/2014/main" id="{66E12CBB-9D55-4D68-95DD-8BFC0A7CEAFE}"/>
              </a:ext>
            </a:extLst>
          </p:cNvPr>
          <p:cNvSpPr/>
          <p:nvPr/>
        </p:nvSpPr>
        <p:spPr>
          <a:xfrm>
            <a:off x="303217" y="4798270"/>
            <a:ext cx="29882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42987">
              <a:defRPr/>
            </a:pPr>
            <a:r>
              <a:rPr lang="en-US" sz="900" b="1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L</a:t>
            </a:r>
            <a:endParaRPr lang="en-US" sz="900" dirty="0">
              <a:solidFill>
                <a:prstClr val="black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1125A2E-D650-CDE0-E53A-A5CB5122E6B9}"/>
              </a:ext>
            </a:extLst>
          </p:cNvPr>
          <p:cNvSpPr/>
          <p:nvPr/>
        </p:nvSpPr>
        <p:spPr>
          <a:xfrm>
            <a:off x="805575" y="5867410"/>
            <a:ext cx="1062258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42987">
              <a:defRPr/>
            </a:pP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asal 40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eraturan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Menteri PUPR No 9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Tahun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2020</a:t>
            </a:r>
          </a:p>
          <a:p>
            <a:pPr defTabSz="742987">
              <a:defRPr/>
            </a:pP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ada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aat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engurus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LPJK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ebagaimana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imaksud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alam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Pasal 9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itetapkan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oleh Menteri, 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LPJK Nasional dan LPJK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Provinsi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sebagaimana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imaksud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alam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Pasal 38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dinyatakan</a:t>
            </a:r>
            <a:r>
              <a:rPr lang="en-US" sz="1600" b="1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bubar</a:t>
            </a:r>
            <a:r>
              <a:rPr lang="en-US" sz="1600" dirty="0">
                <a:solidFill>
                  <a:prstClr val="black"/>
                </a:solidFill>
                <a:latin typeface="Gill Sans MT" panose="020B0502020104020203" pitchFamily="34" charset="0"/>
                <a:ea typeface="Century Gothic" charset="0"/>
                <a:cs typeface="Century Gothic" charset="0"/>
              </a:rPr>
              <a:t>.</a:t>
            </a:r>
          </a:p>
        </p:txBody>
      </p:sp>
      <p:pic>
        <p:nvPicPr>
          <p:cNvPr id="2" name="Google Shape;94;p13">
            <a:extLst>
              <a:ext uri="{FF2B5EF4-FFF2-40B4-BE49-F238E27FC236}">
                <a16:creationId xmlns:a16="http://schemas.microsoft.com/office/drawing/2014/main" id="{C93CDBDB-04A9-EC49-0929-375F71D3C27E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381128" y="93412"/>
            <a:ext cx="1724273" cy="43601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0181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72</TotalTime>
  <Words>4049</Words>
  <Application>Microsoft Office PowerPoint</Application>
  <PresentationFormat>Widescreen</PresentationFormat>
  <Paragraphs>777</Paragraphs>
  <Slides>47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2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73" baseType="lpstr">
      <vt:lpstr>MS PGothic</vt:lpstr>
      <vt:lpstr>Arial</vt:lpstr>
      <vt:lpstr>Arial MT</vt:lpstr>
      <vt:lpstr>Berlin Sans FB Demi</vt:lpstr>
      <vt:lpstr>Bookman Old Style</vt:lpstr>
      <vt:lpstr>Calibri</vt:lpstr>
      <vt:lpstr>Calibri Light</vt:lpstr>
      <vt:lpstr>Candara</vt:lpstr>
      <vt:lpstr>Century Gothic</vt:lpstr>
      <vt:lpstr>Century Gothic Regular</vt:lpstr>
      <vt:lpstr>Codec Pro ExtraBold</vt:lpstr>
      <vt:lpstr>DM Sans</vt:lpstr>
      <vt:lpstr>Gill Sans MT</vt:lpstr>
      <vt:lpstr>Gotham</vt:lpstr>
      <vt:lpstr>Impact</vt:lpstr>
      <vt:lpstr>Poppins</vt:lpstr>
      <vt:lpstr>Poppins Bold</vt:lpstr>
      <vt:lpstr>Roboto</vt:lpstr>
      <vt:lpstr>Rockwell</vt:lpstr>
      <vt:lpstr>Segoe UI</vt:lpstr>
      <vt:lpstr>Segoe UI Semibold</vt:lpstr>
      <vt:lpstr>Tahoma</vt:lpstr>
      <vt:lpstr>Tw Cen M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lide 2</vt:lpstr>
      <vt:lpstr>Slide 2</vt:lpstr>
      <vt:lpstr>Slide 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lide 2</vt:lpstr>
      <vt:lpstr>Slide 2</vt:lpstr>
      <vt:lpstr>Slide 2</vt:lpstr>
      <vt:lpstr>Slide 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ngurus LPJK 7</dc:creator>
  <cp:lastModifiedBy>Annik Noer Nawarni</cp:lastModifiedBy>
  <cp:revision>262</cp:revision>
  <dcterms:created xsi:type="dcterms:W3CDTF">2022-08-23T08:50:33Z</dcterms:created>
  <dcterms:modified xsi:type="dcterms:W3CDTF">2025-06-18T13:16:24Z</dcterms:modified>
</cp:coreProperties>
</file>